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ink/inkAction1.xml" ContentType="application/vnd.ms-office.inkAction+xml"/>
  <Override PartName="/ppt/ink/inkAction2.xml" ContentType="application/vnd.ms-office.inkAction+xml"/>
  <Override PartName="/ppt/ink/inkAction3.xml" ContentType="application/vnd.ms-office.inkAction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sldIdLst>
    <p:sldId id="256" r:id="rId2"/>
    <p:sldId id="1777" r:id="rId3"/>
    <p:sldId id="258" r:id="rId4"/>
    <p:sldId id="1785" r:id="rId5"/>
    <p:sldId id="1752" r:id="rId6"/>
    <p:sldId id="262" r:id="rId7"/>
    <p:sldId id="1786" r:id="rId8"/>
    <p:sldId id="1755" r:id="rId9"/>
    <p:sldId id="1789" r:id="rId10"/>
    <p:sldId id="1775" r:id="rId11"/>
    <p:sldId id="1791" r:id="rId12"/>
    <p:sldId id="1764" r:id="rId13"/>
    <p:sldId id="263" r:id="rId14"/>
    <p:sldId id="1795" r:id="rId15"/>
    <p:sldId id="1765" r:id="rId16"/>
    <p:sldId id="1794" r:id="rId17"/>
    <p:sldId id="1793" r:id="rId18"/>
    <p:sldId id="1792" r:id="rId19"/>
    <p:sldId id="264" r:id="rId20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0000"/>
    <a:srgbClr val="FAB534"/>
    <a:srgbClr val="FFFFFF"/>
    <a:srgbClr val="FFDA93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3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562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ink/inkAction1.xml><?xml version="1.0" encoding="utf-8"?>
<iact:actions xmlns:iact="http://schemas.microsoft.com/office/powerpoint/2014/inkAction" lengthUnit="cm" timeUnit="ms">
  <inkml:definitions xmlns:inkml="http://www.w3.org/2003/InkML"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55.81395" units="1/cm"/>
          <inkml:channelProperty channel="Y" name="resolution" value="55.6701" units="1/cm"/>
          <inkml:channelProperty channel="T" name="resolution" value="1" units="1/dev"/>
        </inkml:channelProperties>
      </inkml:inkSource>
      <inkml:timestamp xml:id="ts0" timeString="2021-05-20T12:10:57.463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act:action type="add" startTime="8288">
    <iact:property name="dataType"/>
    <iact:actionData xml:id="d0">
      <inkml:trace xmlns:inkml="http://www.w3.org/2003/InkML" xml:id="stk0" contextRef="#ctx0" brushRef="#br0">3375 9135 0,'47'0'303,"-23"0"-294,23 0 7,-23 0 0,23 0-9,0 0 8,0 0-7,24 0 8,-47 0-9,70 0 2,24-23 0,-23 23-1,46 0-1,72-24 3,-25 0-1,-22 24-3,-72 0 0,48-23 2,23 23 0,-47 0-1,-24 0 3,-23 0-3,-24 0-2,24 0 5,0-24-4,-48 24 3,25 0-1,-1 0 1,-24-23 0,48-1-1,-47 24 0,-1 0-1,72 0 3,-24 0-4,47 0-2,-71-24 6,47 24-3,-23 0 2,23 0-2,-46 0 2,70-23 8,-95 23-11,1 0 4,0 0-2,23 0 1,0-24-4,-23 24 10,23 0-8,-24 0 2,1 0-2,0 0 2,-1 0-1,24 0-1,24 0 1,-47 0 1,47 0-1,-24 0-1,-24 0 1,48 0 0,0 0 2,-47 0-5,46 0 6,-46 0-7,47 0 4,-24 0 1,-23 0 6,23 0-5,-24 0-4,1 0 4,23 0-4,0 0 9,-23 0-5,0 0 3,23 0-11,-24 0 5,1 0 1,0 0 0,-1 0 8,24 0-8,-23 0-1,23 0 2,-23 0-1,-1 0 1,25 0-3,-1 0 13,-24 0-12,25 0 10,-25 0-12,1 0 19,-1 0-7,1 0 12,0 0-13,-1 0 0,1 0-2,-1 0 3,1-23 6,0 23-13,-1 0 0,1 0 2,-1 0-1,1 0 3,0 0-4,-1 0-1,1 0 9,-1 0 2,1 0 8,0 0-4,-1 0-6,1 0 13,-1 0-18,1 0 65,0 0-53,-1 0 86</inkml:trace>
    </iact:actionData>
  </iact:action>
  <iact:action type="add" startTime="10918">
    <iact:property name="dataType"/>
    <iact:actionData xml:id="d1">
      <inkml:trace xmlns:inkml="http://www.w3.org/2003/InkML" xml:id="stk1" contextRef="#ctx0" brushRef="#br0">3257 9560 0,'95'0'96,"-25"0"-87,48 0-2,24 0-1,141 0 10,-118 0-9,-94 0-1,118 0 2,0 0 1,-95 0 0,48 0-3,23 0 6,0 0-7,-94 0 2,0 0 0,0 0 3,23 0-3,-47 0-1,118 0 4,-117 0-4,46 0 3,0 0-2,-23 0 2,0 0-2,-24 0 1,48 0 3,-72 0-2,48 0-6,0 0 8,-24 0-4,0 0 0,24 0 0,-24 0 3,1 0-5,22 0 2,-46 0 1,23 0 0,24 0 9,-47 0-6,-1 0 4,1 0-9,-1 0 11,1 0-7,0 0-4,-1 0 20,1 0-19,-1 0 28,1 0-7</inkml:trace>
    </iact:actionData>
  </iact:action>
</iact:actions>
</file>

<file path=ppt/ink/inkAction2.xml><?xml version="1.0" encoding="utf-8"?>
<iact:actions xmlns:iact="http://schemas.microsoft.com/office/powerpoint/2014/inkAction" lengthUnit="cm" timeUnit="ms">
  <inkml:definitions xmlns:inkml="http://www.w3.org/2003/InkML"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55.81395" units="1/cm"/>
          <inkml:channelProperty channel="Y" name="resolution" value="55.6701" units="1/cm"/>
          <inkml:channelProperty channel="T" name="resolution" value="1" units="1/dev"/>
        </inkml:channelProperties>
      </inkml:inkSource>
      <inkml:timestamp xml:id="ts0" timeString="2021-05-20T12:10:57.463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act:action type="add" startTime="12107">
    <iact:property name="dataType"/>
    <iact:actionData xml:id="d0">
      <inkml:trace xmlns:inkml="http://www.w3.org/2003/InkML" xml:id="stk0" contextRef="#ctx0" brushRef="#br0">31837 9466 0,'48'0'156,"-25"0"-148,1 0-1,23 0 1,24 0 5,-48 0-5,48 0 0,-47 0 0,-1 0 4,25 0-7,-25 0 10,1 0-6,-1 0-2,1 0 1,0 0 0,-1 0 0,1 0 9,-1 0-2,1 0 32</inkml:trace>
    </iact:actionData>
  </iact:action>
  <iact:action type="add" startTime="14964">
    <iact:property name="dataType"/>
    <iact:actionData xml:id="d1">
      <inkml:trace xmlns:inkml="http://www.w3.org/2003/InkML" xml:id="stk1" contextRef="#ctx0" brushRef="#br0">14349 9371 0,'71'0'131,"-24"0"-122,1 0-3,46-23 4,-70 23-3,46 0-2,1 0 3,0 0 3,0 0-2,23 0-4,1 0 3,-25 0 1,48 0-1,-23 0 1,23 0-3,-24 0 4,-47 0-4,24 0 4,0 0-4,-24 0 8,0 0-6,1 0 9,-25 0-11,1 0 19</inkml:trace>
    </iact:actionData>
  </iact:action>
  <iact:action type="add" startTime="20878">
    <iact:property name="dataType"/>
    <iact:actionData xml:id="d2">
      <inkml:trace xmlns:inkml="http://www.w3.org/2003/InkML" xml:id="stk2" contextRef="#ctx0" brushRef="#br0">32003 11496 0,'0'24'245,"0"-1"-230,0 1-4,0-1-8,0 1 7,0 0-4,0-1 0,0 1 4,0-1-4,0 1 3,0 23-2,0 0 3,0-23 6,0 23-9,0 0 3,0 24-3,0-47 2,0-1-3,0 1 2,0 23 0,0 24 1,0-47-2,0 23 9,0 0-15,0 0 5,0 1 2,0 22 8,0-22-10,0-1 11,0-24-7,0 25 5,0-25-9,0 1 4,0-1-3,0 1 2,0 0 0,0-1 8,23 1 6,-23-1-15,0 1 4,0 0 29,0-1-18,0 1 24,0-1-39,0 1 4,0 0-1,0-1-3,0 1 18,0 0-19,0-1 2,0 1 31,0-1-2,0 1 20</inkml:trace>
    </iact:actionData>
  </iact:action>
  <iact:action type="add" startTime="23139">
    <iact:property name="dataType"/>
    <iact:actionData xml:id="d3">
      <inkml:trace xmlns:inkml="http://www.w3.org/2003/InkML" xml:id="stk3" contextRef="#ctx0" brushRef="#br0">16167 11425 0,'0'24'13,"0"-1"60,0 25-63,0-1 4,0-24-8,0 1 3,0 23-1,0-23 1,0 23-4,0 24 4,0-48 0,0 25-1,0-25 1,0 1-4,0-1 4,0 25 2,0 22-6,0-46 0,0 23 5,0 0-4,0-23 4,0 23-3,0-23 1,0 0 0,0 23 2,0-24-5,0 25 4,0-25-1,0 48 0,0 0-1,0-48 3,0 25-4,0-25 3,0 24-3,0-23 3,0 23-3,0-23 4,0-1-1,0 1-3,0 23 2,0-23 9,0 23-10,0-23 10,0-1-10,0 1 6,0 0-4,0-1-1,0 1 17,0-1-16,0 1 20,0 0-20,0-1 8,0 1 4,0-1-4,0 1 24,0 0-35,0-1 10</inkml:trace>
    </iact:actionData>
  </iact:action>
  <iact:action type="add" startTime="32782">
    <iact:property name="dataType"/>
    <iact:actionData xml:id="d4">
      <inkml:trace xmlns:inkml="http://www.w3.org/2003/InkML" xml:id="stk4" contextRef="#ctx0" brushRef="#br0">3942 11614 0,'-24'0'14,"24"24"95,0-1-98,0 95 5,0-94-12,0 23 6,0-23 0,24 70-5,-24-70 5,0 46-5,0-22 3,23 22 0,-23-46 5,24 47-3,-24-47-9,23 46 8,-23-22-2,0-25 5,24 24-4,-24 24-4,0-24 11,24 1-5,-24-25-4,0 1 6,0 23-7,0-23 3,0 23 7,0 0 1,0-23-9,0 23 11,0-24-11,0 1 9,0 0-7,0-1 0,0 1-5,0 0 4,0-1 0,0 24 9,-24-23-9,24 0 0,0-1 2,-24 1-4,24-1 9,0 1-5,0 0 21,0-1-22,-23 1 5,23-1 25,0 1 27</inkml:trace>
    </iact:actionData>
  </iact:action>
</iact:actions>
</file>

<file path=ppt/ink/inkAction3.xml><?xml version="1.0" encoding="utf-8"?>
<iact:actions xmlns:iact="http://schemas.microsoft.com/office/powerpoint/2014/inkAction" lengthUnit="cm" timeUnit="ms">
  <inkml:definitions xmlns:inkml="http://www.w3.org/2003/InkML"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55.81395" units="1/cm"/>
          <inkml:channelProperty channel="Y" name="resolution" value="55.6701" units="1/cm"/>
          <inkml:channelProperty channel="T" name="resolution" value="1" units="1/dev"/>
        </inkml:channelProperties>
      </inkml:inkSource>
      <inkml:timestamp xml:id="ts0" timeString="2021-05-20T12:10:57.463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act:action type="add" startTime="26152">
    <iact:property name="dataType"/>
    <iact:actionData xml:id="d0">
      <inkml:trace xmlns:inkml="http://www.w3.org/2003/InkML" xml:id="stk0" contextRef="#ctx0" brushRef="#br0">8567 16713 0,'24'0'111,"0"0"-104,-1 0-2,24 0 1,48 0 5,-48 0-5,71 0 3,-47 0-2,23 0 2,24 0-2,-23 0 3,46 0-3,-70 0 3,47 0-4,-71 0 3,48 0 0,-25 0-6,25 0 5,-48 0 2,47 0-1,-46 0-3,70 0 1,-71 0 2,24 0 1,-1 0-4,-46 0 1,70 0 3,-46 0-2,22 0 3,1 0-5,0 0 1,0 0-1,47 0 1,-71 0 1,47-24 0,-70 24-1,47 0 2,0 0-2,-48 0 3,48 0-3,0 0 1,-48 0 0,48 0 1,0 0-3,-47 0 2,46 0 3,-46 0-6,47 0 1,-24 0 3,-23 0-2,23 0 2,24 0-2,-48 0 4,48 0-3,-24 0 6,0 0-5,1 0-2,-1 0 1,24 0 0,-48 0-1,24 0-1,1 0 4,46 0 10,-70 0-16,-1 0 3,1 0 2,23 0-2,0 0 1,-23 0 1,-1 0-2,1 0 0,0 0 2,23 0-2,-24 0 0,1 0 3,23 0-5,-23 0 7,23 0-5,-23 24 0,23-24 0,0 0 2,0 0-2,-23 0 1,23 0 0,24 0 0,0 0-1,-24 23 2,0-23-2,47 0 1,-70 0 0,47 0 0,-24 0-1,24 24 2,-24-24-1,24 0 0,-48 0-1,48 0 0,-24 0 1,-23 0 0,0 0 0,-1 0 8,1 0 19,-1 0 2,1 0-23,0 0 3,-1 0-10,1 0 23,-1 0-3,1 0-2,0 0-3,-1 0 2</inkml:trace>
    </iact:actionData>
  </iact:action>
  <iact:action type="add" startTime="28309">
    <iact:property name="dataType"/>
    <iact:actionData xml:id="d1">
      <inkml:trace xmlns:inkml="http://www.w3.org/2003/InkML" xml:id="stk1" contextRef="#ctx0" brushRef="#br0">2148 17279 0,'47'0'66,"24"0"-59,0 0 1,47 0 4,23 0-8,-70 0 4,24-23 0,-25 23 5,72 0-10,-24 0 5,47 0 0,24 0 2,-95 0-1,72 0-2,-96 0-1,96 0 5,-119 0-6,47 0 3,-47 0 1,1 0-3,-1 0 2,-24 0 0,1 0 3,23 0-5,24 0 10,-47 0-8,-1 0-1,1 0 1,-1 0 6,1 0 1,0 0 12,-1 0-11,48 0-11,-24 0 5,0 0-4,48 0 5,-48 0-3,24 0 0,0 0-3,-48 0 4,48 0-4,47 0 5,-47 0-1,47 0-1,-47 0-2,94 0 4,-71 0-4,1 0 2,-25 0-1,1 0 3,-47 0 0,-1 0 2,1 0-4,0 0 10,70 0-1,0 0-14,-46 0 5,46 0 1,-23 0 0,0 0 6,-48 0-8,25 0 9,-25 0 8,1 0-18,-1 0 3,1 0 25,0 0 15,-1 0-19,1 0-25,-1 0 19,-23-24-1,24 24 33,0 0-46,-1 0 11,1 0-14,-1 0 2,25 0 9,-25 0-13,1 0 3,-1 0 17</inkml:trace>
    </iact:actionData>
  </iact:action>
</iact:action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5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D9D10C65-1D24-4885-ABE2-5A830788B09B}"/>
              </a:ext>
            </a:extLst>
          </p:cNvPr>
          <p:cNvSpPr/>
          <p:nvPr userDrawn="1"/>
        </p:nvSpPr>
        <p:spPr>
          <a:xfrm>
            <a:off x="-1" y="0"/>
            <a:ext cx="12196845" cy="6858000"/>
          </a:xfrm>
          <a:custGeom>
            <a:avLst/>
            <a:gdLst>
              <a:gd name="connsiteX0" fmla="*/ 0 w 12192000"/>
              <a:gd name="connsiteY0" fmla="*/ 0 h 6858000"/>
              <a:gd name="connsiteX1" fmla="*/ 7334249 w 12192000"/>
              <a:gd name="connsiteY1" fmla="*/ 0 h 6858000"/>
              <a:gd name="connsiteX2" fmla="*/ 12192000 w 12192000"/>
              <a:gd name="connsiteY2" fmla="*/ 6844332 h 6858000"/>
              <a:gd name="connsiteX3" fmla="*/ 12192000 w 12192000"/>
              <a:gd name="connsiteY3" fmla="*/ 6858000 h 6858000"/>
              <a:gd name="connsiteX4" fmla="*/ 2104595 w 12192000"/>
              <a:gd name="connsiteY4" fmla="*/ 6858000 h 6858000"/>
              <a:gd name="connsiteX5" fmla="*/ 0 w 12192000"/>
              <a:gd name="connsiteY5" fmla="*/ 389272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7334249" y="0"/>
                </a:lnTo>
                <a:lnTo>
                  <a:pt x="12192000" y="6844332"/>
                </a:lnTo>
                <a:lnTo>
                  <a:pt x="12192000" y="6858000"/>
                </a:lnTo>
                <a:lnTo>
                  <a:pt x="2104595" y="6858000"/>
                </a:lnTo>
                <a:lnTo>
                  <a:pt x="0" y="38927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直角三角形 47">
            <a:extLst>
              <a:ext uri="{FF2B5EF4-FFF2-40B4-BE49-F238E27FC236}">
                <a16:creationId xmlns:a16="http://schemas.microsoft.com/office/drawing/2014/main" id="{7693F364-3BA0-485F-BEE4-2A3C12CF48FA}"/>
              </a:ext>
            </a:extLst>
          </p:cNvPr>
          <p:cNvSpPr/>
          <p:nvPr userDrawn="1"/>
        </p:nvSpPr>
        <p:spPr>
          <a:xfrm>
            <a:off x="-1" y="3887705"/>
            <a:ext cx="2108161" cy="2970295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直角三角形 50">
            <a:extLst>
              <a:ext uri="{FF2B5EF4-FFF2-40B4-BE49-F238E27FC236}">
                <a16:creationId xmlns:a16="http://schemas.microsoft.com/office/drawing/2014/main" id="{924E5809-4C3F-42ED-9B05-9D4DC24B81A7}"/>
              </a:ext>
            </a:extLst>
          </p:cNvPr>
          <p:cNvSpPr/>
          <p:nvPr userDrawn="1"/>
        </p:nvSpPr>
        <p:spPr>
          <a:xfrm flipH="1" flipV="1">
            <a:off x="7328113" y="0"/>
            <a:ext cx="4867452" cy="68580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94A2D138-D65F-469D-9623-8D938FA1E682}"/>
              </a:ext>
            </a:extLst>
          </p:cNvPr>
          <p:cNvSpPr/>
          <p:nvPr userDrawn="1"/>
        </p:nvSpPr>
        <p:spPr>
          <a:xfrm>
            <a:off x="885825" y="4666470"/>
            <a:ext cx="1555434" cy="2191530"/>
          </a:xfrm>
          <a:custGeom>
            <a:avLst/>
            <a:gdLst>
              <a:gd name="connsiteX0" fmla="*/ 0 w 2008466"/>
              <a:gd name="connsiteY0" fmla="*/ 0 h 2829830"/>
              <a:gd name="connsiteX1" fmla="*/ 2008466 w 2008466"/>
              <a:gd name="connsiteY1" fmla="*/ 2829830 h 2829830"/>
              <a:gd name="connsiteX2" fmla="*/ 1193760 w 2008466"/>
              <a:gd name="connsiteY2" fmla="*/ 2829830 h 2829830"/>
              <a:gd name="connsiteX3" fmla="*/ 0 w 2008466"/>
              <a:gd name="connsiteY3" fmla="*/ 1115330 h 2829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08466" h="2829830">
                <a:moveTo>
                  <a:pt x="0" y="0"/>
                </a:moveTo>
                <a:lnTo>
                  <a:pt x="2008466" y="2829830"/>
                </a:lnTo>
                <a:lnTo>
                  <a:pt x="1193760" y="2829830"/>
                </a:lnTo>
                <a:lnTo>
                  <a:pt x="0" y="11153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484F87AD-03BA-4790-9FE8-AE43B794F8E1}"/>
              </a:ext>
            </a:extLst>
          </p:cNvPr>
          <p:cNvSpPr/>
          <p:nvPr userDrawn="1"/>
        </p:nvSpPr>
        <p:spPr>
          <a:xfrm>
            <a:off x="765784" y="827314"/>
            <a:ext cx="10660432" cy="54429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1" name="组合 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973847D-1522-4761-8FD4-933F53B40364}"/>
              </a:ext>
            </a:extLst>
          </p:cNvPr>
          <p:cNvGrpSpPr/>
          <p:nvPr userDrawn="1"/>
        </p:nvGrpSpPr>
        <p:grpSpPr>
          <a:xfrm>
            <a:off x="6258963" y="1349518"/>
            <a:ext cx="4772804" cy="4158964"/>
            <a:chOff x="3102769" y="1080936"/>
            <a:chExt cx="5986462" cy="5216530"/>
          </a:xfrm>
        </p:grpSpPr>
        <p:sp>
          <p:nvSpPr>
            <p:cNvPr id="14" name="iŝlïḍé">
              <a:extLst>
                <a:ext uri="{FF2B5EF4-FFF2-40B4-BE49-F238E27FC236}">
                  <a16:creationId xmlns:a16="http://schemas.microsoft.com/office/drawing/2014/main" id="{13EDD810-6F1D-4943-A2DC-6C7F26F2F50C}"/>
                </a:ext>
              </a:extLst>
            </p:cNvPr>
            <p:cNvSpPr/>
            <p:nvPr/>
          </p:nvSpPr>
          <p:spPr bwMode="auto">
            <a:xfrm>
              <a:off x="3536465" y="1080936"/>
              <a:ext cx="5552766" cy="5216530"/>
            </a:xfrm>
            <a:custGeom>
              <a:avLst/>
              <a:gdLst>
                <a:gd name="T0" fmla="*/ 1050 w 1095"/>
                <a:gd name="T1" fmla="*/ 413 h 1030"/>
                <a:gd name="T2" fmla="*/ 516 w 1095"/>
                <a:gd name="T3" fmla="*/ 39 h 1030"/>
                <a:gd name="T4" fmla="*/ 1025 w 1095"/>
                <a:gd name="T5" fmla="*/ 416 h 1030"/>
                <a:gd name="T6" fmla="*/ 1034 w 1095"/>
                <a:gd name="T7" fmla="*/ 521 h 1030"/>
                <a:gd name="T8" fmla="*/ 993 w 1095"/>
                <a:gd name="T9" fmla="*/ 653 h 1030"/>
                <a:gd name="T10" fmla="*/ 997 w 1095"/>
                <a:gd name="T11" fmla="*/ 462 h 1030"/>
                <a:gd name="T12" fmla="*/ 445 w 1095"/>
                <a:gd name="T13" fmla="*/ 88 h 1030"/>
                <a:gd name="T14" fmla="*/ 440 w 1095"/>
                <a:gd name="T15" fmla="*/ 89 h 1030"/>
                <a:gd name="T16" fmla="*/ 325 w 1095"/>
                <a:gd name="T17" fmla="*/ 132 h 1030"/>
                <a:gd name="T18" fmla="*/ 432 w 1095"/>
                <a:gd name="T19" fmla="*/ 132 h 1030"/>
                <a:gd name="T20" fmla="*/ 455 w 1095"/>
                <a:gd name="T21" fmla="*/ 155 h 1030"/>
                <a:gd name="T22" fmla="*/ 432 w 1095"/>
                <a:gd name="T23" fmla="*/ 178 h 1030"/>
                <a:gd name="T24" fmla="*/ 260 w 1095"/>
                <a:gd name="T25" fmla="*/ 178 h 1030"/>
                <a:gd name="T26" fmla="*/ 153 w 1095"/>
                <a:gd name="T27" fmla="*/ 327 h 1030"/>
                <a:gd name="T28" fmla="*/ 128 w 1095"/>
                <a:gd name="T29" fmla="*/ 593 h 1030"/>
                <a:gd name="T30" fmla="*/ 455 w 1095"/>
                <a:gd name="T31" fmla="*/ 954 h 1030"/>
                <a:gd name="T32" fmla="*/ 182 w 1095"/>
                <a:gd name="T33" fmla="*/ 835 h 1030"/>
                <a:gd name="T34" fmla="*/ 0 w 1095"/>
                <a:gd name="T35" fmla="*/ 499 h 1030"/>
                <a:gd name="T36" fmla="*/ 185 w 1095"/>
                <a:gd name="T37" fmla="*/ 873 h 1030"/>
                <a:gd name="T38" fmla="*/ 745 w 1095"/>
                <a:gd name="T39" fmla="*/ 946 h 1030"/>
                <a:gd name="T40" fmla="*/ 1050 w 1095"/>
                <a:gd name="T41" fmla="*/ 413 h 1030"/>
                <a:gd name="T42" fmla="*/ 939 w 1095"/>
                <a:gd name="T43" fmla="*/ 790 h 1030"/>
                <a:gd name="T44" fmla="*/ 943 w 1095"/>
                <a:gd name="T45" fmla="*/ 783 h 1030"/>
                <a:gd name="T46" fmla="*/ 982 w 1095"/>
                <a:gd name="T47" fmla="*/ 721 h 1030"/>
                <a:gd name="T48" fmla="*/ 939 w 1095"/>
                <a:gd name="T49" fmla="*/ 79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5" h="1030">
                  <a:moveTo>
                    <a:pt x="1050" y="413"/>
                  </a:moveTo>
                  <a:cubicBezTo>
                    <a:pt x="1001" y="164"/>
                    <a:pt x="765" y="0"/>
                    <a:pt x="516" y="39"/>
                  </a:cubicBezTo>
                  <a:cubicBezTo>
                    <a:pt x="756" y="14"/>
                    <a:pt x="978" y="176"/>
                    <a:pt x="1025" y="416"/>
                  </a:cubicBezTo>
                  <a:cubicBezTo>
                    <a:pt x="1032" y="451"/>
                    <a:pt x="1035" y="486"/>
                    <a:pt x="1034" y="521"/>
                  </a:cubicBezTo>
                  <a:cubicBezTo>
                    <a:pt x="1026" y="566"/>
                    <a:pt x="1013" y="610"/>
                    <a:pt x="993" y="653"/>
                  </a:cubicBezTo>
                  <a:cubicBezTo>
                    <a:pt x="1007" y="592"/>
                    <a:pt x="1009" y="527"/>
                    <a:pt x="997" y="462"/>
                  </a:cubicBezTo>
                  <a:cubicBezTo>
                    <a:pt x="948" y="207"/>
                    <a:pt x="700" y="39"/>
                    <a:pt x="445" y="88"/>
                  </a:cubicBezTo>
                  <a:cubicBezTo>
                    <a:pt x="443" y="89"/>
                    <a:pt x="441" y="89"/>
                    <a:pt x="440" y="89"/>
                  </a:cubicBezTo>
                  <a:cubicBezTo>
                    <a:pt x="399" y="98"/>
                    <a:pt x="361" y="112"/>
                    <a:pt x="325" y="132"/>
                  </a:cubicBezTo>
                  <a:cubicBezTo>
                    <a:pt x="432" y="132"/>
                    <a:pt x="432" y="132"/>
                    <a:pt x="432" y="132"/>
                  </a:cubicBezTo>
                  <a:cubicBezTo>
                    <a:pt x="445" y="132"/>
                    <a:pt x="455" y="143"/>
                    <a:pt x="455" y="155"/>
                  </a:cubicBezTo>
                  <a:cubicBezTo>
                    <a:pt x="455" y="168"/>
                    <a:pt x="445" y="178"/>
                    <a:pt x="432" y="178"/>
                  </a:cubicBezTo>
                  <a:cubicBezTo>
                    <a:pt x="260" y="178"/>
                    <a:pt x="260" y="178"/>
                    <a:pt x="260" y="178"/>
                  </a:cubicBezTo>
                  <a:cubicBezTo>
                    <a:pt x="213" y="218"/>
                    <a:pt x="177" y="269"/>
                    <a:pt x="153" y="327"/>
                  </a:cubicBezTo>
                  <a:cubicBezTo>
                    <a:pt x="120" y="409"/>
                    <a:pt x="109" y="500"/>
                    <a:pt x="128" y="593"/>
                  </a:cubicBezTo>
                  <a:cubicBezTo>
                    <a:pt x="162" y="771"/>
                    <a:pt x="293" y="905"/>
                    <a:pt x="455" y="954"/>
                  </a:cubicBezTo>
                  <a:cubicBezTo>
                    <a:pt x="358" y="942"/>
                    <a:pt x="263" y="903"/>
                    <a:pt x="182" y="835"/>
                  </a:cubicBezTo>
                  <a:cubicBezTo>
                    <a:pt x="77" y="746"/>
                    <a:pt x="16" y="625"/>
                    <a:pt x="0" y="499"/>
                  </a:cubicBezTo>
                  <a:cubicBezTo>
                    <a:pt x="7" y="639"/>
                    <a:pt x="70" y="776"/>
                    <a:pt x="185" y="873"/>
                  </a:cubicBezTo>
                  <a:cubicBezTo>
                    <a:pt x="347" y="1009"/>
                    <a:pt x="566" y="1030"/>
                    <a:pt x="745" y="946"/>
                  </a:cubicBezTo>
                  <a:cubicBezTo>
                    <a:pt x="960" y="870"/>
                    <a:pt x="1095" y="643"/>
                    <a:pt x="1050" y="413"/>
                  </a:cubicBezTo>
                  <a:moveTo>
                    <a:pt x="939" y="790"/>
                  </a:moveTo>
                  <a:cubicBezTo>
                    <a:pt x="940" y="788"/>
                    <a:pt x="941" y="785"/>
                    <a:pt x="943" y="783"/>
                  </a:cubicBezTo>
                  <a:cubicBezTo>
                    <a:pt x="957" y="763"/>
                    <a:pt x="971" y="742"/>
                    <a:pt x="982" y="721"/>
                  </a:cubicBezTo>
                  <a:cubicBezTo>
                    <a:pt x="970" y="745"/>
                    <a:pt x="955" y="768"/>
                    <a:pt x="939" y="790"/>
                  </a:cubicBezTo>
                </a:path>
              </a:pathLst>
            </a:custGeom>
            <a:solidFill>
              <a:srgbClr val="F78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işḷïḍè">
              <a:extLst>
                <a:ext uri="{FF2B5EF4-FFF2-40B4-BE49-F238E27FC236}">
                  <a16:creationId xmlns:a16="http://schemas.microsoft.com/office/drawing/2014/main" id="{05DD3EF4-D9F9-435F-958E-0A68DCC522A3}"/>
                </a:ext>
              </a:extLst>
            </p:cNvPr>
            <p:cNvSpPr/>
            <p:nvPr/>
          </p:nvSpPr>
          <p:spPr bwMode="auto">
            <a:xfrm>
              <a:off x="8109761" y="1967819"/>
              <a:ext cx="375220" cy="526282"/>
            </a:xfrm>
            <a:custGeom>
              <a:avLst/>
              <a:gdLst>
                <a:gd name="T0" fmla="*/ 45 w 74"/>
                <a:gd name="T1" fmla="*/ 23 h 104"/>
                <a:gd name="T2" fmla="*/ 45 w 74"/>
                <a:gd name="T3" fmla="*/ 23 h 104"/>
                <a:gd name="T4" fmla="*/ 45 w 74"/>
                <a:gd name="T5" fmla="*/ 23 h 104"/>
                <a:gd name="T6" fmla="*/ 44 w 74"/>
                <a:gd name="T7" fmla="*/ 23 h 104"/>
                <a:gd name="T8" fmla="*/ 44 w 74"/>
                <a:gd name="T9" fmla="*/ 23 h 104"/>
                <a:gd name="T10" fmla="*/ 44 w 74"/>
                <a:gd name="T11" fmla="*/ 23 h 104"/>
                <a:gd name="T12" fmla="*/ 0 w 74"/>
                <a:gd name="T13" fmla="*/ 4 h 104"/>
                <a:gd name="T14" fmla="*/ 0 w 74"/>
                <a:gd name="T15" fmla="*/ 4 h 104"/>
                <a:gd name="T16" fmla="*/ 74 w 74"/>
                <a:gd name="T17" fmla="*/ 104 h 104"/>
                <a:gd name="T18" fmla="*/ 74 w 74"/>
                <a:gd name="T19" fmla="*/ 104 h 104"/>
                <a:gd name="T20" fmla="*/ 0 w 74"/>
                <a:gd name="T21" fmla="*/ 4 h 104"/>
                <a:gd name="T22" fmla="*/ 23 w 74"/>
                <a:gd name="T23" fmla="*/ 0 h 104"/>
                <a:gd name="T24" fmla="*/ 44 w 74"/>
                <a:gd name="T25" fmla="*/ 22 h 104"/>
                <a:gd name="T26" fmla="*/ 23 w 74"/>
                <a:gd name="T27" fmla="*/ 0 h 104"/>
                <a:gd name="T28" fmla="*/ 23 w 74"/>
                <a:gd name="T2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104">
                  <a:moveTo>
                    <a:pt x="45" y="23"/>
                  </a:move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9" y="34"/>
                    <a:pt x="53" y="67"/>
                    <a:pt x="74" y="104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53" y="67"/>
                    <a:pt x="29" y="34"/>
                    <a:pt x="0" y="4"/>
                  </a:cubicBezTo>
                  <a:moveTo>
                    <a:pt x="23" y="0"/>
                  </a:moveTo>
                  <a:cubicBezTo>
                    <a:pt x="30" y="7"/>
                    <a:pt x="37" y="15"/>
                    <a:pt x="44" y="22"/>
                  </a:cubicBezTo>
                  <a:cubicBezTo>
                    <a:pt x="37" y="15"/>
                    <a:pt x="30" y="7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ïSlïḍé">
              <a:extLst>
                <a:ext uri="{FF2B5EF4-FFF2-40B4-BE49-F238E27FC236}">
                  <a16:creationId xmlns:a16="http://schemas.microsoft.com/office/drawing/2014/main" id="{5C9E6AA1-53F4-41E4-BBDB-24E2F8F66BA5}"/>
                </a:ext>
              </a:extLst>
            </p:cNvPr>
            <p:cNvSpPr/>
            <p:nvPr/>
          </p:nvSpPr>
          <p:spPr bwMode="auto">
            <a:xfrm>
              <a:off x="8109761" y="1967819"/>
              <a:ext cx="436133" cy="526282"/>
            </a:xfrm>
            <a:custGeom>
              <a:avLst/>
              <a:gdLst>
                <a:gd name="T0" fmla="*/ 23 w 86"/>
                <a:gd name="T1" fmla="*/ 0 h 104"/>
                <a:gd name="T2" fmla="*/ 22 w 86"/>
                <a:gd name="T3" fmla="*/ 0 h 104"/>
                <a:gd name="T4" fmla="*/ 19 w 86"/>
                <a:gd name="T5" fmla="*/ 0 h 104"/>
                <a:gd name="T6" fmla="*/ 16 w 86"/>
                <a:gd name="T7" fmla="*/ 1 h 104"/>
                <a:gd name="T8" fmla="*/ 13 w 86"/>
                <a:gd name="T9" fmla="*/ 1 h 104"/>
                <a:gd name="T10" fmla="*/ 10 w 86"/>
                <a:gd name="T11" fmla="*/ 1 h 104"/>
                <a:gd name="T12" fmla="*/ 7 w 86"/>
                <a:gd name="T13" fmla="*/ 2 h 104"/>
                <a:gd name="T14" fmla="*/ 4 w 86"/>
                <a:gd name="T15" fmla="*/ 3 h 104"/>
                <a:gd name="T16" fmla="*/ 1 w 86"/>
                <a:gd name="T17" fmla="*/ 4 h 104"/>
                <a:gd name="T18" fmla="*/ 0 w 86"/>
                <a:gd name="T19" fmla="*/ 4 h 104"/>
                <a:gd name="T20" fmla="*/ 74 w 86"/>
                <a:gd name="T21" fmla="*/ 104 h 104"/>
                <a:gd name="T22" fmla="*/ 74 w 86"/>
                <a:gd name="T23" fmla="*/ 104 h 104"/>
                <a:gd name="T24" fmla="*/ 76 w 86"/>
                <a:gd name="T25" fmla="*/ 100 h 104"/>
                <a:gd name="T26" fmla="*/ 77 w 86"/>
                <a:gd name="T27" fmla="*/ 99 h 104"/>
                <a:gd name="T28" fmla="*/ 80 w 86"/>
                <a:gd name="T29" fmla="*/ 94 h 104"/>
                <a:gd name="T30" fmla="*/ 81 w 86"/>
                <a:gd name="T31" fmla="*/ 93 h 104"/>
                <a:gd name="T32" fmla="*/ 82 w 86"/>
                <a:gd name="T33" fmla="*/ 89 h 104"/>
                <a:gd name="T34" fmla="*/ 83 w 86"/>
                <a:gd name="T35" fmla="*/ 87 h 104"/>
                <a:gd name="T36" fmla="*/ 85 w 86"/>
                <a:gd name="T37" fmla="*/ 83 h 104"/>
                <a:gd name="T38" fmla="*/ 85 w 86"/>
                <a:gd name="T39" fmla="*/ 81 h 104"/>
                <a:gd name="T40" fmla="*/ 86 w 86"/>
                <a:gd name="T41" fmla="*/ 79 h 104"/>
                <a:gd name="T42" fmla="*/ 45 w 86"/>
                <a:gd name="T43" fmla="*/ 23 h 104"/>
                <a:gd name="T44" fmla="*/ 45 w 86"/>
                <a:gd name="T45" fmla="*/ 23 h 104"/>
                <a:gd name="T46" fmla="*/ 44 w 86"/>
                <a:gd name="T47" fmla="*/ 23 h 104"/>
                <a:gd name="T48" fmla="*/ 44 w 86"/>
                <a:gd name="T49" fmla="*/ 23 h 104"/>
                <a:gd name="T50" fmla="*/ 44 w 86"/>
                <a:gd name="T51" fmla="*/ 22 h 104"/>
                <a:gd name="T52" fmla="*/ 23 w 86"/>
                <a:gd name="T53" fmla="*/ 0 h 104"/>
                <a:gd name="T54" fmla="*/ 23 w 86"/>
                <a:gd name="T5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6" h="104">
                  <a:moveTo>
                    <a:pt x="23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18" y="0"/>
                    <a:pt x="17" y="0"/>
                    <a:pt x="16" y="1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2" y="1"/>
                    <a:pt x="11" y="1"/>
                    <a:pt x="10" y="1"/>
                  </a:cubicBezTo>
                  <a:cubicBezTo>
                    <a:pt x="9" y="2"/>
                    <a:pt x="8" y="2"/>
                    <a:pt x="7" y="2"/>
                  </a:cubicBezTo>
                  <a:cubicBezTo>
                    <a:pt x="6" y="3"/>
                    <a:pt x="5" y="3"/>
                    <a:pt x="4" y="3"/>
                  </a:cubicBezTo>
                  <a:cubicBezTo>
                    <a:pt x="3" y="3"/>
                    <a:pt x="2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9" y="34"/>
                    <a:pt x="53" y="67"/>
                    <a:pt x="74" y="104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75" y="103"/>
                    <a:pt x="76" y="101"/>
                    <a:pt x="76" y="100"/>
                  </a:cubicBezTo>
                  <a:cubicBezTo>
                    <a:pt x="77" y="100"/>
                    <a:pt x="77" y="99"/>
                    <a:pt x="77" y="99"/>
                  </a:cubicBezTo>
                  <a:cubicBezTo>
                    <a:pt x="78" y="98"/>
                    <a:pt x="79" y="96"/>
                    <a:pt x="80" y="94"/>
                  </a:cubicBezTo>
                  <a:cubicBezTo>
                    <a:pt x="80" y="94"/>
                    <a:pt x="81" y="93"/>
                    <a:pt x="81" y="93"/>
                  </a:cubicBezTo>
                  <a:cubicBezTo>
                    <a:pt x="81" y="92"/>
                    <a:pt x="82" y="90"/>
                    <a:pt x="82" y="89"/>
                  </a:cubicBezTo>
                  <a:cubicBezTo>
                    <a:pt x="83" y="89"/>
                    <a:pt x="83" y="88"/>
                    <a:pt x="83" y="87"/>
                  </a:cubicBezTo>
                  <a:cubicBezTo>
                    <a:pt x="84" y="86"/>
                    <a:pt x="84" y="85"/>
                    <a:pt x="85" y="83"/>
                  </a:cubicBezTo>
                  <a:cubicBezTo>
                    <a:pt x="85" y="82"/>
                    <a:pt x="85" y="81"/>
                    <a:pt x="85" y="81"/>
                  </a:cubicBezTo>
                  <a:cubicBezTo>
                    <a:pt x="85" y="80"/>
                    <a:pt x="86" y="80"/>
                    <a:pt x="86" y="79"/>
                  </a:cubicBezTo>
                  <a:cubicBezTo>
                    <a:pt x="73" y="60"/>
                    <a:pt x="60" y="41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2"/>
                    <a:pt x="44" y="22"/>
                  </a:cubicBezTo>
                  <a:cubicBezTo>
                    <a:pt x="37" y="15"/>
                    <a:pt x="30" y="7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CB6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ï$ľîḍê">
              <a:extLst>
                <a:ext uri="{FF2B5EF4-FFF2-40B4-BE49-F238E27FC236}">
                  <a16:creationId xmlns:a16="http://schemas.microsoft.com/office/drawing/2014/main" id="{47F09376-C4DA-4F86-A68C-C2615679A65A}"/>
                </a:ext>
              </a:extLst>
            </p:cNvPr>
            <p:cNvSpPr/>
            <p:nvPr/>
          </p:nvSpPr>
          <p:spPr bwMode="auto">
            <a:xfrm>
              <a:off x="8502036" y="2520902"/>
              <a:ext cx="9746" cy="24365"/>
            </a:xfrm>
            <a:custGeom>
              <a:avLst/>
              <a:gdLst>
                <a:gd name="T0" fmla="*/ 0 w 2"/>
                <a:gd name="T1" fmla="*/ 0 h 5"/>
                <a:gd name="T2" fmla="*/ 0 w 2"/>
                <a:gd name="T3" fmla="*/ 0 h 5"/>
                <a:gd name="T4" fmla="*/ 2 w 2"/>
                <a:gd name="T5" fmla="*/ 5 h 5"/>
                <a:gd name="T6" fmla="*/ 2 w 2"/>
                <a:gd name="T7" fmla="*/ 5 h 5"/>
                <a:gd name="T8" fmla="*/ 0 w 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4"/>
                    <a:pt x="0" y="2"/>
                    <a:pt x="0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ṧľïḓè">
              <a:extLst>
                <a:ext uri="{FF2B5EF4-FFF2-40B4-BE49-F238E27FC236}">
                  <a16:creationId xmlns:a16="http://schemas.microsoft.com/office/drawing/2014/main" id="{776EAFE2-6858-4DBE-ADBB-35BD38DCDE5B}"/>
                </a:ext>
              </a:extLst>
            </p:cNvPr>
            <p:cNvSpPr/>
            <p:nvPr/>
          </p:nvSpPr>
          <p:spPr bwMode="auto">
            <a:xfrm>
              <a:off x="8502036" y="2474609"/>
              <a:ext cx="48730" cy="70659"/>
            </a:xfrm>
            <a:custGeom>
              <a:avLst/>
              <a:gdLst>
                <a:gd name="T0" fmla="*/ 10 w 10"/>
                <a:gd name="T1" fmla="*/ 0 h 14"/>
                <a:gd name="T2" fmla="*/ 0 w 10"/>
                <a:gd name="T3" fmla="*/ 9 h 14"/>
                <a:gd name="T4" fmla="*/ 2 w 10"/>
                <a:gd name="T5" fmla="*/ 14 h 14"/>
                <a:gd name="T6" fmla="*/ 10 w 10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4">
                  <a:moveTo>
                    <a:pt x="10" y="0"/>
                  </a:moveTo>
                  <a:cubicBezTo>
                    <a:pt x="10" y="0"/>
                    <a:pt x="6" y="5"/>
                    <a:pt x="0" y="9"/>
                  </a:cubicBezTo>
                  <a:cubicBezTo>
                    <a:pt x="0" y="11"/>
                    <a:pt x="1" y="13"/>
                    <a:pt x="2" y="14"/>
                  </a:cubicBezTo>
                  <a:cubicBezTo>
                    <a:pt x="7" y="7"/>
                    <a:pt x="10" y="0"/>
                    <a:pt x="10" y="0"/>
                  </a:cubicBezTo>
                </a:path>
              </a:pathLst>
            </a:custGeom>
            <a:solidFill>
              <a:srgbClr val="CB6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ŝľîďê">
              <a:extLst>
                <a:ext uri="{FF2B5EF4-FFF2-40B4-BE49-F238E27FC236}">
                  <a16:creationId xmlns:a16="http://schemas.microsoft.com/office/drawing/2014/main" id="{8AC15DCA-74BA-49E8-8CCA-68E8BEA039EA}"/>
                </a:ext>
              </a:extLst>
            </p:cNvPr>
            <p:cNvSpPr/>
            <p:nvPr/>
          </p:nvSpPr>
          <p:spPr bwMode="auto">
            <a:xfrm>
              <a:off x="3836154" y="4545628"/>
              <a:ext cx="4536748" cy="1366873"/>
            </a:xfrm>
            <a:custGeom>
              <a:avLst/>
              <a:gdLst>
                <a:gd name="T0" fmla="*/ 396 w 895"/>
                <a:gd name="T1" fmla="*/ 269 h 270"/>
                <a:gd name="T2" fmla="*/ 395 w 895"/>
                <a:gd name="T3" fmla="*/ 269 h 270"/>
                <a:gd name="T4" fmla="*/ 395 w 895"/>
                <a:gd name="T5" fmla="*/ 269 h 270"/>
                <a:gd name="T6" fmla="*/ 393 w 895"/>
                <a:gd name="T7" fmla="*/ 269 h 270"/>
                <a:gd name="T8" fmla="*/ 392 w 895"/>
                <a:gd name="T9" fmla="*/ 268 h 270"/>
                <a:gd name="T10" fmla="*/ 392 w 895"/>
                <a:gd name="T11" fmla="*/ 268 h 270"/>
                <a:gd name="T12" fmla="*/ 390 w 895"/>
                <a:gd name="T13" fmla="*/ 268 h 270"/>
                <a:gd name="T14" fmla="*/ 389 w 895"/>
                <a:gd name="T15" fmla="*/ 267 h 270"/>
                <a:gd name="T16" fmla="*/ 389 w 895"/>
                <a:gd name="T17" fmla="*/ 267 h 270"/>
                <a:gd name="T18" fmla="*/ 387 w 895"/>
                <a:gd name="T19" fmla="*/ 267 h 270"/>
                <a:gd name="T20" fmla="*/ 386 w 895"/>
                <a:gd name="T21" fmla="*/ 267 h 270"/>
                <a:gd name="T22" fmla="*/ 386 w 895"/>
                <a:gd name="T23" fmla="*/ 266 h 270"/>
                <a:gd name="T24" fmla="*/ 385 w 895"/>
                <a:gd name="T25" fmla="*/ 266 h 270"/>
                <a:gd name="T26" fmla="*/ 384 w 895"/>
                <a:gd name="T27" fmla="*/ 266 h 270"/>
                <a:gd name="T28" fmla="*/ 384 w 895"/>
                <a:gd name="T29" fmla="*/ 266 h 270"/>
                <a:gd name="T30" fmla="*/ 383 w 895"/>
                <a:gd name="T31" fmla="*/ 265 h 270"/>
                <a:gd name="T32" fmla="*/ 382 w 895"/>
                <a:gd name="T33" fmla="*/ 265 h 270"/>
                <a:gd name="T34" fmla="*/ 382 w 895"/>
                <a:gd name="T35" fmla="*/ 265 h 270"/>
                <a:gd name="T36" fmla="*/ 381 w 895"/>
                <a:gd name="T37" fmla="*/ 265 h 270"/>
                <a:gd name="T38" fmla="*/ 380 w 895"/>
                <a:gd name="T39" fmla="*/ 264 h 270"/>
                <a:gd name="T40" fmla="*/ 686 w 895"/>
                <a:gd name="T41" fmla="*/ 262 h 270"/>
                <a:gd name="T42" fmla="*/ 687 w 895"/>
                <a:gd name="T43" fmla="*/ 262 h 270"/>
                <a:gd name="T44" fmla="*/ 687 w 895"/>
                <a:gd name="T45" fmla="*/ 262 h 270"/>
                <a:gd name="T46" fmla="*/ 688 w 895"/>
                <a:gd name="T47" fmla="*/ 261 h 270"/>
                <a:gd name="T48" fmla="*/ 688 w 895"/>
                <a:gd name="T49" fmla="*/ 261 h 270"/>
                <a:gd name="T50" fmla="*/ 689 w 895"/>
                <a:gd name="T51" fmla="*/ 261 h 270"/>
                <a:gd name="T52" fmla="*/ 689 w 895"/>
                <a:gd name="T53" fmla="*/ 261 h 270"/>
                <a:gd name="T54" fmla="*/ 689 w 895"/>
                <a:gd name="T55" fmla="*/ 261 h 270"/>
                <a:gd name="T56" fmla="*/ 689 w 895"/>
                <a:gd name="T57" fmla="*/ 261 h 270"/>
                <a:gd name="T58" fmla="*/ 691 w 895"/>
                <a:gd name="T59" fmla="*/ 260 h 270"/>
                <a:gd name="T60" fmla="*/ 692 w 895"/>
                <a:gd name="T61" fmla="*/ 260 h 270"/>
                <a:gd name="T62" fmla="*/ 691 w 895"/>
                <a:gd name="T63" fmla="*/ 260 h 270"/>
                <a:gd name="T64" fmla="*/ 692 w 895"/>
                <a:gd name="T65" fmla="*/ 260 h 270"/>
                <a:gd name="T66" fmla="*/ 694 w 895"/>
                <a:gd name="T67" fmla="*/ 259 h 270"/>
                <a:gd name="T68" fmla="*/ 693 w 895"/>
                <a:gd name="T69" fmla="*/ 260 h 270"/>
                <a:gd name="T70" fmla="*/ 694 w 895"/>
                <a:gd name="T71" fmla="*/ 259 h 270"/>
                <a:gd name="T72" fmla="*/ 696 w 895"/>
                <a:gd name="T73" fmla="*/ 258 h 270"/>
                <a:gd name="T74" fmla="*/ 697 w 895"/>
                <a:gd name="T75" fmla="*/ 258 h 270"/>
                <a:gd name="T76" fmla="*/ 698 w 895"/>
                <a:gd name="T77" fmla="*/ 258 h 270"/>
                <a:gd name="T78" fmla="*/ 698 w 895"/>
                <a:gd name="T79" fmla="*/ 257 h 270"/>
                <a:gd name="T80" fmla="*/ 698 w 895"/>
                <a:gd name="T81" fmla="*/ 257 h 270"/>
                <a:gd name="T82" fmla="*/ 698 w 895"/>
                <a:gd name="T83" fmla="*/ 257 h 270"/>
                <a:gd name="T84" fmla="*/ 699 w 895"/>
                <a:gd name="T85" fmla="*/ 257 h 270"/>
                <a:gd name="T86" fmla="*/ 700 w 895"/>
                <a:gd name="T87" fmla="*/ 257 h 270"/>
                <a:gd name="T88" fmla="*/ 701 w 895"/>
                <a:gd name="T89" fmla="*/ 257 h 270"/>
                <a:gd name="T90" fmla="*/ 701 w 895"/>
                <a:gd name="T91" fmla="*/ 256 h 270"/>
                <a:gd name="T92" fmla="*/ 702 w 895"/>
                <a:gd name="T93" fmla="*/ 256 h 270"/>
                <a:gd name="T94" fmla="*/ 703 w 895"/>
                <a:gd name="T95" fmla="*/ 256 h 270"/>
                <a:gd name="T96" fmla="*/ 703 w 895"/>
                <a:gd name="T97" fmla="*/ 255 h 270"/>
                <a:gd name="T98" fmla="*/ 704 w 895"/>
                <a:gd name="T99" fmla="*/ 255 h 270"/>
                <a:gd name="T100" fmla="*/ 705 w 895"/>
                <a:gd name="T101" fmla="*/ 255 h 270"/>
                <a:gd name="T102" fmla="*/ 706 w 895"/>
                <a:gd name="T103" fmla="*/ 254 h 270"/>
                <a:gd name="T104" fmla="*/ 707 w 895"/>
                <a:gd name="T105" fmla="*/ 254 h 270"/>
                <a:gd name="T106" fmla="*/ 126 w 895"/>
                <a:gd name="T107" fmla="*/ 189 h 270"/>
                <a:gd name="T108" fmla="*/ 126 w 895"/>
                <a:gd name="T109" fmla="*/ 189 h 270"/>
                <a:gd name="T110" fmla="*/ 125 w 895"/>
                <a:gd name="T111" fmla="*/ 188 h 270"/>
                <a:gd name="T112" fmla="*/ 125 w 895"/>
                <a:gd name="T113" fmla="*/ 188 h 270"/>
                <a:gd name="T114" fmla="*/ 124 w 895"/>
                <a:gd name="T115" fmla="*/ 187 h 270"/>
                <a:gd name="T116" fmla="*/ 124 w 895"/>
                <a:gd name="T117" fmla="*/ 187 h 270"/>
                <a:gd name="T118" fmla="*/ 895 w 895"/>
                <a:gd name="T119" fmla="*/ 85 h 270"/>
                <a:gd name="T120" fmla="*/ 0 w 895"/>
                <a:gd name="T121" fmla="*/ 0 h 270"/>
                <a:gd name="T122" fmla="*/ 376 w 895"/>
                <a:gd name="T123" fmla="*/ 26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95" h="270">
                  <a:moveTo>
                    <a:pt x="396" y="269"/>
                  </a:moveTo>
                  <a:cubicBezTo>
                    <a:pt x="396" y="269"/>
                    <a:pt x="396" y="270"/>
                    <a:pt x="396" y="270"/>
                  </a:cubicBezTo>
                  <a:cubicBezTo>
                    <a:pt x="396" y="270"/>
                    <a:pt x="396" y="270"/>
                    <a:pt x="396" y="270"/>
                  </a:cubicBezTo>
                  <a:cubicBezTo>
                    <a:pt x="396" y="270"/>
                    <a:pt x="396" y="269"/>
                    <a:pt x="396" y="269"/>
                  </a:cubicBezTo>
                  <a:moveTo>
                    <a:pt x="395" y="269"/>
                  </a:moveTo>
                  <a:cubicBezTo>
                    <a:pt x="395" y="269"/>
                    <a:pt x="395" y="269"/>
                    <a:pt x="396" y="269"/>
                  </a:cubicBezTo>
                  <a:cubicBezTo>
                    <a:pt x="395" y="269"/>
                    <a:pt x="395" y="269"/>
                    <a:pt x="395" y="269"/>
                  </a:cubicBezTo>
                  <a:moveTo>
                    <a:pt x="395" y="269"/>
                  </a:moveTo>
                  <a:cubicBezTo>
                    <a:pt x="395" y="269"/>
                    <a:pt x="395" y="269"/>
                    <a:pt x="395" y="269"/>
                  </a:cubicBezTo>
                  <a:cubicBezTo>
                    <a:pt x="395" y="269"/>
                    <a:pt x="395" y="269"/>
                    <a:pt x="395" y="269"/>
                  </a:cubicBezTo>
                  <a:moveTo>
                    <a:pt x="394" y="269"/>
                  </a:moveTo>
                  <a:cubicBezTo>
                    <a:pt x="394" y="269"/>
                    <a:pt x="395" y="269"/>
                    <a:pt x="395" y="269"/>
                  </a:cubicBezTo>
                  <a:cubicBezTo>
                    <a:pt x="395" y="269"/>
                    <a:pt x="394" y="269"/>
                    <a:pt x="394" y="269"/>
                  </a:cubicBezTo>
                  <a:moveTo>
                    <a:pt x="393" y="269"/>
                  </a:moveTo>
                  <a:cubicBezTo>
                    <a:pt x="394" y="269"/>
                    <a:pt x="394" y="269"/>
                    <a:pt x="394" y="269"/>
                  </a:cubicBezTo>
                  <a:cubicBezTo>
                    <a:pt x="394" y="269"/>
                    <a:pt x="394" y="269"/>
                    <a:pt x="393" y="269"/>
                  </a:cubicBezTo>
                  <a:moveTo>
                    <a:pt x="393" y="269"/>
                  </a:moveTo>
                  <a:cubicBezTo>
                    <a:pt x="393" y="269"/>
                    <a:pt x="393" y="269"/>
                    <a:pt x="393" y="269"/>
                  </a:cubicBezTo>
                  <a:cubicBezTo>
                    <a:pt x="393" y="269"/>
                    <a:pt x="393" y="269"/>
                    <a:pt x="393" y="269"/>
                  </a:cubicBezTo>
                  <a:moveTo>
                    <a:pt x="392" y="268"/>
                  </a:moveTo>
                  <a:cubicBezTo>
                    <a:pt x="393" y="268"/>
                    <a:pt x="393" y="269"/>
                    <a:pt x="393" y="269"/>
                  </a:cubicBezTo>
                  <a:cubicBezTo>
                    <a:pt x="393" y="269"/>
                    <a:pt x="393" y="268"/>
                    <a:pt x="392" y="268"/>
                  </a:cubicBezTo>
                  <a:moveTo>
                    <a:pt x="391" y="268"/>
                  </a:moveTo>
                  <a:cubicBezTo>
                    <a:pt x="391" y="268"/>
                    <a:pt x="392" y="268"/>
                    <a:pt x="392" y="268"/>
                  </a:cubicBezTo>
                  <a:cubicBezTo>
                    <a:pt x="392" y="268"/>
                    <a:pt x="391" y="268"/>
                    <a:pt x="391" y="268"/>
                  </a:cubicBezTo>
                  <a:moveTo>
                    <a:pt x="390" y="268"/>
                  </a:moveTo>
                  <a:cubicBezTo>
                    <a:pt x="391" y="268"/>
                    <a:pt x="391" y="268"/>
                    <a:pt x="391" y="268"/>
                  </a:cubicBezTo>
                  <a:cubicBezTo>
                    <a:pt x="391" y="268"/>
                    <a:pt x="391" y="268"/>
                    <a:pt x="390" y="268"/>
                  </a:cubicBezTo>
                  <a:moveTo>
                    <a:pt x="389" y="267"/>
                  </a:moveTo>
                  <a:cubicBezTo>
                    <a:pt x="390" y="268"/>
                    <a:pt x="390" y="268"/>
                    <a:pt x="390" y="268"/>
                  </a:cubicBezTo>
                  <a:cubicBezTo>
                    <a:pt x="390" y="268"/>
                    <a:pt x="390" y="268"/>
                    <a:pt x="389" y="267"/>
                  </a:cubicBezTo>
                  <a:moveTo>
                    <a:pt x="389" y="267"/>
                  </a:moveTo>
                  <a:cubicBezTo>
                    <a:pt x="389" y="267"/>
                    <a:pt x="389" y="267"/>
                    <a:pt x="389" y="267"/>
                  </a:cubicBezTo>
                  <a:cubicBezTo>
                    <a:pt x="389" y="267"/>
                    <a:pt x="389" y="267"/>
                    <a:pt x="389" y="267"/>
                  </a:cubicBezTo>
                  <a:moveTo>
                    <a:pt x="388" y="267"/>
                  </a:moveTo>
                  <a:cubicBezTo>
                    <a:pt x="388" y="267"/>
                    <a:pt x="388" y="267"/>
                    <a:pt x="389" y="267"/>
                  </a:cubicBezTo>
                  <a:cubicBezTo>
                    <a:pt x="388" y="267"/>
                    <a:pt x="388" y="267"/>
                    <a:pt x="388" y="267"/>
                  </a:cubicBezTo>
                  <a:moveTo>
                    <a:pt x="387" y="267"/>
                  </a:moveTo>
                  <a:cubicBezTo>
                    <a:pt x="387" y="267"/>
                    <a:pt x="388" y="267"/>
                    <a:pt x="388" y="267"/>
                  </a:cubicBezTo>
                  <a:cubicBezTo>
                    <a:pt x="388" y="267"/>
                    <a:pt x="387" y="267"/>
                    <a:pt x="387" y="267"/>
                  </a:cubicBezTo>
                  <a:moveTo>
                    <a:pt x="387" y="267"/>
                  </a:moveTo>
                  <a:cubicBezTo>
                    <a:pt x="387" y="267"/>
                    <a:pt x="387" y="267"/>
                    <a:pt x="387" y="267"/>
                  </a:cubicBezTo>
                  <a:cubicBezTo>
                    <a:pt x="387" y="267"/>
                    <a:pt x="387" y="267"/>
                    <a:pt x="387" y="267"/>
                  </a:cubicBezTo>
                  <a:moveTo>
                    <a:pt x="386" y="267"/>
                  </a:moveTo>
                  <a:cubicBezTo>
                    <a:pt x="386" y="267"/>
                    <a:pt x="387" y="267"/>
                    <a:pt x="387" y="267"/>
                  </a:cubicBezTo>
                  <a:cubicBezTo>
                    <a:pt x="387" y="267"/>
                    <a:pt x="386" y="267"/>
                    <a:pt x="386" y="267"/>
                  </a:cubicBezTo>
                  <a:moveTo>
                    <a:pt x="386" y="266"/>
                  </a:moveTo>
                  <a:cubicBezTo>
                    <a:pt x="386" y="266"/>
                    <a:pt x="386" y="266"/>
                    <a:pt x="386" y="266"/>
                  </a:cubicBezTo>
                  <a:cubicBezTo>
                    <a:pt x="386" y="266"/>
                    <a:pt x="386" y="266"/>
                    <a:pt x="386" y="266"/>
                  </a:cubicBezTo>
                  <a:moveTo>
                    <a:pt x="385" y="266"/>
                  </a:moveTo>
                  <a:cubicBezTo>
                    <a:pt x="385" y="266"/>
                    <a:pt x="385" y="266"/>
                    <a:pt x="386" y="266"/>
                  </a:cubicBezTo>
                  <a:cubicBezTo>
                    <a:pt x="385" y="266"/>
                    <a:pt x="385" y="266"/>
                    <a:pt x="385" y="266"/>
                  </a:cubicBezTo>
                  <a:moveTo>
                    <a:pt x="384" y="266"/>
                  </a:moveTo>
                  <a:cubicBezTo>
                    <a:pt x="384" y="266"/>
                    <a:pt x="385" y="266"/>
                    <a:pt x="385" y="266"/>
                  </a:cubicBezTo>
                  <a:cubicBezTo>
                    <a:pt x="385" y="266"/>
                    <a:pt x="385" y="266"/>
                    <a:pt x="384" y="266"/>
                  </a:cubicBezTo>
                  <a:moveTo>
                    <a:pt x="384" y="266"/>
                  </a:moveTo>
                  <a:cubicBezTo>
                    <a:pt x="384" y="266"/>
                    <a:pt x="384" y="266"/>
                    <a:pt x="384" y="266"/>
                  </a:cubicBezTo>
                  <a:cubicBezTo>
                    <a:pt x="384" y="266"/>
                    <a:pt x="384" y="266"/>
                    <a:pt x="384" y="266"/>
                  </a:cubicBezTo>
                  <a:moveTo>
                    <a:pt x="383" y="266"/>
                  </a:moveTo>
                  <a:cubicBezTo>
                    <a:pt x="384" y="266"/>
                    <a:pt x="384" y="266"/>
                    <a:pt x="384" y="266"/>
                  </a:cubicBezTo>
                  <a:cubicBezTo>
                    <a:pt x="384" y="266"/>
                    <a:pt x="384" y="266"/>
                    <a:pt x="383" y="266"/>
                  </a:cubicBezTo>
                  <a:moveTo>
                    <a:pt x="383" y="265"/>
                  </a:moveTo>
                  <a:cubicBezTo>
                    <a:pt x="383" y="265"/>
                    <a:pt x="383" y="266"/>
                    <a:pt x="383" y="266"/>
                  </a:cubicBezTo>
                  <a:cubicBezTo>
                    <a:pt x="383" y="266"/>
                    <a:pt x="383" y="265"/>
                    <a:pt x="383" y="265"/>
                  </a:cubicBezTo>
                  <a:moveTo>
                    <a:pt x="383" y="265"/>
                  </a:moveTo>
                  <a:cubicBezTo>
                    <a:pt x="383" y="265"/>
                    <a:pt x="383" y="265"/>
                    <a:pt x="383" y="265"/>
                  </a:cubicBezTo>
                  <a:cubicBezTo>
                    <a:pt x="383" y="265"/>
                    <a:pt x="383" y="265"/>
                    <a:pt x="383" y="265"/>
                  </a:cubicBezTo>
                  <a:moveTo>
                    <a:pt x="382" y="265"/>
                  </a:moveTo>
                  <a:cubicBezTo>
                    <a:pt x="382" y="265"/>
                    <a:pt x="382" y="265"/>
                    <a:pt x="382" y="265"/>
                  </a:cubicBezTo>
                  <a:cubicBezTo>
                    <a:pt x="382" y="265"/>
                    <a:pt x="382" y="265"/>
                    <a:pt x="382" y="265"/>
                  </a:cubicBezTo>
                  <a:moveTo>
                    <a:pt x="382" y="265"/>
                  </a:moveTo>
                  <a:cubicBezTo>
                    <a:pt x="382" y="265"/>
                    <a:pt x="382" y="265"/>
                    <a:pt x="382" y="265"/>
                  </a:cubicBezTo>
                  <a:cubicBezTo>
                    <a:pt x="382" y="265"/>
                    <a:pt x="382" y="265"/>
                    <a:pt x="382" y="265"/>
                  </a:cubicBezTo>
                  <a:moveTo>
                    <a:pt x="381" y="265"/>
                  </a:moveTo>
                  <a:cubicBezTo>
                    <a:pt x="381" y="265"/>
                    <a:pt x="381" y="265"/>
                    <a:pt x="381" y="265"/>
                  </a:cubicBezTo>
                  <a:cubicBezTo>
                    <a:pt x="381" y="265"/>
                    <a:pt x="381" y="265"/>
                    <a:pt x="381" y="265"/>
                  </a:cubicBezTo>
                  <a:moveTo>
                    <a:pt x="380" y="265"/>
                  </a:moveTo>
                  <a:cubicBezTo>
                    <a:pt x="380" y="265"/>
                    <a:pt x="380" y="265"/>
                    <a:pt x="380" y="265"/>
                  </a:cubicBezTo>
                  <a:cubicBezTo>
                    <a:pt x="380" y="265"/>
                    <a:pt x="380" y="265"/>
                    <a:pt x="380" y="265"/>
                  </a:cubicBezTo>
                  <a:moveTo>
                    <a:pt x="380" y="264"/>
                  </a:moveTo>
                  <a:cubicBezTo>
                    <a:pt x="380" y="264"/>
                    <a:pt x="380" y="264"/>
                    <a:pt x="380" y="264"/>
                  </a:cubicBezTo>
                  <a:cubicBezTo>
                    <a:pt x="380" y="264"/>
                    <a:pt x="380" y="264"/>
                    <a:pt x="380" y="264"/>
                  </a:cubicBezTo>
                  <a:moveTo>
                    <a:pt x="686" y="262"/>
                  </a:moveTo>
                  <a:cubicBezTo>
                    <a:pt x="686" y="262"/>
                    <a:pt x="686" y="262"/>
                    <a:pt x="686" y="262"/>
                  </a:cubicBezTo>
                  <a:cubicBezTo>
                    <a:pt x="686" y="262"/>
                    <a:pt x="686" y="262"/>
                    <a:pt x="686" y="262"/>
                  </a:cubicBezTo>
                  <a:cubicBezTo>
                    <a:pt x="686" y="262"/>
                    <a:pt x="686" y="262"/>
                    <a:pt x="686" y="262"/>
                  </a:cubicBezTo>
                  <a:moveTo>
                    <a:pt x="687" y="262"/>
                  </a:moveTo>
                  <a:cubicBezTo>
                    <a:pt x="687" y="262"/>
                    <a:pt x="687" y="262"/>
                    <a:pt x="687" y="262"/>
                  </a:cubicBezTo>
                  <a:cubicBezTo>
                    <a:pt x="687" y="262"/>
                    <a:pt x="687" y="262"/>
                    <a:pt x="687" y="262"/>
                  </a:cubicBezTo>
                  <a:cubicBezTo>
                    <a:pt x="687" y="262"/>
                    <a:pt x="687" y="262"/>
                    <a:pt x="687" y="262"/>
                  </a:cubicBezTo>
                  <a:moveTo>
                    <a:pt x="688" y="261"/>
                  </a:moveTo>
                  <a:cubicBezTo>
                    <a:pt x="688" y="262"/>
                    <a:pt x="687" y="262"/>
                    <a:pt x="687" y="262"/>
                  </a:cubicBezTo>
                  <a:cubicBezTo>
                    <a:pt x="687" y="262"/>
                    <a:pt x="687" y="262"/>
                    <a:pt x="687" y="262"/>
                  </a:cubicBezTo>
                  <a:cubicBezTo>
                    <a:pt x="687" y="262"/>
                    <a:pt x="687" y="262"/>
                    <a:pt x="688" y="261"/>
                  </a:cubicBezTo>
                  <a:moveTo>
                    <a:pt x="688" y="261"/>
                  </a:moveTo>
                  <a:cubicBezTo>
                    <a:pt x="688" y="261"/>
                    <a:pt x="688" y="261"/>
                    <a:pt x="688" y="261"/>
                  </a:cubicBezTo>
                  <a:cubicBezTo>
                    <a:pt x="688" y="261"/>
                    <a:pt x="688" y="261"/>
                    <a:pt x="688" y="261"/>
                  </a:cubicBezTo>
                  <a:cubicBezTo>
                    <a:pt x="688" y="261"/>
                    <a:pt x="688" y="261"/>
                    <a:pt x="688" y="261"/>
                  </a:cubicBezTo>
                  <a:cubicBezTo>
                    <a:pt x="688" y="261"/>
                    <a:pt x="688" y="261"/>
                    <a:pt x="688" y="261"/>
                  </a:cubicBezTo>
                  <a:cubicBezTo>
                    <a:pt x="688" y="261"/>
                    <a:pt x="688" y="261"/>
                    <a:pt x="688" y="261"/>
                  </a:cubicBezTo>
                  <a:moveTo>
                    <a:pt x="689" y="261"/>
                  </a:move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8" y="261"/>
                  </a:cubicBezTo>
                  <a:cubicBezTo>
                    <a:pt x="689" y="261"/>
                    <a:pt x="689" y="261"/>
                    <a:pt x="689" y="261"/>
                  </a:cubicBezTo>
                  <a:moveTo>
                    <a:pt x="689" y="261"/>
                  </a:move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moveTo>
                    <a:pt x="689" y="261"/>
                  </a:move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moveTo>
                    <a:pt x="690" y="261"/>
                  </a:moveTo>
                  <a:cubicBezTo>
                    <a:pt x="690" y="261"/>
                    <a:pt x="690" y="261"/>
                    <a:pt x="690" y="261"/>
                  </a:cubicBezTo>
                  <a:cubicBezTo>
                    <a:pt x="690" y="261"/>
                    <a:pt x="690" y="261"/>
                    <a:pt x="690" y="261"/>
                  </a:cubicBezTo>
                  <a:cubicBezTo>
                    <a:pt x="690" y="261"/>
                    <a:pt x="690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cubicBezTo>
                    <a:pt x="690" y="261"/>
                    <a:pt x="690" y="261"/>
                    <a:pt x="690" y="261"/>
                  </a:cubicBezTo>
                  <a:moveTo>
                    <a:pt x="691" y="260"/>
                  </a:moveTo>
                  <a:cubicBezTo>
                    <a:pt x="691" y="260"/>
                    <a:pt x="691" y="260"/>
                    <a:pt x="691" y="260"/>
                  </a:cubicBezTo>
                  <a:cubicBezTo>
                    <a:pt x="691" y="260"/>
                    <a:pt x="691" y="260"/>
                    <a:pt x="690" y="260"/>
                  </a:cubicBezTo>
                  <a:cubicBezTo>
                    <a:pt x="690" y="260"/>
                    <a:pt x="690" y="260"/>
                    <a:pt x="690" y="260"/>
                  </a:cubicBezTo>
                  <a:cubicBezTo>
                    <a:pt x="690" y="260"/>
                    <a:pt x="691" y="260"/>
                    <a:pt x="691" y="260"/>
                  </a:cubicBezTo>
                  <a:moveTo>
                    <a:pt x="692" y="260"/>
                  </a:moveTo>
                  <a:cubicBezTo>
                    <a:pt x="692" y="260"/>
                    <a:pt x="692" y="260"/>
                    <a:pt x="692" y="260"/>
                  </a:cubicBezTo>
                  <a:cubicBezTo>
                    <a:pt x="692" y="260"/>
                    <a:pt x="692" y="260"/>
                    <a:pt x="692" y="260"/>
                  </a:cubicBezTo>
                  <a:cubicBezTo>
                    <a:pt x="692" y="260"/>
                    <a:pt x="691" y="260"/>
                    <a:pt x="691" y="260"/>
                  </a:cubicBezTo>
                  <a:cubicBezTo>
                    <a:pt x="691" y="260"/>
                    <a:pt x="691" y="260"/>
                    <a:pt x="691" y="260"/>
                  </a:cubicBezTo>
                  <a:cubicBezTo>
                    <a:pt x="691" y="260"/>
                    <a:pt x="691" y="260"/>
                    <a:pt x="691" y="260"/>
                  </a:cubicBezTo>
                  <a:cubicBezTo>
                    <a:pt x="691" y="260"/>
                    <a:pt x="692" y="260"/>
                    <a:pt x="692" y="260"/>
                  </a:cubicBezTo>
                  <a:moveTo>
                    <a:pt x="693" y="260"/>
                  </a:moveTo>
                  <a:cubicBezTo>
                    <a:pt x="693" y="260"/>
                    <a:pt x="693" y="260"/>
                    <a:pt x="692" y="260"/>
                  </a:cubicBezTo>
                  <a:cubicBezTo>
                    <a:pt x="692" y="260"/>
                    <a:pt x="692" y="260"/>
                    <a:pt x="692" y="260"/>
                  </a:cubicBezTo>
                  <a:cubicBezTo>
                    <a:pt x="692" y="260"/>
                    <a:pt x="692" y="260"/>
                    <a:pt x="692" y="260"/>
                  </a:cubicBezTo>
                  <a:cubicBezTo>
                    <a:pt x="692" y="260"/>
                    <a:pt x="693" y="260"/>
                    <a:pt x="693" y="260"/>
                  </a:cubicBezTo>
                  <a:moveTo>
                    <a:pt x="694" y="259"/>
                  </a:moveTo>
                  <a:cubicBezTo>
                    <a:pt x="694" y="259"/>
                    <a:pt x="694" y="259"/>
                    <a:pt x="694" y="259"/>
                  </a:cubicBezTo>
                  <a:cubicBezTo>
                    <a:pt x="694" y="259"/>
                    <a:pt x="693" y="259"/>
                    <a:pt x="693" y="259"/>
                  </a:cubicBezTo>
                  <a:cubicBezTo>
                    <a:pt x="693" y="259"/>
                    <a:pt x="693" y="259"/>
                    <a:pt x="693" y="259"/>
                  </a:cubicBezTo>
                  <a:cubicBezTo>
                    <a:pt x="693" y="260"/>
                    <a:pt x="693" y="260"/>
                    <a:pt x="693" y="260"/>
                  </a:cubicBezTo>
                  <a:cubicBezTo>
                    <a:pt x="693" y="260"/>
                    <a:pt x="693" y="260"/>
                    <a:pt x="693" y="260"/>
                  </a:cubicBezTo>
                  <a:cubicBezTo>
                    <a:pt x="693" y="259"/>
                    <a:pt x="694" y="259"/>
                    <a:pt x="694" y="259"/>
                  </a:cubicBezTo>
                  <a:moveTo>
                    <a:pt x="695" y="259"/>
                  </a:moveTo>
                  <a:cubicBezTo>
                    <a:pt x="694" y="259"/>
                    <a:pt x="694" y="259"/>
                    <a:pt x="694" y="259"/>
                  </a:cubicBezTo>
                  <a:cubicBezTo>
                    <a:pt x="694" y="259"/>
                    <a:pt x="694" y="259"/>
                    <a:pt x="695" y="259"/>
                  </a:cubicBezTo>
                  <a:moveTo>
                    <a:pt x="696" y="258"/>
                  </a:moveTo>
                  <a:cubicBezTo>
                    <a:pt x="695" y="259"/>
                    <a:pt x="695" y="259"/>
                    <a:pt x="695" y="259"/>
                  </a:cubicBezTo>
                  <a:cubicBezTo>
                    <a:pt x="695" y="259"/>
                    <a:pt x="695" y="259"/>
                    <a:pt x="696" y="258"/>
                  </a:cubicBezTo>
                  <a:moveTo>
                    <a:pt x="696" y="258"/>
                  </a:moveTo>
                  <a:cubicBezTo>
                    <a:pt x="696" y="258"/>
                    <a:pt x="696" y="258"/>
                    <a:pt x="696" y="258"/>
                  </a:cubicBezTo>
                  <a:cubicBezTo>
                    <a:pt x="696" y="258"/>
                    <a:pt x="696" y="258"/>
                    <a:pt x="696" y="258"/>
                  </a:cubicBezTo>
                  <a:moveTo>
                    <a:pt x="697" y="258"/>
                  </a:moveTo>
                  <a:cubicBezTo>
                    <a:pt x="697" y="258"/>
                    <a:pt x="697" y="258"/>
                    <a:pt x="697" y="258"/>
                  </a:cubicBezTo>
                  <a:cubicBezTo>
                    <a:pt x="697" y="258"/>
                    <a:pt x="697" y="258"/>
                    <a:pt x="697" y="258"/>
                  </a:cubicBezTo>
                  <a:moveTo>
                    <a:pt x="698" y="258"/>
                  </a:moveTo>
                  <a:cubicBezTo>
                    <a:pt x="698" y="258"/>
                    <a:pt x="698" y="258"/>
                    <a:pt x="698" y="258"/>
                  </a:cubicBezTo>
                  <a:cubicBezTo>
                    <a:pt x="698" y="258"/>
                    <a:pt x="698" y="258"/>
                    <a:pt x="698" y="258"/>
                  </a:cubicBezTo>
                  <a:cubicBezTo>
                    <a:pt x="697" y="258"/>
                    <a:pt x="697" y="258"/>
                    <a:pt x="697" y="258"/>
                  </a:cubicBezTo>
                  <a:cubicBezTo>
                    <a:pt x="697" y="258"/>
                    <a:pt x="697" y="258"/>
                    <a:pt x="698" y="258"/>
                  </a:cubicBezTo>
                  <a:moveTo>
                    <a:pt x="698" y="257"/>
                  </a:moveTo>
                  <a:cubicBezTo>
                    <a:pt x="698" y="257"/>
                    <a:pt x="698" y="258"/>
                    <a:pt x="698" y="258"/>
                  </a:cubicBezTo>
                  <a:cubicBezTo>
                    <a:pt x="698" y="258"/>
                    <a:pt x="698" y="258"/>
                    <a:pt x="698" y="258"/>
                  </a:cubicBezTo>
                  <a:cubicBezTo>
                    <a:pt x="698" y="258"/>
                    <a:pt x="698" y="258"/>
                    <a:pt x="698" y="258"/>
                  </a:cubicBezTo>
                  <a:cubicBezTo>
                    <a:pt x="698" y="258"/>
                    <a:pt x="698" y="258"/>
                    <a:pt x="698" y="257"/>
                  </a:cubicBezTo>
                  <a:moveTo>
                    <a:pt x="699" y="257"/>
                  </a:move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8" y="257"/>
                    <a:pt x="698" y="257"/>
                  </a:cubicBezTo>
                  <a:cubicBezTo>
                    <a:pt x="699" y="257"/>
                    <a:pt x="699" y="257"/>
                    <a:pt x="699" y="257"/>
                  </a:cubicBezTo>
                  <a:moveTo>
                    <a:pt x="700" y="257"/>
                  </a:move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9" y="257"/>
                    <a:pt x="700" y="257"/>
                  </a:cubicBezTo>
                  <a:moveTo>
                    <a:pt x="700" y="257"/>
                  </a:moveTo>
                  <a:cubicBezTo>
                    <a:pt x="700" y="257"/>
                    <a:pt x="700" y="257"/>
                    <a:pt x="700" y="257"/>
                  </a:cubicBezTo>
                  <a:cubicBezTo>
                    <a:pt x="700" y="257"/>
                    <a:pt x="700" y="257"/>
                    <a:pt x="700" y="257"/>
                  </a:cubicBezTo>
                  <a:cubicBezTo>
                    <a:pt x="700" y="257"/>
                    <a:pt x="700" y="257"/>
                    <a:pt x="700" y="257"/>
                  </a:cubicBezTo>
                  <a:cubicBezTo>
                    <a:pt x="700" y="257"/>
                    <a:pt x="700" y="257"/>
                    <a:pt x="700" y="257"/>
                  </a:cubicBezTo>
                  <a:moveTo>
                    <a:pt x="701" y="257"/>
                  </a:moveTo>
                  <a:cubicBezTo>
                    <a:pt x="701" y="257"/>
                    <a:pt x="700" y="257"/>
                    <a:pt x="700" y="257"/>
                  </a:cubicBezTo>
                  <a:cubicBezTo>
                    <a:pt x="700" y="257"/>
                    <a:pt x="701" y="257"/>
                    <a:pt x="701" y="257"/>
                  </a:cubicBezTo>
                  <a:moveTo>
                    <a:pt x="701" y="256"/>
                  </a:moveTo>
                  <a:cubicBezTo>
                    <a:pt x="701" y="256"/>
                    <a:pt x="701" y="256"/>
                    <a:pt x="701" y="256"/>
                  </a:cubicBezTo>
                  <a:cubicBezTo>
                    <a:pt x="701" y="256"/>
                    <a:pt x="701" y="256"/>
                    <a:pt x="701" y="256"/>
                  </a:cubicBezTo>
                  <a:moveTo>
                    <a:pt x="702" y="256"/>
                  </a:moveTo>
                  <a:cubicBezTo>
                    <a:pt x="702" y="256"/>
                    <a:pt x="702" y="256"/>
                    <a:pt x="702" y="256"/>
                  </a:cubicBezTo>
                  <a:cubicBezTo>
                    <a:pt x="702" y="256"/>
                    <a:pt x="702" y="256"/>
                    <a:pt x="702" y="256"/>
                  </a:cubicBezTo>
                  <a:moveTo>
                    <a:pt x="703" y="256"/>
                  </a:moveTo>
                  <a:cubicBezTo>
                    <a:pt x="702" y="256"/>
                    <a:pt x="702" y="256"/>
                    <a:pt x="702" y="256"/>
                  </a:cubicBezTo>
                  <a:cubicBezTo>
                    <a:pt x="702" y="256"/>
                    <a:pt x="702" y="256"/>
                    <a:pt x="703" y="256"/>
                  </a:cubicBezTo>
                  <a:moveTo>
                    <a:pt x="703" y="256"/>
                  </a:moveTo>
                  <a:cubicBezTo>
                    <a:pt x="703" y="256"/>
                    <a:pt x="703" y="256"/>
                    <a:pt x="703" y="256"/>
                  </a:cubicBezTo>
                  <a:cubicBezTo>
                    <a:pt x="703" y="256"/>
                    <a:pt x="703" y="256"/>
                    <a:pt x="703" y="256"/>
                  </a:cubicBezTo>
                  <a:moveTo>
                    <a:pt x="704" y="255"/>
                  </a:moveTo>
                  <a:cubicBezTo>
                    <a:pt x="704" y="255"/>
                    <a:pt x="704" y="255"/>
                    <a:pt x="703" y="255"/>
                  </a:cubicBezTo>
                  <a:cubicBezTo>
                    <a:pt x="704" y="255"/>
                    <a:pt x="704" y="255"/>
                    <a:pt x="704" y="255"/>
                  </a:cubicBezTo>
                  <a:moveTo>
                    <a:pt x="704" y="255"/>
                  </a:moveTo>
                  <a:cubicBezTo>
                    <a:pt x="704" y="255"/>
                    <a:pt x="704" y="255"/>
                    <a:pt x="704" y="255"/>
                  </a:cubicBezTo>
                  <a:cubicBezTo>
                    <a:pt x="704" y="255"/>
                    <a:pt x="704" y="255"/>
                    <a:pt x="704" y="255"/>
                  </a:cubicBezTo>
                  <a:moveTo>
                    <a:pt x="705" y="255"/>
                  </a:moveTo>
                  <a:cubicBezTo>
                    <a:pt x="705" y="255"/>
                    <a:pt x="705" y="255"/>
                    <a:pt x="705" y="255"/>
                  </a:cubicBezTo>
                  <a:cubicBezTo>
                    <a:pt x="705" y="255"/>
                    <a:pt x="705" y="255"/>
                    <a:pt x="705" y="255"/>
                  </a:cubicBezTo>
                  <a:moveTo>
                    <a:pt x="705" y="255"/>
                  </a:moveTo>
                  <a:cubicBezTo>
                    <a:pt x="705" y="255"/>
                    <a:pt x="705" y="255"/>
                    <a:pt x="705" y="255"/>
                  </a:cubicBezTo>
                  <a:cubicBezTo>
                    <a:pt x="705" y="255"/>
                    <a:pt x="705" y="255"/>
                    <a:pt x="705" y="255"/>
                  </a:cubicBezTo>
                  <a:moveTo>
                    <a:pt x="706" y="254"/>
                  </a:moveTo>
                  <a:cubicBezTo>
                    <a:pt x="706" y="254"/>
                    <a:pt x="706" y="254"/>
                    <a:pt x="706" y="254"/>
                  </a:cubicBezTo>
                  <a:cubicBezTo>
                    <a:pt x="706" y="254"/>
                    <a:pt x="706" y="254"/>
                    <a:pt x="706" y="254"/>
                  </a:cubicBezTo>
                  <a:moveTo>
                    <a:pt x="707" y="254"/>
                  </a:moveTo>
                  <a:cubicBezTo>
                    <a:pt x="707" y="254"/>
                    <a:pt x="707" y="254"/>
                    <a:pt x="707" y="254"/>
                  </a:cubicBezTo>
                  <a:cubicBezTo>
                    <a:pt x="707" y="254"/>
                    <a:pt x="707" y="254"/>
                    <a:pt x="707" y="254"/>
                  </a:cubicBezTo>
                  <a:moveTo>
                    <a:pt x="707" y="254"/>
                  </a:moveTo>
                  <a:cubicBezTo>
                    <a:pt x="707" y="254"/>
                    <a:pt x="707" y="254"/>
                    <a:pt x="707" y="254"/>
                  </a:cubicBezTo>
                  <a:cubicBezTo>
                    <a:pt x="707" y="254"/>
                    <a:pt x="707" y="254"/>
                    <a:pt x="707" y="254"/>
                  </a:cubicBezTo>
                  <a:moveTo>
                    <a:pt x="126" y="189"/>
                  </a:moveTo>
                  <a:cubicBezTo>
                    <a:pt x="126" y="189"/>
                    <a:pt x="126" y="189"/>
                    <a:pt x="126" y="189"/>
                  </a:cubicBezTo>
                  <a:cubicBezTo>
                    <a:pt x="126" y="189"/>
                    <a:pt x="126" y="189"/>
                    <a:pt x="126" y="189"/>
                  </a:cubicBezTo>
                  <a:moveTo>
                    <a:pt x="126" y="189"/>
                  </a:moveTo>
                  <a:cubicBezTo>
                    <a:pt x="126" y="189"/>
                    <a:pt x="126" y="189"/>
                    <a:pt x="126" y="189"/>
                  </a:cubicBezTo>
                  <a:cubicBezTo>
                    <a:pt x="126" y="189"/>
                    <a:pt x="126" y="189"/>
                    <a:pt x="126" y="189"/>
                  </a:cubicBezTo>
                  <a:moveTo>
                    <a:pt x="125" y="188"/>
                  </a:moveTo>
                  <a:cubicBezTo>
                    <a:pt x="125" y="188"/>
                    <a:pt x="125" y="188"/>
                    <a:pt x="125" y="188"/>
                  </a:cubicBezTo>
                  <a:cubicBezTo>
                    <a:pt x="125" y="188"/>
                    <a:pt x="125" y="188"/>
                    <a:pt x="125" y="188"/>
                  </a:cubicBezTo>
                  <a:moveTo>
                    <a:pt x="125" y="188"/>
                  </a:moveTo>
                  <a:cubicBezTo>
                    <a:pt x="125" y="188"/>
                    <a:pt x="125" y="188"/>
                    <a:pt x="125" y="188"/>
                  </a:cubicBezTo>
                  <a:cubicBezTo>
                    <a:pt x="125" y="188"/>
                    <a:pt x="125" y="188"/>
                    <a:pt x="125" y="188"/>
                  </a:cubicBezTo>
                  <a:moveTo>
                    <a:pt x="125" y="188"/>
                  </a:moveTo>
                  <a:cubicBezTo>
                    <a:pt x="125" y="188"/>
                    <a:pt x="125" y="188"/>
                    <a:pt x="125" y="188"/>
                  </a:cubicBezTo>
                  <a:cubicBezTo>
                    <a:pt x="125" y="188"/>
                    <a:pt x="125" y="188"/>
                    <a:pt x="125" y="188"/>
                  </a:cubicBezTo>
                  <a:moveTo>
                    <a:pt x="124" y="187"/>
                  </a:moveTo>
                  <a:cubicBezTo>
                    <a:pt x="124" y="187"/>
                    <a:pt x="124" y="187"/>
                    <a:pt x="124" y="187"/>
                  </a:cubicBezTo>
                  <a:cubicBezTo>
                    <a:pt x="124" y="187"/>
                    <a:pt x="124" y="187"/>
                    <a:pt x="124" y="187"/>
                  </a:cubicBezTo>
                  <a:moveTo>
                    <a:pt x="124" y="187"/>
                  </a:moveTo>
                  <a:cubicBezTo>
                    <a:pt x="124" y="187"/>
                    <a:pt x="124" y="187"/>
                    <a:pt x="124" y="187"/>
                  </a:cubicBezTo>
                  <a:cubicBezTo>
                    <a:pt x="124" y="187"/>
                    <a:pt x="124" y="187"/>
                    <a:pt x="124" y="187"/>
                  </a:cubicBezTo>
                  <a:moveTo>
                    <a:pt x="123" y="187"/>
                  </a:move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3" y="187"/>
                    <a:pt x="123" y="187"/>
                  </a:cubicBezTo>
                  <a:moveTo>
                    <a:pt x="895" y="85"/>
                  </a:moveTo>
                  <a:cubicBezTo>
                    <a:pt x="890" y="92"/>
                    <a:pt x="885" y="99"/>
                    <a:pt x="880" y="106"/>
                  </a:cubicBezTo>
                  <a:cubicBezTo>
                    <a:pt x="885" y="99"/>
                    <a:pt x="890" y="92"/>
                    <a:pt x="895" y="85"/>
                  </a:cubicBezTo>
                  <a:cubicBezTo>
                    <a:pt x="895" y="85"/>
                    <a:pt x="895" y="85"/>
                    <a:pt x="895" y="85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0" y="56"/>
                    <a:pt x="71" y="107"/>
                    <a:pt x="123" y="151"/>
                  </a:cubicBezTo>
                  <a:cubicBezTo>
                    <a:pt x="198" y="214"/>
                    <a:pt x="286" y="252"/>
                    <a:pt x="376" y="267"/>
                  </a:cubicBezTo>
                  <a:cubicBezTo>
                    <a:pt x="376" y="267"/>
                    <a:pt x="376" y="267"/>
                    <a:pt x="376" y="267"/>
                  </a:cubicBezTo>
                  <a:cubicBezTo>
                    <a:pt x="286" y="252"/>
                    <a:pt x="198" y="214"/>
                    <a:pt x="123" y="151"/>
                  </a:cubicBezTo>
                  <a:cubicBezTo>
                    <a:pt x="71" y="107"/>
                    <a:pt x="30" y="56"/>
                    <a:pt x="0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iṣ1idè">
              <a:extLst>
                <a:ext uri="{FF2B5EF4-FFF2-40B4-BE49-F238E27FC236}">
                  <a16:creationId xmlns:a16="http://schemas.microsoft.com/office/drawing/2014/main" id="{0BB81236-AEB8-41E0-9B3B-59C575D5A364}"/>
                </a:ext>
              </a:extLst>
            </p:cNvPr>
            <p:cNvSpPr/>
            <p:nvPr/>
          </p:nvSpPr>
          <p:spPr bwMode="auto">
            <a:xfrm>
              <a:off x="3760622" y="1987311"/>
              <a:ext cx="4695121" cy="4139601"/>
            </a:xfrm>
            <a:custGeom>
              <a:avLst/>
              <a:gdLst>
                <a:gd name="T0" fmla="*/ 702 w 926"/>
                <a:gd name="T1" fmla="*/ 767 h 817"/>
                <a:gd name="T2" fmla="*/ 703 w 926"/>
                <a:gd name="T3" fmla="*/ 766 h 817"/>
                <a:gd name="T4" fmla="*/ 703 w 926"/>
                <a:gd name="T5" fmla="*/ 766 h 817"/>
                <a:gd name="T6" fmla="*/ 704 w 926"/>
                <a:gd name="T7" fmla="*/ 766 h 817"/>
                <a:gd name="T8" fmla="*/ 705 w 926"/>
                <a:gd name="T9" fmla="*/ 765 h 817"/>
                <a:gd name="T10" fmla="*/ 706 w 926"/>
                <a:gd name="T11" fmla="*/ 765 h 817"/>
                <a:gd name="T12" fmla="*/ 707 w 926"/>
                <a:gd name="T13" fmla="*/ 765 h 817"/>
                <a:gd name="T14" fmla="*/ 707 w 926"/>
                <a:gd name="T15" fmla="*/ 765 h 817"/>
                <a:gd name="T16" fmla="*/ 708 w 926"/>
                <a:gd name="T17" fmla="*/ 765 h 817"/>
                <a:gd name="T18" fmla="*/ 708 w 926"/>
                <a:gd name="T19" fmla="*/ 764 h 817"/>
                <a:gd name="T20" fmla="*/ 710 w 926"/>
                <a:gd name="T21" fmla="*/ 764 h 817"/>
                <a:gd name="T22" fmla="*/ 712 w 926"/>
                <a:gd name="T23" fmla="*/ 763 h 817"/>
                <a:gd name="T24" fmla="*/ 713 w 926"/>
                <a:gd name="T25" fmla="*/ 763 h 817"/>
                <a:gd name="T26" fmla="*/ 713 w 926"/>
                <a:gd name="T27" fmla="*/ 763 h 817"/>
                <a:gd name="T28" fmla="*/ 714 w 926"/>
                <a:gd name="T29" fmla="*/ 762 h 817"/>
                <a:gd name="T30" fmla="*/ 714 w 926"/>
                <a:gd name="T31" fmla="*/ 762 h 817"/>
                <a:gd name="T32" fmla="*/ 715 w 926"/>
                <a:gd name="T33" fmla="*/ 762 h 817"/>
                <a:gd name="T34" fmla="*/ 716 w 926"/>
                <a:gd name="T35" fmla="*/ 761 h 817"/>
                <a:gd name="T36" fmla="*/ 718 w 926"/>
                <a:gd name="T37" fmla="*/ 761 h 817"/>
                <a:gd name="T38" fmla="*/ 719 w 926"/>
                <a:gd name="T39" fmla="*/ 760 h 817"/>
                <a:gd name="T40" fmla="*/ 721 w 926"/>
                <a:gd name="T41" fmla="*/ 759 h 817"/>
                <a:gd name="T42" fmla="*/ 722 w 926"/>
                <a:gd name="T43" fmla="*/ 759 h 817"/>
                <a:gd name="T44" fmla="*/ 725 w 926"/>
                <a:gd name="T45" fmla="*/ 758 h 817"/>
                <a:gd name="T46" fmla="*/ 726 w 926"/>
                <a:gd name="T47" fmla="*/ 757 h 817"/>
                <a:gd name="T48" fmla="*/ 727 w 926"/>
                <a:gd name="T49" fmla="*/ 757 h 817"/>
                <a:gd name="T50" fmla="*/ 729 w 926"/>
                <a:gd name="T51" fmla="*/ 756 h 817"/>
                <a:gd name="T52" fmla="*/ 729 w 926"/>
                <a:gd name="T53" fmla="*/ 756 h 817"/>
                <a:gd name="T54" fmla="*/ 730 w 926"/>
                <a:gd name="T55" fmla="*/ 756 h 817"/>
                <a:gd name="T56" fmla="*/ 731 w 926"/>
                <a:gd name="T57" fmla="*/ 755 h 817"/>
                <a:gd name="T58" fmla="*/ 732 w 926"/>
                <a:gd name="T59" fmla="*/ 755 h 817"/>
                <a:gd name="T60" fmla="*/ 139 w 926"/>
                <a:gd name="T61" fmla="*/ 692 h 817"/>
                <a:gd name="T62" fmla="*/ 140 w 926"/>
                <a:gd name="T63" fmla="*/ 693 h 817"/>
                <a:gd name="T64" fmla="*/ 141 w 926"/>
                <a:gd name="T65" fmla="*/ 694 h 817"/>
                <a:gd name="T66" fmla="*/ 478 w 926"/>
                <a:gd name="T67" fmla="*/ 817 h 817"/>
                <a:gd name="T68" fmla="*/ 478 w 926"/>
                <a:gd name="T69" fmla="*/ 817 h 817"/>
                <a:gd name="T70" fmla="*/ 194 w 926"/>
                <a:gd name="T71" fmla="*/ 505 h 817"/>
                <a:gd name="T72" fmla="*/ 395 w 926"/>
                <a:gd name="T73" fmla="*/ 770 h 817"/>
                <a:gd name="T74" fmla="*/ 397 w 926"/>
                <a:gd name="T75" fmla="*/ 770 h 817"/>
                <a:gd name="T76" fmla="*/ 398 w 926"/>
                <a:gd name="T77" fmla="*/ 771 h 817"/>
                <a:gd name="T78" fmla="*/ 399 w 926"/>
                <a:gd name="T79" fmla="*/ 771 h 817"/>
                <a:gd name="T80" fmla="*/ 401 w 926"/>
                <a:gd name="T81" fmla="*/ 771 h 817"/>
                <a:gd name="T82" fmla="*/ 402 w 926"/>
                <a:gd name="T83" fmla="*/ 772 h 817"/>
                <a:gd name="T84" fmla="*/ 404 w 926"/>
                <a:gd name="T85" fmla="*/ 772 h 817"/>
                <a:gd name="T86" fmla="*/ 406 w 926"/>
                <a:gd name="T87" fmla="*/ 773 h 817"/>
                <a:gd name="T88" fmla="*/ 408 w 926"/>
                <a:gd name="T89" fmla="*/ 774 h 817"/>
                <a:gd name="T90" fmla="*/ 410 w 926"/>
                <a:gd name="T91" fmla="*/ 774 h 817"/>
                <a:gd name="T92" fmla="*/ 411 w 926"/>
                <a:gd name="T93" fmla="*/ 775 h 817"/>
                <a:gd name="T94" fmla="*/ 194 w 926"/>
                <a:gd name="T95" fmla="*/ 505 h 817"/>
                <a:gd name="T96" fmla="*/ 587 w 926"/>
                <a:gd name="T97" fmla="*/ 102 h 817"/>
                <a:gd name="T98" fmla="*/ 588 w 926"/>
                <a:gd name="T99" fmla="*/ 110 h 817"/>
                <a:gd name="T100" fmla="*/ 590 w 926"/>
                <a:gd name="T101" fmla="*/ 116 h 817"/>
                <a:gd name="T102" fmla="*/ 592 w 926"/>
                <a:gd name="T103" fmla="*/ 122 h 817"/>
                <a:gd name="T104" fmla="*/ 594 w 926"/>
                <a:gd name="T105" fmla="*/ 125 h 817"/>
                <a:gd name="T106" fmla="*/ 596 w 926"/>
                <a:gd name="T107" fmla="*/ 128 h 817"/>
                <a:gd name="T108" fmla="*/ 596 w 926"/>
                <a:gd name="T109" fmla="*/ 129 h 817"/>
                <a:gd name="T110" fmla="*/ 926 w 926"/>
                <a:gd name="T111" fmla="*/ 206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26" h="817">
                  <a:moveTo>
                    <a:pt x="702" y="767"/>
                  </a:moveTo>
                  <a:cubicBezTo>
                    <a:pt x="702" y="767"/>
                    <a:pt x="702" y="767"/>
                    <a:pt x="702" y="767"/>
                  </a:cubicBezTo>
                  <a:cubicBezTo>
                    <a:pt x="702" y="767"/>
                    <a:pt x="702" y="767"/>
                    <a:pt x="702" y="767"/>
                  </a:cubicBezTo>
                  <a:cubicBezTo>
                    <a:pt x="702" y="767"/>
                    <a:pt x="702" y="767"/>
                    <a:pt x="702" y="767"/>
                  </a:cubicBezTo>
                  <a:moveTo>
                    <a:pt x="702" y="767"/>
                  </a:moveTo>
                  <a:cubicBezTo>
                    <a:pt x="702" y="767"/>
                    <a:pt x="702" y="767"/>
                    <a:pt x="702" y="767"/>
                  </a:cubicBezTo>
                  <a:cubicBezTo>
                    <a:pt x="702" y="767"/>
                    <a:pt x="702" y="767"/>
                    <a:pt x="702" y="767"/>
                  </a:cubicBezTo>
                  <a:cubicBezTo>
                    <a:pt x="702" y="767"/>
                    <a:pt x="702" y="767"/>
                    <a:pt x="702" y="767"/>
                  </a:cubicBezTo>
                  <a:moveTo>
                    <a:pt x="703" y="766"/>
                  </a:moveTo>
                  <a:cubicBezTo>
                    <a:pt x="703" y="766"/>
                    <a:pt x="703" y="766"/>
                    <a:pt x="703" y="766"/>
                  </a:cubicBezTo>
                  <a:cubicBezTo>
                    <a:pt x="703" y="766"/>
                    <a:pt x="703" y="766"/>
                    <a:pt x="703" y="766"/>
                  </a:cubicBezTo>
                  <a:moveTo>
                    <a:pt x="704" y="766"/>
                  </a:moveTo>
                  <a:cubicBezTo>
                    <a:pt x="704" y="766"/>
                    <a:pt x="703" y="766"/>
                    <a:pt x="703" y="766"/>
                  </a:cubicBezTo>
                  <a:cubicBezTo>
                    <a:pt x="703" y="766"/>
                    <a:pt x="703" y="766"/>
                    <a:pt x="703" y="766"/>
                  </a:cubicBezTo>
                  <a:cubicBezTo>
                    <a:pt x="703" y="766"/>
                    <a:pt x="703" y="766"/>
                    <a:pt x="703" y="766"/>
                  </a:cubicBezTo>
                  <a:cubicBezTo>
                    <a:pt x="704" y="766"/>
                    <a:pt x="704" y="766"/>
                    <a:pt x="704" y="766"/>
                  </a:cubicBezTo>
                  <a:moveTo>
                    <a:pt x="704" y="766"/>
                  </a:moveTo>
                  <a:cubicBezTo>
                    <a:pt x="704" y="766"/>
                    <a:pt x="704" y="766"/>
                    <a:pt x="704" y="766"/>
                  </a:cubicBezTo>
                  <a:cubicBezTo>
                    <a:pt x="704" y="766"/>
                    <a:pt x="704" y="766"/>
                    <a:pt x="704" y="766"/>
                  </a:cubicBezTo>
                  <a:cubicBezTo>
                    <a:pt x="704" y="766"/>
                    <a:pt x="704" y="766"/>
                    <a:pt x="704" y="766"/>
                  </a:cubicBezTo>
                  <a:cubicBezTo>
                    <a:pt x="704" y="766"/>
                    <a:pt x="704" y="766"/>
                    <a:pt x="704" y="766"/>
                  </a:cubicBezTo>
                  <a:moveTo>
                    <a:pt x="705" y="766"/>
                  </a:moveTo>
                  <a:cubicBezTo>
                    <a:pt x="705" y="766"/>
                    <a:pt x="705" y="766"/>
                    <a:pt x="704" y="766"/>
                  </a:cubicBezTo>
                  <a:cubicBezTo>
                    <a:pt x="705" y="766"/>
                    <a:pt x="705" y="766"/>
                    <a:pt x="705" y="766"/>
                  </a:cubicBezTo>
                  <a:moveTo>
                    <a:pt x="705" y="765"/>
                  </a:moveTo>
                  <a:cubicBezTo>
                    <a:pt x="705" y="765"/>
                    <a:pt x="705" y="766"/>
                    <a:pt x="705" y="766"/>
                  </a:cubicBezTo>
                  <a:cubicBezTo>
                    <a:pt x="705" y="766"/>
                    <a:pt x="705" y="766"/>
                    <a:pt x="705" y="766"/>
                  </a:cubicBezTo>
                  <a:cubicBezTo>
                    <a:pt x="705" y="766"/>
                    <a:pt x="705" y="765"/>
                    <a:pt x="705" y="765"/>
                  </a:cubicBezTo>
                  <a:cubicBezTo>
                    <a:pt x="705" y="765"/>
                    <a:pt x="705" y="765"/>
                    <a:pt x="705" y="765"/>
                  </a:cubicBezTo>
                  <a:moveTo>
                    <a:pt x="706" y="765"/>
                  </a:moveTo>
                  <a:cubicBezTo>
                    <a:pt x="706" y="765"/>
                    <a:pt x="706" y="765"/>
                    <a:pt x="706" y="765"/>
                  </a:cubicBezTo>
                  <a:cubicBezTo>
                    <a:pt x="706" y="765"/>
                    <a:pt x="706" y="765"/>
                    <a:pt x="706" y="765"/>
                  </a:cubicBezTo>
                  <a:cubicBezTo>
                    <a:pt x="706" y="765"/>
                    <a:pt x="706" y="765"/>
                    <a:pt x="706" y="765"/>
                  </a:cubicBezTo>
                  <a:cubicBezTo>
                    <a:pt x="706" y="765"/>
                    <a:pt x="706" y="765"/>
                    <a:pt x="706" y="765"/>
                  </a:cubicBezTo>
                  <a:moveTo>
                    <a:pt x="707" y="765"/>
                  </a:moveTo>
                  <a:cubicBezTo>
                    <a:pt x="707" y="765"/>
                    <a:pt x="706" y="765"/>
                    <a:pt x="706" y="765"/>
                  </a:cubicBezTo>
                  <a:cubicBezTo>
                    <a:pt x="706" y="765"/>
                    <a:pt x="707" y="765"/>
                    <a:pt x="707" y="765"/>
                  </a:cubicBezTo>
                  <a:moveTo>
                    <a:pt x="707" y="765"/>
                  </a:move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07" y="765"/>
                    <a:pt x="707" y="765"/>
                  </a:cubicBezTo>
                  <a:moveTo>
                    <a:pt x="708" y="765"/>
                  </a:moveTo>
                  <a:cubicBezTo>
                    <a:pt x="708" y="765"/>
                    <a:pt x="708" y="765"/>
                    <a:pt x="707" y="765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5"/>
                    <a:pt x="708" y="765"/>
                    <a:pt x="708" y="765"/>
                  </a:cubicBezTo>
                  <a:moveTo>
                    <a:pt x="708" y="764"/>
                  </a:moveTo>
                  <a:cubicBezTo>
                    <a:pt x="708" y="764"/>
                    <a:pt x="708" y="764"/>
                    <a:pt x="708" y="764"/>
                  </a:cubicBezTo>
                  <a:cubicBezTo>
                    <a:pt x="708" y="764"/>
                    <a:pt x="708" y="764"/>
                    <a:pt x="708" y="764"/>
                  </a:cubicBezTo>
                  <a:moveTo>
                    <a:pt x="713" y="763"/>
                  </a:moveTo>
                  <a:cubicBezTo>
                    <a:pt x="711" y="763"/>
                    <a:pt x="710" y="764"/>
                    <a:pt x="709" y="764"/>
                  </a:cubicBezTo>
                  <a:cubicBezTo>
                    <a:pt x="709" y="764"/>
                    <a:pt x="709" y="764"/>
                    <a:pt x="709" y="764"/>
                  </a:cubicBezTo>
                  <a:cubicBezTo>
                    <a:pt x="709" y="764"/>
                    <a:pt x="709" y="764"/>
                    <a:pt x="709" y="764"/>
                  </a:cubicBezTo>
                  <a:cubicBezTo>
                    <a:pt x="709" y="764"/>
                    <a:pt x="709" y="764"/>
                    <a:pt x="710" y="764"/>
                  </a:cubicBezTo>
                  <a:cubicBezTo>
                    <a:pt x="710" y="764"/>
                    <a:pt x="710" y="764"/>
                    <a:pt x="710" y="764"/>
                  </a:cubicBezTo>
                  <a:cubicBezTo>
                    <a:pt x="710" y="764"/>
                    <a:pt x="710" y="764"/>
                    <a:pt x="711" y="763"/>
                  </a:cubicBezTo>
                  <a:cubicBezTo>
                    <a:pt x="711" y="763"/>
                    <a:pt x="711" y="763"/>
                    <a:pt x="711" y="763"/>
                  </a:cubicBezTo>
                  <a:cubicBezTo>
                    <a:pt x="711" y="763"/>
                    <a:pt x="711" y="763"/>
                    <a:pt x="711" y="763"/>
                  </a:cubicBezTo>
                  <a:cubicBezTo>
                    <a:pt x="711" y="763"/>
                    <a:pt x="711" y="763"/>
                    <a:pt x="712" y="763"/>
                  </a:cubicBezTo>
                  <a:cubicBezTo>
                    <a:pt x="712" y="763"/>
                    <a:pt x="712" y="763"/>
                    <a:pt x="712" y="763"/>
                  </a:cubicBezTo>
                  <a:cubicBezTo>
                    <a:pt x="712" y="763"/>
                    <a:pt x="712" y="763"/>
                    <a:pt x="712" y="763"/>
                  </a:cubicBezTo>
                  <a:cubicBezTo>
                    <a:pt x="712" y="763"/>
                    <a:pt x="712" y="763"/>
                    <a:pt x="713" y="763"/>
                  </a:cubicBezTo>
                  <a:moveTo>
                    <a:pt x="713" y="763"/>
                  </a:moveTo>
                  <a:cubicBezTo>
                    <a:pt x="713" y="763"/>
                    <a:pt x="713" y="763"/>
                    <a:pt x="713" y="763"/>
                  </a:cubicBezTo>
                  <a:cubicBezTo>
                    <a:pt x="713" y="763"/>
                    <a:pt x="713" y="763"/>
                    <a:pt x="713" y="763"/>
                  </a:cubicBezTo>
                  <a:cubicBezTo>
                    <a:pt x="713" y="763"/>
                    <a:pt x="713" y="763"/>
                    <a:pt x="713" y="763"/>
                  </a:cubicBezTo>
                  <a:cubicBezTo>
                    <a:pt x="713" y="763"/>
                    <a:pt x="713" y="763"/>
                    <a:pt x="713" y="763"/>
                  </a:cubicBezTo>
                  <a:moveTo>
                    <a:pt x="714" y="762"/>
                  </a:moveTo>
                  <a:cubicBezTo>
                    <a:pt x="714" y="762"/>
                    <a:pt x="713" y="762"/>
                    <a:pt x="713" y="763"/>
                  </a:cubicBezTo>
                  <a:cubicBezTo>
                    <a:pt x="713" y="763"/>
                    <a:pt x="713" y="762"/>
                    <a:pt x="713" y="762"/>
                  </a:cubicBezTo>
                  <a:cubicBezTo>
                    <a:pt x="713" y="762"/>
                    <a:pt x="713" y="762"/>
                    <a:pt x="713" y="762"/>
                  </a:cubicBezTo>
                  <a:cubicBezTo>
                    <a:pt x="713" y="762"/>
                    <a:pt x="714" y="762"/>
                    <a:pt x="714" y="762"/>
                  </a:cubicBezTo>
                  <a:moveTo>
                    <a:pt x="714" y="762"/>
                  </a:moveTo>
                  <a:cubicBezTo>
                    <a:pt x="714" y="762"/>
                    <a:pt x="714" y="762"/>
                    <a:pt x="714" y="762"/>
                  </a:cubicBezTo>
                  <a:cubicBezTo>
                    <a:pt x="714" y="762"/>
                    <a:pt x="714" y="762"/>
                    <a:pt x="714" y="762"/>
                  </a:cubicBezTo>
                  <a:cubicBezTo>
                    <a:pt x="714" y="762"/>
                    <a:pt x="714" y="762"/>
                    <a:pt x="714" y="762"/>
                  </a:cubicBezTo>
                  <a:cubicBezTo>
                    <a:pt x="714" y="762"/>
                    <a:pt x="714" y="762"/>
                    <a:pt x="714" y="762"/>
                  </a:cubicBezTo>
                  <a:moveTo>
                    <a:pt x="715" y="762"/>
                  </a:moveTo>
                  <a:cubicBezTo>
                    <a:pt x="715" y="762"/>
                    <a:pt x="714" y="762"/>
                    <a:pt x="714" y="762"/>
                  </a:cubicBezTo>
                  <a:cubicBezTo>
                    <a:pt x="714" y="762"/>
                    <a:pt x="714" y="762"/>
                    <a:pt x="715" y="762"/>
                  </a:cubicBezTo>
                  <a:cubicBezTo>
                    <a:pt x="715" y="762"/>
                    <a:pt x="715" y="762"/>
                    <a:pt x="715" y="762"/>
                  </a:cubicBezTo>
                  <a:cubicBezTo>
                    <a:pt x="715" y="762"/>
                    <a:pt x="715" y="762"/>
                    <a:pt x="715" y="762"/>
                  </a:cubicBezTo>
                  <a:moveTo>
                    <a:pt x="724" y="758"/>
                  </a:moveTo>
                  <a:cubicBezTo>
                    <a:pt x="721" y="759"/>
                    <a:pt x="718" y="761"/>
                    <a:pt x="715" y="762"/>
                  </a:cubicBezTo>
                  <a:cubicBezTo>
                    <a:pt x="715" y="762"/>
                    <a:pt x="715" y="762"/>
                    <a:pt x="715" y="762"/>
                  </a:cubicBezTo>
                  <a:cubicBezTo>
                    <a:pt x="715" y="762"/>
                    <a:pt x="715" y="762"/>
                    <a:pt x="715" y="762"/>
                  </a:cubicBezTo>
                  <a:cubicBezTo>
                    <a:pt x="715" y="762"/>
                    <a:pt x="716" y="762"/>
                    <a:pt x="716" y="762"/>
                  </a:cubicBezTo>
                  <a:cubicBezTo>
                    <a:pt x="716" y="761"/>
                    <a:pt x="716" y="761"/>
                    <a:pt x="716" y="761"/>
                  </a:cubicBezTo>
                  <a:cubicBezTo>
                    <a:pt x="716" y="761"/>
                    <a:pt x="716" y="761"/>
                    <a:pt x="716" y="761"/>
                  </a:cubicBezTo>
                  <a:cubicBezTo>
                    <a:pt x="716" y="761"/>
                    <a:pt x="716" y="761"/>
                    <a:pt x="717" y="761"/>
                  </a:cubicBezTo>
                  <a:cubicBezTo>
                    <a:pt x="717" y="761"/>
                    <a:pt x="717" y="761"/>
                    <a:pt x="717" y="761"/>
                  </a:cubicBezTo>
                  <a:cubicBezTo>
                    <a:pt x="717" y="761"/>
                    <a:pt x="717" y="761"/>
                    <a:pt x="717" y="761"/>
                  </a:cubicBezTo>
                  <a:cubicBezTo>
                    <a:pt x="717" y="761"/>
                    <a:pt x="717" y="761"/>
                    <a:pt x="718" y="761"/>
                  </a:cubicBezTo>
                  <a:cubicBezTo>
                    <a:pt x="718" y="761"/>
                    <a:pt x="718" y="761"/>
                    <a:pt x="718" y="761"/>
                  </a:cubicBezTo>
                  <a:cubicBezTo>
                    <a:pt x="718" y="761"/>
                    <a:pt x="718" y="761"/>
                    <a:pt x="718" y="761"/>
                  </a:cubicBezTo>
                  <a:cubicBezTo>
                    <a:pt x="718" y="761"/>
                    <a:pt x="718" y="760"/>
                    <a:pt x="718" y="760"/>
                  </a:cubicBezTo>
                  <a:cubicBezTo>
                    <a:pt x="719" y="760"/>
                    <a:pt x="719" y="760"/>
                    <a:pt x="719" y="760"/>
                  </a:cubicBezTo>
                  <a:cubicBezTo>
                    <a:pt x="719" y="760"/>
                    <a:pt x="719" y="760"/>
                    <a:pt x="719" y="760"/>
                  </a:cubicBezTo>
                  <a:cubicBezTo>
                    <a:pt x="719" y="760"/>
                    <a:pt x="719" y="760"/>
                    <a:pt x="719" y="760"/>
                  </a:cubicBezTo>
                  <a:cubicBezTo>
                    <a:pt x="720" y="760"/>
                    <a:pt x="720" y="760"/>
                    <a:pt x="720" y="760"/>
                  </a:cubicBezTo>
                  <a:cubicBezTo>
                    <a:pt x="720" y="760"/>
                    <a:pt x="720" y="760"/>
                    <a:pt x="720" y="760"/>
                  </a:cubicBezTo>
                  <a:cubicBezTo>
                    <a:pt x="720" y="760"/>
                    <a:pt x="720" y="760"/>
                    <a:pt x="720" y="760"/>
                  </a:cubicBezTo>
                  <a:cubicBezTo>
                    <a:pt x="720" y="760"/>
                    <a:pt x="720" y="760"/>
                    <a:pt x="720" y="760"/>
                  </a:cubicBezTo>
                  <a:cubicBezTo>
                    <a:pt x="721" y="760"/>
                    <a:pt x="721" y="759"/>
                    <a:pt x="721" y="759"/>
                  </a:cubicBezTo>
                  <a:cubicBezTo>
                    <a:pt x="721" y="759"/>
                    <a:pt x="721" y="759"/>
                    <a:pt x="721" y="759"/>
                  </a:cubicBezTo>
                  <a:cubicBezTo>
                    <a:pt x="721" y="759"/>
                    <a:pt x="722" y="759"/>
                    <a:pt x="722" y="759"/>
                  </a:cubicBezTo>
                  <a:cubicBezTo>
                    <a:pt x="722" y="759"/>
                    <a:pt x="722" y="759"/>
                    <a:pt x="722" y="759"/>
                  </a:cubicBezTo>
                  <a:cubicBezTo>
                    <a:pt x="722" y="759"/>
                    <a:pt x="722" y="759"/>
                    <a:pt x="722" y="759"/>
                  </a:cubicBezTo>
                  <a:cubicBezTo>
                    <a:pt x="722" y="759"/>
                    <a:pt x="722" y="759"/>
                    <a:pt x="722" y="759"/>
                  </a:cubicBezTo>
                  <a:cubicBezTo>
                    <a:pt x="723" y="759"/>
                    <a:pt x="723" y="758"/>
                    <a:pt x="724" y="758"/>
                  </a:cubicBezTo>
                  <a:moveTo>
                    <a:pt x="725" y="758"/>
                  </a:moveTo>
                  <a:cubicBezTo>
                    <a:pt x="724" y="758"/>
                    <a:pt x="724" y="758"/>
                    <a:pt x="724" y="758"/>
                  </a:cubicBezTo>
                  <a:cubicBezTo>
                    <a:pt x="724" y="758"/>
                    <a:pt x="724" y="758"/>
                    <a:pt x="725" y="758"/>
                  </a:cubicBezTo>
                  <a:moveTo>
                    <a:pt x="725" y="758"/>
                  </a:moveTo>
                  <a:cubicBezTo>
                    <a:pt x="725" y="758"/>
                    <a:pt x="725" y="758"/>
                    <a:pt x="725" y="758"/>
                  </a:cubicBezTo>
                  <a:cubicBezTo>
                    <a:pt x="725" y="758"/>
                    <a:pt x="725" y="758"/>
                    <a:pt x="725" y="758"/>
                  </a:cubicBezTo>
                  <a:moveTo>
                    <a:pt x="726" y="757"/>
                  </a:moveTo>
                  <a:cubicBezTo>
                    <a:pt x="726" y="757"/>
                    <a:pt x="726" y="757"/>
                    <a:pt x="725" y="758"/>
                  </a:cubicBezTo>
                  <a:cubicBezTo>
                    <a:pt x="726" y="757"/>
                    <a:pt x="726" y="757"/>
                    <a:pt x="726" y="757"/>
                  </a:cubicBezTo>
                  <a:moveTo>
                    <a:pt x="727" y="757"/>
                  </a:moveTo>
                  <a:cubicBezTo>
                    <a:pt x="727" y="757"/>
                    <a:pt x="727" y="757"/>
                    <a:pt x="726" y="757"/>
                  </a:cubicBezTo>
                  <a:cubicBezTo>
                    <a:pt x="727" y="757"/>
                    <a:pt x="727" y="757"/>
                    <a:pt x="727" y="757"/>
                  </a:cubicBezTo>
                  <a:moveTo>
                    <a:pt x="727" y="757"/>
                  </a:moveTo>
                  <a:cubicBezTo>
                    <a:pt x="727" y="757"/>
                    <a:pt x="727" y="757"/>
                    <a:pt x="727" y="757"/>
                  </a:cubicBezTo>
                  <a:cubicBezTo>
                    <a:pt x="727" y="757"/>
                    <a:pt x="727" y="757"/>
                    <a:pt x="727" y="757"/>
                  </a:cubicBezTo>
                  <a:moveTo>
                    <a:pt x="728" y="756"/>
                  </a:moveTo>
                  <a:cubicBezTo>
                    <a:pt x="728" y="757"/>
                    <a:pt x="728" y="757"/>
                    <a:pt x="728" y="757"/>
                  </a:cubicBezTo>
                  <a:cubicBezTo>
                    <a:pt x="728" y="757"/>
                    <a:pt x="728" y="757"/>
                    <a:pt x="728" y="756"/>
                  </a:cubicBezTo>
                  <a:moveTo>
                    <a:pt x="729" y="756"/>
                  </a:moveTo>
                  <a:cubicBezTo>
                    <a:pt x="728" y="756"/>
                    <a:pt x="728" y="756"/>
                    <a:pt x="728" y="756"/>
                  </a:cubicBezTo>
                  <a:cubicBezTo>
                    <a:pt x="728" y="756"/>
                    <a:pt x="728" y="756"/>
                    <a:pt x="729" y="756"/>
                  </a:cubicBezTo>
                  <a:moveTo>
                    <a:pt x="729" y="756"/>
                  </a:moveTo>
                  <a:cubicBezTo>
                    <a:pt x="729" y="756"/>
                    <a:pt x="729" y="756"/>
                    <a:pt x="729" y="756"/>
                  </a:cubicBezTo>
                  <a:cubicBezTo>
                    <a:pt x="729" y="756"/>
                    <a:pt x="729" y="756"/>
                    <a:pt x="729" y="756"/>
                  </a:cubicBezTo>
                  <a:moveTo>
                    <a:pt x="730" y="756"/>
                  </a:moveTo>
                  <a:cubicBezTo>
                    <a:pt x="730" y="756"/>
                    <a:pt x="729" y="756"/>
                    <a:pt x="729" y="756"/>
                  </a:cubicBezTo>
                  <a:cubicBezTo>
                    <a:pt x="729" y="756"/>
                    <a:pt x="730" y="756"/>
                    <a:pt x="730" y="756"/>
                  </a:cubicBezTo>
                  <a:moveTo>
                    <a:pt x="730" y="755"/>
                  </a:moveTo>
                  <a:cubicBezTo>
                    <a:pt x="730" y="756"/>
                    <a:pt x="730" y="756"/>
                    <a:pt x="730" y="756"/>
                  </a:cubicBezTo>
                  <a:cubicBezTo>
                    <a:pt x="730" y="756"/>
                    <a:pt x="730" y="756"/>
                    <a:pt x="730" y="755"/>
                  </a:cubicBezTo>
                  <a:moveTo>
                    <a:pt x="731" y="755"/>
                  </a:moveTo>
                  <a:cubicBezTo>
                    <a:pt x="731" y="755"/>
                    <a:pt x="731" y="755"/>
                    <a:pt x="731" y="755"/>
                  </a:cubicBezTo>
                  <a:cubicBezTo>
                    <a:pt x="731" y="755"/>
                    <a:pt x="731" y="755"/>
                    <a:pt x="731" y="755"/>
                  </a:cubicBezTo>
                  <a:moveTo>
                    <a:pt x="731" y="755"/>
                  </a:moveTo>
                  <a:cubicBezTo>
                    <a:pt x="731" y="755"/>
                    <a:pt x="731" y="755"/>
                    <a:pt x="731" y="755"/>
                  </a:cubicBezTo>
                  <a:cubicBezTo>
                    <a:pt x="731" y="755"/>
                    <a:pt x="731" y="755"/>
                    <a:pt x="731" y="755"/>
                  </a:cubicBezTo>
                  <a:moveTo>
                    <a:pt x="732" y="755"/>
                  </a:moveTo>
                  <a:cubicBezTo>
                    <a:pt x="732" y="755"/>
                    <a:pt x="732" y="755"/>
                    <a:pt x="732" y="755"/>
                  </a:cubicBezTo>
                  <a:cubicBezTo>
                    <a:pt x="732" y="755"/>
                    <a:pt x="732" y="755"/>
                    <a:pt x="732" y="755"/>
                  </a:cubicBezTo>
                  <a:moveTo>
                    <a:pt x="15" y="505"/>
                  </a:moveTo>
                  <a:cubicBezTo>
                    <a:pt x="0" y="505"/>
                    <a:pt x="0" y="505"/>
                    <a:pt x="0" y="505"/>
                  </a:cubicBezTo>
                  <a:cubicBezTo>
                    <a:pt x="30" y="575"/>
                    <a:pt x="77" y="639"/>
                    <a:pt x="138" y="692"/>
                  </a:cubicBezTo>
                  <a:cubicBezTo>
                    <a:pt x="138" y="692"/>
                    <a:pt x="138" y="692"/>
                    <a:pt x="138" y="692"/>
                  </a:cubicBezTo>
                  <a:cubicBezTo>
                    <a:pt x="139" y="692"/>
                    <a:pt x="139" y="692"/>
                    <a:pt x="139" y="692"/>
                  </a:cubicBezTo>
                  <a:cubicBezTo>
                    <a:pt x="139" y="692"/>
                    <a:pt x="139" y="692"/>
                    <a:pt x="139" y="692"/>
                  </a:cubicBezTo>
                  <a:cubicBezTo>
                    <a:pt x="139" y="692"/>
                    <a:pt x="139" y="692"/>
                    <a:pt x="139" y="692"/>
                  </a:cubicBezTo>
                  <a:cubicBezTo>
                    <a:pt x="139" y="692"/>
                    <a:pt x="139" y="692"/>
                    <a:pt x="139" y="692"/>
                  </a:cubicBezTo>
                  <a:cubicBezTo>
                    <a:pt x="139" y="693"/>
                    <a:pt x="139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1" y="693"/>
                    <a:pt x="141" y="694"/>
                  </a:cubicBezTo>
                  <a:cubicBezTo>
                    <a:pt x="141" y="694"/>
                    <a:pt x="141" y="694"/>
                    <a:pt x="141" y="694"/>
                  </a:cubicBezTo>
                  <a:cubicBezTo>
                    <a:pt x="141" y="694"/>
                    <a:pt x="141" y="694"/>
                    <a:pt x="141" y="694"/>
                  </a:cubicBezTo>
                  <a:cubicBezTo>
                    <a:pt x="141" y="694"/>
                    <a:pt x="141" y="694"/>
                    <a:pt x="141" y="694"/>
                  </a:cubicBezTo>
                  <a:cubicBezTo>
                    <a:pt x="141" y="694"/>
                    <a:pt x="141" y="694"/>
                    <a:pt x="141" y="694"/>
                  </a:cubicBezTo>
                  <a:cubicBezTo>
                    <a:pt x="239" y="777"/>
                    <a:pt x="359" y="817"/>
                    <a:pt x="478" y="817"/>
                  </a:cubicBezTo>
                  <a:cubicBezTo>
                    <a:pt x="554" y="817"/>
                    <a:pt x="631" y="800"/>
                    <a:pt x="701" y="767"/>
                  </a:cubicBezTo>
                  <a:cubicBezTo>
                    <a:pt x="701" y="767"/>
                    <a:pt x="701" y="767"/>
                    <a:pt x="701" y="767"/>
                  </a:cubicBezTo>
                  <a:cubicBezTo>
                    <a:pt x="701" y="767"/>
                    <a:pt x="701" y="767"/>
                    <a:pt x="701" y="767"/>
                  </a:cubicBezTo>
                  <a:cubicBezTo>
                    <a:pt x="701" y="767"/>
                    <a:pt x="701" y="767"/>
                    <a:pt x="701" y="767"/>
                  </a:cubicBezTo>
                  <a:cubicBezTo>
                    <a:pt x="631" y="800"/>
                    <a:pt x="554" y="817"/>
                    <a:pt x="478" y="817"/>
                  </a:cubicBezTo>
                  <a:cubicBezTo>
                    <a:pt x="458" y="817"/>
                    <a:pt x="438" y="816"/>
                    <a:pt x="419" y="814"/>
                  </a:cubicBezTo>
                  <a:cubicBezTo>
                    <a:pt x="409" y="800"/>
                    <a:pt x="400" y="786"/>
                    <a:pt x="391" y="772"/>
                  </a:cubicBezTo>
                  <a:cubicBezTo>
                    <a:pt x="301" y="757"/>
                    <a:pt x="213" y="719"/>
                    <a:pt x="138" y="656"/>
                  </a:cubicBezTo>
                  <a:cubicBezTo>
                    <a:pt x="86" y="612"/>
                    <a:pt x="45" y="561"/>
                    <a:pt x="15" y="505"/>
                  </a:cubicBezTo>
                  <a:moveTo>
                    <a:pt x="194" y="505"/>
                  </a:moveTo>
                  <a:cubicBezTo>
                    <a:pt x="111" y="505"/>
                    <a:pt x="111" y="505"/>
                    <a:pt x="111" y="505"/>
                  </a:cubicBezTo>
                  <a:cubicBezTo>
                    <a:pt x="164" y="632"/>
                    <a:pt x="269" y="727"/>
                    <a:pt x="395" y="769"/>
                  </a:cubicBezTo>
                  <a:cubicBezTo>
                    <a:pt x="395" y="769"/>
                    <a:pt x="395" y="769"/>
                    <a:pt x="395" y="769"/>
                  </a:cubicBezTo>
                  <a:cubicBezTo>
                    <a:pt x="395" y="769"/>
                    <a:pt x="395" y="769"/>
                    <a:pt x="395" y="770"/>
                  </a:cubicBezTo>
                  <a:cubicBezTo>
                    <a:pt x="395" y="770"/>
                    <a:pt x="395" y="770"/>
                    <a:pt x="395" y="770"/>
                  </a:cubicBezTo>
                  <a:cubicBezTo>
                    <a:pt x="396" y="770"/>
                    <a:pt x="396" y="770"/>
                    <a:pt x="396" y="770"/>
                  </a:cubicBezTo>
                  <a:cubicBezTo>
                    <a:pt x="396" y="770"/>
                    <a:pt x="396" y="770"/>
                    <a:pt x="396" y="770"/>
                  </a:cubicBezTo>
                  <a:cubicBezTo>
                    <a:pt x="397" y="770"/>
                    <a:pt x="397" y="770"/>
                    <a:pt x="397" y="770"/>
                  </a:cubicBezTo>
                  <a:cubicBezTo>
                    <a:pt x="397" y="770"/>
                    <a:pt x="397" y="770"/>
                    <a:pt x="397" y="770"/>
                  </a:cubicBezTo>
                  <a:cubicBezTo>
                    <a:pt x="397" y="770"/>
                    <a:pt x="397" y="770"/>
                    <a:pt x="397" y="770"/>
                  </a:cubicBezTo>
                  <a:cubicBezTo>
                    <a:pt x="397" y="770"/>
                    <a:pt x="397" y="770"/>
                    <a:pt x="397" y="770"/>
                  </a:cubicBezTo>
                  <a:cubicBezTo>
                    <a:pt x="397" y="770"/>
                    <a:pt x="397" y="770"/>
                    <a:pt x="398" y="770"/>
                  </a:cubicBezTo>
                  <a:cubicBezTo>
                    <a:pt x="398" y="770"/>
                    <a:pt x="398" y="770"/>
                    <a:pt x="398" y="770"/>
                  </a:cubicBezTo>
                  <a:cubicBezTo>
                    <a:pt x="398" y="770"/>
                    <a:pt x="398" y="770"/>
                    <a:pt x="398" y="770"/>
                  </a:cubicBezTo>
                  <a:cubicBezTo>
                    <a:pt x="398" y="770"/>
                    <a:pt x="398" y="771"/>
                    <a:pt x="398" y="771"/>
                  </a:cubicBezTo>
                  <a:cubicBezTo>
                    <a:pt x="398" y="771"/>
                    <a:pt x="398" y="771"/>
                    <a:pt x="398" y="771"/>
                  </a:cubicBezTo>
                  <a:cubicBezTo>
                    <a:pt x="399" y="771"/>
                    <a:pt x="399" y="771"/>
                    <a:pt x="399" y="771"/>
                  </a:cubicBezTo>
                  <a:cubicBezTo>
                    <a:pt x="399" y="771"/>
                    <a:pt x="399" y="771"/>
                    <a:pt x="399" y="771"/>
                  </a:cubicBezTo>
                  <a:cubicBezTo>
                    <a:pt x="399" y="771"/>
                    <a:pt x="399" y="771"/>
                    <a:pt x="399" y="771"/>
                  </a:cubicBezTo>
                  <a:cubicBezTo>
                    <a:pt x="399" y="771"/>
                    <a:pt x="399" y="771"/>
                    <a:pt x="399" y="771"/>
                  </a:cubicBezTo>
                  <a:cubicBezTo>
                    <a:pt x="400" y="771"/>
                    <a:pt x="400" y="771"/>
                    <a:pt x="400" y="771"/>
                  </a:cubicBezTo>
                  <a:cubicBezTo>
                    <a:pt x="400" y="771"/>
                    <a:pt x="400" y="771"/>
                    <a:pt x="400" y="771"/>
                  </a:cubicBezTo>
                  <a:cubicBezTo>
                    <a:pt x="400" y="771"/>
                    <a:pt x="400" y="771"/>
                    <a:pt x="401" y="771"/>
                  </a:cubicBezTo>
                  <a:cubicBezTo>
                    <a:pt x="401" y="771"/>
                    <a:pt x="401" y="771"/>
                    <a:pt x="401" y="771"/>
                  </a:cubicBezTo>
                  <a:cubicBezTo>
                    <a:pt x="401" y="771"/>
                    <a:pt x="401" y="771"/>
                    <a:pt x="401" y="771"/>
                  </a:cubicBezTo>
                  <a:cubicBezTo>
                    <a:pt x="401" y="771"/>
                    <a:pt x="401" y="772"/>
                    <a:pt x="401" y="772"/>
                  </a:cubicBezTo>
                  <a:cubicBezTo>
                    <a:pt x="401" y="772"/>
                    <a:pt x="402" y="772"/>
                    <a:pt x="402" y="772"/>
                  </a:cubicBezTo>
                  <a:cubicBezTo>
                    <a:pt x="402" y="772"/>
                    <a:pt x="402" y="772"/>
                    <a:pt x="402" y="772"/>
                  </a:cubicBezTo>
                  <a:cubicBezTo>
                    <a:pt x="402" y="772"/>
                    <a:pt x="402" y="772"/>
                    <a:pt x="402" y="772"/>
                  </a:cubicBezTo>
                  <a:cubicBezTo>
                    <a:pt x="402" y="772"/>
                    <a:pt x="402" y="772"/>
                    <a:pt x="402" y="772"/>
                  </a:cubicBezTo>
                  <a:cubicBezTo>
                    <a:pt x="402" y="772"/>
                    <a:pt x="403" y="772"/>
                    <a:pt x="403" y="772"/>
                  </a:cubicBezTo>
                  <a:cubicBezTo>
                    <a:pt x="403" y="772"/>
                    <a:pt x="403" y="772"/>
                    <a:pt x="403" y="772"/>
                  </a:cubicBezTo>
                  <a:cubicBezTo>
                    <a:pt x="403" y="772"/>
                    <a:pt x="403" y="772"/>
                    <a:pt x="404" y="772"/>
                  </a:cubicBezTo>
                  <a:cubicBezTo>
                    <a:pt x="404" y="772"/>
                    <a:pt x="404" y="772"/>
                    <a:pt x="404" y="772"/>
                  </a:cubicBezTo>
                  <a:cubicBezTo>
                    <a:pt x="404" y="772"/>
                    <a:pt x="404" y="772"/>
                    <a:pt x="404" y="772"/>
                  </a:cubicBezTo>
                  <a:cubicBezTo>
                    <a:pt x="404" y="772"/>
                    <a:pt x="404" y="772"/>
                    <a:pt x="404" y="772"/>
                  </a:cubicBezTo>
                  <a:cubicBezTo>
                    <a:pt x="405" y="773"/>
                    <a:pt x="405" y="773"/>
                    <a:pt x="405" y="773"/>
                  </a:cubicBezTo>
                  <a:cubicBezTo>
                    <a:pt x="405" y="773"/>
                    <a:pt x="405" y="773"/>
                    <a:pt x="405" y="773"/>
                  </a:cubicBezTo>
                  <a:cubicBezTo>
                    <a:pt x="406" y="773"/>
                    <a:pt x="406" y="773"/>
                    <a:pt x="406" y="773"/>
                  </a:cubicBezTo>
                  <a:cubicBezTo>
                    <a:pt x="406" y="773"/>
                    <a:pt x="406" y="773"/>
                    <a:pt x="406" y="773"/>
                  </a:cubicBezTo>
                  <a:cubicBezTo>
                    <a:pt x="406" y="773"/>
                    <a:pt x="407" y="773"/>
                    <a:pt x="407" y="773"/>
                  </a:cubicBezTo>
                  <a:cubicBezTo>
                    <a:pt x="407" y="773"/>
                    <a:pt x="407" y="773"/>
                    <a:pt x="407" y="773"/>
                  </a:cubicBezTo>
                  <a:cubicBezTo>
                    <a:pt x="408" y="773"/>
                    <a:pt x="408" y="774"/>
                    <a:pt x="408" y="774"/>
                  </a:cubicBezTo>
                  <a:cubicBezTo>
                    <a:pt x="408" y="774"/>
                    <a:pt x="408" y="774"/>
                    <a:pt x="408" y="774"/>
                  </a:cubicBezTo>
                  <a:cubicBezTo>
                    <a:pt x="408" y="774"/>
                    <a:pt x="408" y="774"/>
                    <a:pt x="408" y="774"/>
                  </a:cubicBezTo>
                  <a:cubicBezTo>
                    <a:pt x="408" y="774"/>
                    <a:pt x="408" y="774"/>
                    <a:pt x="408" y="774"/>
                  </a:cubicBezTo>
                  <a:cubicBezTo>
                    <a:pt x="409" y="774"/>
                    <a:pt x="409" y="774"/>
                    <a:pt x="409" y="774"/>
                  </a:cubicBezTo>
                  <a:cubicBezTo>
                    <a:pt x="409" y="774"/>
                    <a:pt x="409" y="774"/>
                    <a:pt x="409" y="774"/>
                  </a:cubicBezTo>
                  <a:cubicBezTo>
                    <a:pt x="409" y="774"/>
                    <a:pt x="410" y="774"/>
                    <a:pt x="410" y="774"/>
                  </a:cubicBezTo>
                  <a:cubicBezTo>
                    <a:pt x="410" y="774"/>
                    <a:pt x="410" y="774"/>
                    <a:pt x="410" y="774"/>
                  </a:cubicBezTo>
                  <a:cubicBezTo>
                    <a:pt x="410" y="774"/>
                    <a:pt x="410" y="774"/>
                    <a:pt x="410" y="774"/>
                  </a:cubicBezTo>
                  <a:cubicBezTo>
                    <a:pt x="410" y="774"/>
                    <a:pt x="410" y="774"/>
                    <a:pt x="410" y="774"/>
                  </a:cubicBezTo>
                  <a:cubicBezTo>
                    <a:pt x="410" y="774"/>
                    <a:pt x="410" y="774"/>
                    <a:pt x="411" y="774"/>
                  </a:cubicBezTo>
                  <a:cubicBezTo>
                    <a:pt x="411" y="774"/>
                    <a:pt x="411" y="774"/>
                    <a:pt x="411" y="774"/>
                  </a:cubicBezTo>
                  <a:cubicBezTo>
                    <a:pt x="411" y="774"/>
                    <a:pt x="411" y="775"/>
                    <a:pt x="411" y="775"/>
                  </a:cubicBezTo>
                  <a:cubicBezTo>
                    <a:pt x="411" y="775"/>
                    <a:pt x="411" y="775"/>
                    <a:pt x="411" y="775"/>
                  </a:cubicBezTo>
                  <a:cubicBezTo>
                    <a:pt x="404" y="772"/>
                    <a:pt x="396" y="770"/>
                    <a:pt x="389" y="767"/>
                  </a:cubicBezTo>
                  <a:cubicBezTo>
                    <a:pt x="363" y="720"/>
                    <a:pt x="346" y="667"/>
                    <a:pt x="341" y="610"/>
                  </a:cubicBezTo>
                  <a:cubicBezTo>
                    <a:pt x="330" y="614"/>
                    <a:pt x="319" y="616"/>
                    <a:pt x="307" y="616"/>
                  </a:cubicBezTo>
                  <a:cubicBezTo>
                    <a:pt x="245" y="616"/>
                    <a:pt x="195" y="566"/>
                    <a:pt x="194" y="505"/>
                  </a:cubicBezTo>
                  <a:moveTo>
                    <a:pt x="747" y="0"/>
                  </a:moveTo>
                  <a:cubicBezTo>
                    <a:pt x="712" y="0"/>
                    <a:pt x="672" y="9"/>
                    <a:pt x="631" y="35"/>
                  </a:cubicBezTo>
                  <a:cubicBezTo>
                    <a:pt x="593" y="59"/>
                    <a:pt x="586" y="84"/>
                    <a:pt x="587" y="102"/>
                  </a:cubicBezTo>
                  <a:cubicBezTo>
                    <a:pt x="587" y="102"/>
                    <a:pt x="587" y="102"/>
                    <a:pt x="587" y="102"/>
                  </a:cubicBezTo>
                  <a:cubicBezTo>
                    <a:pt x="587" y="102"/>
                    <a:pt x="587" y="102"/>
                    <a:pt x="587" y="102"/>
                  </a:cubicBezTo>
                  <a:cubicBezTo>
                    <a:pt x="587" y="103"/>
                    <a:pt x="587" y="104"/>
                    <a:pt x="587" y="105"/>
                  </a:cubicBezTo>
                  <a:cubicBezTo>
                    <a:pt x="587" y="105"/>
                    <a:pt x="587" y="105"/>
                    <a:pt x="587" y="105"/>
                  </a:cubicBezTo>
                  <a:cubicBezTo>
                    <a:pt x="587" y="106"/>
                    <a:pt x="588" y="107"/>
                    <a:pt x="588" y="108"/>
                  </a:cubicBezTo>
                  <a:cubicBezTo>
                    <a:pt x="588" y="108"/>
                    <a:pt x="588" y="108"/>
                    <a:pt x="588" y="108"/>
                  </a:cubicBezTo>
                  <a:cubicBezTo>
                    <a:pt x="588" y="109"/>
                    <a:pt x="588" y="110"/>
                    <a:pt x="588" y="110"/>
                  </a:cubicBezTo>
                  <a:cubicBezTo>
                    <a:pt x="588" y="111"/>
                    <a:pt x="588" y="111"/>
                    <a:pt x="588" y="111"/>
                  </a:cubicBezTo>
                  <a:cubicBezTo>
                    <a:pt x="589" y="112"/>
                    <a:pt x="589" y="112"/>
                    <a:pt x="589" y="113"/>
                  </a:cubicBezTo>
                  <a:cubicBezTo>
                    <a:pt x="589" y="114"/>
                    <a:pt x="589" y="114"/>
                    <a:pt x="589" y="114"/>
                  </a:cubicBezTo>
                  <a:cubicBezTo>
                    <a:pt x="589" y="114"/>
                    <a:pt x="589" y="115"/>
                    <a:pt x="590" y="115"/>
                  </a:cubicBezTo>
                  <a:cubicBezTo>
                    <a:pt x="590" y="116"/>
                    <a:pt x="590" y="116"/>
                    <a:pt x="590" y="116"/>
                  </a:cubicBezTo>
                  <a:cubicBezTo>
                    <a:pt x="590" y="117"/>
                    <a:pt x="590" y="117"/>
                    <a:pt x="590" y="118"/>
                  </a:cubicBezTo>
                  <a:cubicBezTo>
                    <a:pt x="591" y="118"/>
                    <a:pt x="591" y="118"/>
                    <a:pt x="591" y="118"/>
                  </a:cubicBezTo>
                  <a:cubicBezTo>
                    <a:pt x="591" y="119"/>
                    <a:pt x="591" y="119"/>
                    <a:pt x="591" y="120"/>
                  </a:cubicBezTo>
                  <a:cubicBezTo>
                    <a:pt x="591" y="120"/>
                    <a:pt x="591" y="120"/>
                    <a:pt x="591" y="120"/>
                  </a:cubicBezTo>
                  <a:cubicBezTo>
                    <a:pt x="592" y="121"/>
                    <a:pt x="592" y="121"/>
                    <a:pt x="592" y="122"/>
                  </a:cubicBezTo>
                  <a:cubicBezTo>
                    <a:pt x="592" y="122"/>
                    <a:pt x="592" y="122"/>
                    <a:pt x="592" y="122"/>
                  </a:cubicBezTo>
                  <a:cubicBezTo>
                    <a:pt x="592" y="123"/>
                    <a:pt x="593" y="123"/>
                    <a:pt x="593" y="124"/>
                  </a:cubicBezTo>
                  <a:cubicBezTo>
                    <a:pt x="593" y="124"/>
                    <a:pt x="593" y="124"/>
                    <a:pt x="593" y="124"/>
                  </a:cubicBezTo>
                  <a:cubicBezTo>
                    <a:pt x="593" y="124"/>
                    <a:pt x="593" y="125"/>
                    <a:pt x="594" y="125"/>
                  </a:cubicBezTo>
                  <a:cubicBezTo>
                    <a:pt x="594" y="125"/>
                    <a:pt x="594" y="125"/>
                    <a:pt x="594" y="125"/>
                  </a:cubicBezTo>
                  <a:cubicBezTo>
                    <a:pt x="594" y="126"/>
                    <a:pt x="594" y="126"/>
                    <a:pt x="594" y="126"/>
                  </a:cubicBezTo>
                  <a:cubicBezTo>
                    <a:pt x="595" y="127"/>
                    <a:pt x="595" y="127"/>
                    <a:pt x="595" y="127"/>
                  </a:cubicBezTo>
                  <a:cubicBezTo>
                    <a:pt x="595" y="127"/>
                    <a:pt x="595" y="127"/>
                    <a:pt x="595" y="127"/>
                  </a:cubicBezTo>
                  <a:cubicBezTo>
                    <a:pt x="595" y="128"/>
                    <a:pt x="595" y="128"/>
                    <a:pt x="595" y="128"/>
                  </a:cubicBezTo>
                  <a:cubicBezTo>
                    <a:pt x="596" y="128"/>
                    <a:pt x="596" y="128"/>
                    <a:pt x="596" y="128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74" y="145"/>
                    <a:pt x="571" y="209"/>
                  </a:cubicBezTo>
                  <a:cubicBezTo>
                    <a:pt x="623" y="185"/>
                    <a:pt x="680" y="172"/>
                    <a:pt x="740" y="172"/>
                  </a:cubicBezTo>
                  <a:cubicBezTo>
                    <a:pt x="807" y="172"/>
                    <a:pt x="869" y="188"/>
                    <a:pt x="925" y="217"/>
                  </a:cubicBezTo>
                  <a:cubicBezTo>
                    <a:pt x="925" y="216"/>
                    <a:pt x="925" y="215"/>
                    <a:pt x="925" y="214"/>
                  </a:cubicBezTo>
                  <a:cubicBezTo>
                    <a:pt x="925" y="211"/>
                    <a:pt x="926" y="208"/>
                    <a:pt x="926" y="206"/>
                  </a:cubicBezTo>
                  <a:cubicBezTo>
                    <a:pt x="926" y="203"/>
                    <a:pt x="926" y="200"/>
                    <a:pt x="926" y="198"/>
                  </a:cubicBezTo>
                  <a:cubicBezTo>
                    <a:pt x="926" y="196"/>
                    <a:pt x="926" y="195"/>
                    <a:pt x="926" y="193"/>
                  </a:cubicBezTo>
                  <a:cubicBezTo>
                    <a:pt x="895" y="117"/>
                    <a:pt x="845" y="52"/>
                    <a:pt x="783" y="3"/>
                  </a:cubicBezTo>
                  <a:cubicBezTo>
                    <a:pt x="772" y="1"/>
                    <a:pt x="760" y="0"/>
                    <a:pt x="747" y="0"/>
                  </a:cubicBezTo>
                </a:path>
              </a:pathLst>
            </a:custGeom>
            <a:solidFill>
              <a:srgbClr val="CB6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íṡlîḋê">
              <a:extLst>
                <a:ext uri="{FF2B5EF4-FFF2-40B4-BE49-F238E27FC236}">
                  <a16:creationId xmlns:a16="http://schemas.microsoft.com/office/drawing/2014/main" id="{5C3D57C9-D194-4880-97CA-F2A9C755F601}"/>
                </a:ext>
              </a:extLst>
            </p:cNvPr>
            <p:cNvSpPr/>
            <p:nvPr/>
          </p:nvSpPr>
          <p:spPr bwMode="auto">
            <a:xfrm>
              <a:off x="5743926" y="3273779"/>
              <a:ext cx="3040742" cy="2638722"/>
            </a:xfrm>
            <a:custGeom>
              <a:avLst/>
              <a:gdLst>
                <a:gd name="T0" fmla="*/ 0 w 600"/>
                <a:gd name="T1" fmla="*/ 518 h 521"/>
                <a:gd name="T2" fmla="*/ 0 w 600"/>
                <a:gd name="T3" fmla="*/ 518 h 521"/>
                <a:gd name="T4" fmla="*/ 20 w 600"/>
                <a:gd name="T5" fmla="*/ 521 h 521"/>
                <a:gd name="T6" fmla="*/ 20 w 600"/>
                <a:gd name="T7" fmla="*/ 521 h 521"/>
                <a:gd name="T8" fmla="*/ 0 w 600"/>
                <a:gd name="T9" fmla="*/ 518 h 521"/>
                <a:gd name="T10" fmla="*/ 310 w 600"/>
                <a:gd name="T11" fmla="*/ 513 h 521"/>
                <a:gd name="T12" fmla="*/ 310 w 600"/>
                <a:gd name="T13" fmla="*/ 513 h 521"/>
                <a:gd name="T14" fmla="*/ 310 w 600"/>
                <a:gd name="T15" fmla="*/ 513 h 521"/>
                <a:gd name="T16" fmla="*/ 310 w 600"/>
                <a:gd name="T17" fmla="*/ 513 h 521"/>
                <a:gd name="T18" fmla="*/ 311 w 600"/>
                <a:gd name="T19" fmla="*/ 513 h 521"/>
                <a:gd name="T20" fmla="*/ 311 w 600"/>
                <a:gd name="T21" fmla="*/ 513 h 521"/>
                <a:gd name="T22" fmla="*/ 311 w 600"/>
                <a:gd name="T23" fmla="*/ 513 h 521"/>
                <a:gd name="T24" fmla="*/ 311 w 600"/>
                <a:gd name="T25" fmla="*/ 513 h 521"/>
                <a:gd name="T26" fmla="*/ 312 w 600"/>
                <a:gd name="T27" fmla="*/ 512 h 521"/>
                <a:gd name="T28" fmla="*/ 312 w 600"/>
                <a:gd name="T29" fmla="*/ 512 h 521"/>
                <a:gd name="T30" fmla="*/ 312 w 600"/>
                <a:gd name="T31" fmla="*/ 512 h 521"/>
                <a:gd name="T32" fmla="*/ 313 w 600"/>
                <a:gd name="T33" fmla="*/ 512 h 521"/>
                <a:gd name="T34" fmla="*/ 313 w 600"/>
                <a:gd name="T35" fmla="*/ 512 h 521"/>
                <a:gd name="T36" fmla="*/ 313 w 600"/>
                <a:gd name="T37" fmla="*/ 512 h 521"/>
                <a:gd name="T38" fmla="*/ 313 w 600"/>
                <a:gd name="T39" fmla="*/ 512 h 521"/>
                <a:gd name="T40" fmla="*/ 313 w 600"/>
                <a:gd name="T41" fmla="*/ 512 h 521"/>
                <a:gd name="T42" fmla="*/ 313 w 600"/>
                <a:gd name="T43" fmla="*/ 512 h 521"/>
                <a:gd name="T44" fmla="*/ 562 w 600"/>
                <a:gd name="T45" fmla="*/ 28 h 521"/>
                <a:gd name="T46" fmla="*/ 562 w 600"/>
                <a:gd name="T47" fmla="*/ 29 h 521"/>
                <a:gd name="T48" fmla="*/ 570 w 600"/>
                <a:gd name="T49" fmla="*/ 117 h 521"/>
                <a:gd name="T50" fmla="*/ 562 w 600"/>
                <a:gd name="T51" fmla="*/ 29 h 521"/>
                <a:gd name="T52" fmla="*/ 562 w 600"/>
                <a:gd name="T53" fmla="*/ 28 h 521"/>
                <a:gd name="T54" fmla="*/ 561 w 600"/>
                <a:gd name="T55" fmla="*/ 28 h 521"/>
                <a:gd name="T56" fmla="*/ 561 w 600"/>
                <a:gd name="T57" fmla="*/ 28 h 521"/>
                <a:gd name="T58" fmla="*/ 561 w 600"/>
                <a:gd name="T59" fmla="*/ 28 h 521"/>
                <a:gd name="T60" fmla="*/ 561 w 600"/>
                <a:gd name="T61" fmla="*/ 27 h 521"/>
                <a:gd name="T62" fmla="*/ 561 w 600"/>
                <a:gd name="T63" fmla="*/ 27 h 521"/>
                <a:gd name="T64" fmla="*/ 561 w 600"/>
                <a:gd name="T65" fmla="*/ 27 h 521"/>
                <a:gd name="T66" fmla="*/ 561 w 600"/>
                <a:gd name="T67" fmla="*/ 26 h 521"/>
                <a:gd name="T68" fmla="*/ 561 w 600"/>
                <a:gd name="T69" fmla="*/ 27 h 521"/>
                <a:gd name="T70" fmla="*/ 561 w 600"/>
                <a:gd name="T71" fmla="*/ 26 h 521"/>
                <a:gd name="T72" fmla="*/ 561 w 600"/>
                <a:gd name="T73" fmla="*/ 26 h 521"/>
                <a:gd name="T74" fmla="*/ 561 w 600"/>
                <a:gd name="T75" fmla="*/ 26 h 521"/>
                <a:gd name="T76" fmla="*/ 561 w 600"/>
                <a:gd name="T77" fmla="*/ 26 h 521"/>
                <a:gd name="T78" fmla="*/ 561 w 600"/>
                <a:gd name="T79" fmla="*/ 25 h 521"/>
                <a:gd name="T80" fmla="*/ 561 w 600"/>
                <a:gd name="T81" fmla="*/ 25 h 521"/>
                <a:gd name="T82" fmla="*/ 561 w 600"/>
                <a:gd name="T83" fmla="*/ 25 h 521"/>
                <a:gd name="T84" fmla="*/ 561 w 600"/>
                <a:gd name="T85" fmla="*/ 24 h 521"/>
                <a:gd name="T86" fmla="*/ 561 w 600"/>
                <a:gd name="T87" fmla="*/ 25 h 521"/>
                <a:gd name="T88" fmla="*/ 561 w 600"/>
                <a:gd name="T89" fmla="*/ 24 h 521"/>
                <a:gd name="T90" fmla="*/ 593 w 600"/>
                <a:gd name="T91" fmla="*/ 0 h 521"/>
                <a:gd name="T92" fmla="*/ 599 w 600"/>
                <a:gd name="T93" fmla="*/ 88 h 521"/>
                <a:gd name="T94" fmla="*/ 558 w 600"/>
                <a:gd name="T95" fmla="*/ 220 h 521"/>
                <a:gd name="T96" fmla="*/ 558 w 600"/>
                <a:gd name="T97" fmla="*/ 220 h 521"/>
                <a:gd name="T98" fmla="*/ 599 w 600"/>
                <a:gd name="T99" fmla="*/ 88 h 521"/>
                <a:gd name="T100" fmla="*/ 593 w 600"/>
                <a:gd name="T101" fmla="*/ 0 h 521"/>
                <a:gd name="T102" fmla="*/ 593 w 600"/>
                <a:gd name="T103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0" h="521">
                  <a:moveTo>
                    <a:pt x="0" y="518"/>
                  </a:moveTo>
                  <a:cubicBezTo>
                    <a:pt x="0" y="518"/>
                    <a:pt x="0" y="518"/>
                    <a:pt x="0" y="518"/>
                  </a:cubicBezTo>
                  <a:cubicBezTo>
                    <a:pt x="7" y="519"/>
                    <a:pt x="14" y="520"/>
                    <a:pt x="20" y="521"/>
                  </a:cubicBezTo>
                  <a:cubicBezTo>
                    <a:pt x="20" y="521"/>
                    <a:pt x="20" y="521"/>
                    <a:pt x="20" y="521"/>
                  </a:cubicBezTo>
                  <a:cubicBezTo>
                    <a:pt x="13" y="520"/>
                    <a:pt x="7" y="519"/>
                    <a:pt x="0" y="518"/>
                  </a:cubicBezTo>
                  <a:moveTo>
                    <a:pt x="310" y="513"/>
                  </a:moveTo>
                  <a:cubicBezTo>
                    <a:pt x="310" y="513"/>
                    <a:pt x="310" y="513"/>
                    <a:pt x="310" y="513"/>
                  </a:cubicBezTo>
                  <a:cubicBezTo>
                    <a:pt x="310" y="513"/>
                    <a:pt x="310" y="513"/>
                    <a:pt x="310" y="513"/>
                  </a:cubicBezTo>
                  <a:cubicBezTo>
                    <a:pt x="310" y="513"/>
                    <a:pt x="310" y="513"/>
                    <a:pt x="310" y="513"/>
                  </a:cubicBezTo>
                  <a:moveTo>
                    <a:pt x="311" y="513"/>
                  </a:moveTo>
                  <a:cubicBezTo>
                    <a:pt x="311" y="513"/>
                    <a:pt x="311" y="513"/>
                    <a:pt x="311" y="513"/>
                  </a:cubicBezTo>
                  <a:cubicBezTo>
                    <a:pt x="311" y="513"/>
                    <a:pt x="311" y="513"/>
                    <a:pt x="311" y="513"/>
                  </a:cubicBezTo>
                  <a:cubicBezTo>
                    <a:pt x="311" y="513"/>
                    <a:pt x="311" y="513"/>
                    <a:pt x="311" y="513"/>
                  </a:cubicBezTo>
                  <a:moveTo>
                    <a:pt x="312" y="512"/>
                  </a:moveTo>
                  <a:cubicBezTo>
                    <a:pt x="312" y="512"/>
                    <a:pt x="312" y="512"/>
                    <a:pt x="312" y="512"/>
                  </a:cubicBezTo>
                  <a:cubicBezTo>
                    <a:pt x="312" y="512"/>
                    <a:pt x="312" y="512"/>
                    <a:pt x="312" y="512"/>
                  </a:cubicBezTo>
                  <a:moveTo>
                    <a:pt x="313" y="512"/>
                  </a:moveTo>
                  <a:cubicBezTo>
                    <a:pt x="313" y="512"/>
                    <a:pt x="313" y="512"/>
                    <a:pt x="313" y="512"/>
                  </a:cubicBezTo>
                  <a:cubicBezTo>
                    <a:pt x="313" y="512"/>
                    <a:pt x="313" y="512"/>
                    <a:pt x="313" y="512"/>
                  </a:cubicBezTo>
                  <a:moveTo>
                    <a:pt x="313" y="512"/>
                  </a:moveTo>
                  <a:cubicBezTo>
                    <a:pt x="313" y="512"/>
                    <a:pt x="313" y="512"/>
                    <a:pt x="313" y="512"/>
                  </a:cubicBezTo>
                  <a:cubicBezTo>
                    <a:pt x="313" y="512"/>
                    <a:pt x="313" y="512"/>
                    <a:pt x="313" y="512"/>
                  </a:cubicBezTo>
                  <a:moveTo>
                    <a:pt x="562" y="28"/>
                  </a:moveTo>
                  <a:cubicBezTo>
                    <a:pt x="562" y="28"/>
                    <a:pt x="562" y="29"/>
                    <a:pt x="562" y="29"/>
                  </a:cubicBezTo>
                  <a:cubicBezTo>
                    <a:pt x="567" y="58"/>
                    <a:pt x="570" y="88"/>
                    <a:pt x="570" y="117"/>
                  </a:cubicBezTo>
                  <a:cubicBezTo>
                    <a:pt x="570" y="88"/>
                    <a:pt x="567" y="58"/>
                    <a:pt x="562" y="29"/>
                  </a:cubicBezTo>
                  <a:cubicBezTo>
                    <a:pt x="562" y="29"/>
                    <a:pt x="562" y="28"/>
                    <a:pt x="562" y="28"/>
                  </a:cubicBezTo>
                  <a:moveTo>
                    <a:pt x="561" y="28"/>
                  </a:moveTo>
                  <a:cubicBezTo>
                    <a:pt x="561" y="28"/>
                    <a:pt x="561" y="28"/>
                    <a:pt x="561" y="28"/>
                  </a:cubicBezTo>
                  <a:cubicBezTo>
                    <a:pt x="561" y="28"/>
                    <a:pt x="561" y="28"/>
                    <a:pt x="561" y="28"/>
                  </a:cubicBezTo>
                  <a:moveTo>
                    <a:pt x="561" y="27"/>
                  </a:moveTo>
                  <a:cubicBezTo>
                    <a:pt x="561" y="27"/>
                    <a:pt x="561" y="27"/>
                    <a:pt x="561" y="27"/>
                  </a:cubicBezTo>
                  <a:cubicBezTo>
                    <a:pt x="561" y="27"/>
                    <a:pt x="561" y="27"/>
                    <a:pt x="561" y="27"/>
                  </a:cubicBezTo>
                  <a:moveTo>
                    <a:pt x="561" y="26"/>
                  </a:moveTo>
                  <a:cubicBezTo>
                    <a:pt x="561" y="26"/>
                    <a:pt x="561" y="27"/>
                    <a:pt x="561" y="27"/>
                  </a:cubicBezTo>
                  <a:cubicBezTo>
                    <a:pt x="561" y="27"/>
                    <a:pt x="561" y="26"/>
                    <a:pt x="561" y="26"/>
                  </a:cubicBezTo>
                  <a:moveTo>
                    <a:pt x="561" y="26"/>
                  </a:moveTo>
                  <a:cubicBezTo>
                    <a:pt x="561" y="26"/>
                    <a:pt x="561" y="26"/>
                    <a:pt x="561" y="26"/>
                  </a:cubicBezTo>
                  <a:cubicBezTo>
                    <a:pt x="561" y="26"/>
                    <a:pt x="561" y="26"/>
                    <a:pt x="561" y="26"/>
                  </a:cubicBezTo>
                  <a:moveTo>
                    <a:pt x="561" y="25"/>
                  </a:moveTo>
                  <a:cubicBezTo>
                    <a:pt x="561" y="25"/>
                    <a:pt x="561" y="25"/>
                    <a:pt x="561" y="25"/>
                  </a:cubicBezTo>
                  <a:cubicBezTo>
                    <a:pt x="561" y="25"/>
                    <a:pt x="561" y="25"/>
                    <a:pt x="561" y="25"/>
                  </a:cubicBezTo>
                  <a:moveTo>
                    <a:pt x="561" y="24"/>
                  </a:moveTo>
                  <a:cubicBezTo>
                    <a:pt x="561" y="24"/>
                    <a:pt x="561" y="25"/>
                    <a:pt x="561" y="25"/>
                  </a:cubicBezTo>
                  <a:cubicBezTo>
                    <a:pt x="561" y="25"/>
                    <a:pt x="561" y="24"/>
                    <a:pt x="561" y="24"/>
                  </a:cubicBezTo>
                  <a:moveTo>
                    <a:pt x="593" y="0"/>
                  </a:moveTo>
                  <a:cubicBezTo>
                    <a:pt x="598" y="30"/>
                    <a:pt x="600" y="59"/>
                    <a:pt x="599" y="88"/>
                  </a:cubicBezTo>
                  <a:cubicBezTo>
                    <a:pt x="591" y="133"/>
                    <a:pt x="578" y="177"/>
                    <a:pt x="558" y="220"/>
                  </a:cubicBezTo>
                  <a:cubicBezTo>
                    <a:pt x="558" y="220"/>
                    <a:pt x="558" y="220"/>
                    <a:pt x="558" y="220"/>
                  </a:cubicBezTo>
                  <a:cubicBezTo>
                    <a:pt x="578" y="177"/>
                    <a:pt x="591" y="133"/>
                    <a:pt x="599" y="88"/>
                  </a:cubicBezTo>
                  <a:cubicBezTo>
                    <a:pt x="600" y="59"/>
                    <a:pt x="598" y="30"/>
                    <a:pt x="593" y="0"/>
                  </a:cubicBezTo>
                  <a:cubicBezTo>
                    <a:pt x="593" y="0"/>
                    <a:pt x="593" y="0"/>
                    <a:pt x="593" y="0"/>
                  </a:cubicBezTo>
                </a:path>
              </a:pathLst>
            </a:custGeom>
            <a:solidFill>
              <a:srgbClr val="F6C6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ṩļïďe">
              <a:extLst>
                <a:ext uri="{FF2B5EF4-FFF2-40B4-BE49-F238E27FC236}">
                  <a16:creationId xmlns:a16="http://schemas.microsoft.com/office/drawing/2014/main" id="{64EF8E04-883C-472E-9628-BB94E7DD2467}"/>
                </a:ext>
              </a:extLst>
            </p:cNvPr>
            <p:cNvSpPr/>
            <p:nvPr/>
          </p:nvSpPr>
          <p:spPr bwMode="auto">
            <a:xfrm>
              <a:off x="4744964" y="3047184"/>
              <a:ext cx="4246807" cy="2887245"/>
            </a:xfrm>
            <a:custGeom>
              <a:avLst/>
              <a:gdLst>
                <a:gd name="T0" fmla="*/ 508 w 838"/>
                <a:gd name="T1" fmla="*/ 558 h 570"/>
                <a:gd name="T2" fmla="*/ 508 w 838"/>
                <a:gd name="T3" fmla="*/ 558 h 570"/>
                <a:gd name="T4" fmla="*/ 531 w 838"/>
                <a:gd name="T5" fmla="*/ 549 h 570"/>
                <a:gd name="T6" fmla="*/ 531 w 838"/>
                <a:gd name="T7" fmla="*/ 549 h 570"/>
                <a:gd name="T8" fmla="*/ 532 w 838"/>
                <a:gd name="T9" fmla="*/ 548 h 570"/>
                <a:gd name="T10" fmla="*/ 534 w 838"/>
                <a:gd name="T11" fmla="*/ 548 h 570"/>
                <a:gd name="T12" fmla="*/ 534 w 838"/>
                <a:gd name="T13" fmla="*/ 547 h 570"/>
                <a:gd name="T14" fmla="*/ 535 w 838"/>
                <a:gd name="T15" fmla="*/ 547 h 570"/>
                <a:gd name="T16" fmla="*/ 536 w 838"/>
                <a:gd name="T17" fmla="*/ 547 h 570"/>
                <a:gd name="T18" fmla="*/ 536 w 838"/>
                <a:gd name="T19" fmla="*/ 546 h 570"/>
                <a:gd name="T20" fmla="*/ 537 w 838"/>
                <a:gd name="T21" fmla="*/ 546 h 570"/>
                <a:gd name="T22" fmla="*/ 405 w 838"/>
                <a:gd name="T23" fmla="*/ 522 h 570"/>
                <a:gd name="T24" fmla="*/ 352 w 838"/>
                <a:gd name="T25" fmla="*/ 481 h 570"/>
                <a:gd name="T26" fmla="*/ 701 w 838"/>
                <a:gd name="T27" fmla="*/ 402 h 570"/>
                <a:gd name="T28" fmla="*/ 724 w 838"/>
                <a:gd name="T29" fmla="*/ 33 h 570"/>
                <a:gd name="T30" fmla="*/ 670 w 838"/>
                <a:gd name="T31" fmla="*/ 101 h 570"/>
                <a:gd name="T32" fmla="*/ 658 w 838"/>
                <a:gd name="T33" fmla="*/ 108 h 570"/>
                <a:gd name="T34" fmla="*/ 662 w 838"/>
                <a:gd name="T35" fmla="*/ 120 h 570"/>
                <a:gd name="T36" fmla="*/ 650 w 838"/>
                <a:gd name="T37" fmla="*/ 115 h 570"/>
                <a:gd name="T38" fmla="*/ 645 w 838"/>
                <a:gd name="T39" fmla="*/ 128 h 570"/>
                <a:gd name="T40" fmla="*/ 638 w 838"/>
                <a:gd name="T41" fmla="*/ 141 h 570"/>
                <a:gd name="T42" fmla="*/ 631 w 838"/>
                <a:gd name="T43" fmla="*/ 153 h 570"/>
                <a:gd name="T44" fmla="*/ 623 w 838"/>
                <a:gd name="T45" fmla="*/ 163 h 570"/>
                <a:gd name="T46" fmla="*/ 716 w 838"/>
                <a:gd name="T47" fmla="*/ 379 h 570"/>
                <a:gd name="T48" fmla="*/ 744 w 838"/>
                <a:gd name="T49" fmla="*/ 333 h 570"/>
                <a:gd name="T50" fmla="*/ 818 w 838"/>
                <a:gd name="T51" fmla="*/ 69 h 570"/>
                <a:gd name="T52" fmla="*/ 755 w 838"/>
                <a:gd name="T53" fmla="*/ 265 h 570"/>
                <a:gd name="T54" fmla="*/ 759 w 838"/>
                <a:gd name="T55" fmla="*/ 73 h 570"/>
                <a:gd name="T56" fmla="*/ 758 w 838"/>
                <a:gd name="T57" fmla="*/ 72 h 570"/>
                <a:gd name="T58" fmla="*/ 758 w 838"/>
                <a:gd name="T59" fmla="*/ 71 h 570"/>
                <a:gd name="T60" fmla="*/ 758 w 838"/>
                <a:gd name="T61" fmla="*/ 69 h 570"/>
                <a:gd name="T62" fmla="*/ 324 w 838"/>
                <a:gd name="T63" fmla="*/ 249 h 570"/>
                <a:gd name="T64" fmla="*/ 371 w 838"/>
                <a:gd name="T65" fmla="*/ 216 h 570"/>
                <a:gd name="T66" fmla="*/ 313 w 838"/>
                <a:gd name="T67" fmla="*/ 231 h 570"/>
                <a:gd name="T68" fmla="*/ 333 w 838"/>
                <a:gd name="T69" fmla="*/ 179 h 570"/>
                <a:gd name="T70" fmla="*/ 313 w 838"/>
                <a:gd name="T71" fmla="*/ 231 h 570"/>
                <a:gd name="T72" fmla="*/ 285 w 838"/>
                <a:gd name="T73" fmla="*/ 173 h 570"/>
                <a:gd name="T74" fmla="*/ 287 w 838"/>
                <a:gd name="T75" fmla="*/ 231 h 570"/>
                <a:gd name="T76" fmla="*/ 113 w 838"/>
                <a:gd name="T77" fmla="*/ 181 h 570"/>
                <a:gd name="T78" fmla="*/ 162 w 838"/>
                <a:gd name="T79" fmla="*/ 296 h 570"/>
                <a:gd name="T80" fmla="*/ 320 w 838"/>
                <a:gd name="T81" fmla="*/ 563 h 570"/>
                <a:gd name="T82" fmla="*/ 261 w 838"/>
                <a:gd name="T83" fmla="*/ 278 h 570"/>
                <a:gd name="T84" fmla="*/ 275 w 838"/>
                <a:gd name="T85" fmla="*/ 301 h 570"/>
                <a:gd name="T86" fmla="*/ 309 w 838"/>
                <a:gd name="T87" fmla="*/ 283 h 570"/>
                <a:gd name="T88" fmla="*/ 347 w 838"/>
                <a:gd name="T89" fmla="*/ 466 h 570"/>
                <a:gd name="T90" fmla="*/ 367 w 838"/>
                <a:gd name="T91" fmla="*/ 452 h 570"/>
                <a:gd name="T92" fmla="*/ 506 w 838"/>
                <a:gd name="T93" fmla="*/ 244 h 570"/>
                <a:gd name="T94" fmla="*/ 377 w 838"/>
                <a:gd name="T95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38" h="570">
                  <a:moveTo>
                    <a:pt x="508" y="558"/>
                  </a:moveTo>
                  <a:cubicBezTo>
                    <a:pt x="508" y="558"/>
                    <a:pt x="507" y="558"/>
                    <a:pt x="507" y="558"/>
                  </a:cubicBezTo>
                  <a:cubicBezTo>
                    <a:pt x="507" y="558"/>
                    <a:pt x="507" y="558"/>
                    <a:pt x="507" y="558"/>
                  </a:cubicBezTo>
                  <a:cubicBezTo>
                    <a:pt x="507" y="558"/>
                    <a:pt x="508" y="558"/>
                    <a:pt x="508" y="558"/>
                  </a:cubicBezTo>
                  <a:moveTo>
                    <a:pt x="508" y="558"/>
                  </a:moveTo>
                  <a:cubicBezTo>
                    <a:pt x="508" y="558"/>
                    <a:pt x="508" y="558"/>
                    <a:pt x="508" y="558"/>
                  </a:cubicBezTo>
                  <a:cubicBezTo>
                    <a:pt x="508" y="558"/>
                    <a:pt x="508" y="558"/>
                    <a:pt x="508" y="558"/>
                  </a:cubicBezTo>
                  <a:cubicBezTo>
                    <a:pt x="508" y="558"/>
                    <a:pt x="508" y="558"/>
                    <a:pt x="508" y="558"/>
                  </a:cubicBezTo>
                  <a:moveTo>
                    <a:pt x="530" y="549"/>
                  </a:moveTo>
                  <a:cubicBezTo>
                    <a:pt x="530" y="549"/>
                    <a:pt x="530" y="549"/>
                    <a:pt x="530" y="549"/>
                  </a:cubicBezTo>
                  <a:cubicBezTo>
                    <a:pt x="530" y="549"/>
                    <a:pt x="530" y="549"/>
                    <a:pt x="530" y="549"/>
                  </a:cubicBezTo>
                  <a:moveTo>
                    <a:pt x="531" y="549"/>
                  </a:moveTo>
                  <a:cubicBezTo>
                    <a:pt x="531" y="549"/>
                    <a:pt x="531" y="549"/>
                    <a:pt x="531" y="549"/>
                  </a:cubicBezTo>
                  <a:cubicBezTo>
                    <a:pt x="531" y="549"/>
                    <a:pt x="531" y="549"/>
                    <a:pt x="531" y="549"/>
                  </a:cubicBezTo>
                  <a:moveTo>
                    <a:pt x="531" y="549"/>
                  </a:moveTo>
                  <a:cubicBezTo>
                    <a:pt x="531" y="549"/>
                    <a:pt x="531" y="549"/>
                    <a:pt x="531" y="549"/>
                  </a:cubicBezTo>
                  <a:cubicBezTo>
                    <a:pt x="531" y="549"/>
                    <a:pt x="531" y="549"/>
                    <a:pt x="531" y="549"/>
                  </a:cubicBezTo>
                  <a:moveTo>
                    <a:pt x="532" y="548"/>
                  </a:moveTo>
                  <a:cubicBezTo>
                    <a:pt x="532" y="548"/>
                    <a:pt x="532" y="548"/>
                    <a:pt x="532" y="548"/>
                  </a:cubicBezTo>
                  <a:cubicBezTo>
                    <a:pt x="532" y="548"/>
                    <a:pt x="532" y="548"/>
                    <a:pt x="532" y="548"/>
                  </a:cubicBezTo>
                  <a:moveTo>
                    <a:pt x="533" y="548"/>
                  </a:moveTo>
                  <a:cubicBezTo>
                    <a:pt x="533" y="548"/>
                    <a:pt x="533" y="548"/>
                    <a:pt x="533" y="548"/>
                  </a:cubicBezTo>
                  <a:cubicBezTo>
                    <a:pt x="533" y="548"/>
                    <a:pt x="533" y="548"/>
                    <a:pt x="533" y="548"/>
                  </a:cubicBezTo>
                  <a:moveTo>
                    <a:pt x="534" y="548"/>
                  </a:moveTo>
                  <a:cubicBezTo>
                    <a:pt x="534" y="548"/>
                    <a:pt x="533" y="548"/>
                    <a:pt x="533" y="548"/>
                  </a:cubicBezTo>
                  <a:cubicBezTo>
                    <a:pt x="533" y="548"/>
                    <a:pt x="534" y="548"/>
                    <a:pt x="534" y="548"/>
                  </a:cubicBezTo>
                  <a:moveTo>
                    <a:pt x="534" y="547"/>
                  </a:moveTo>
                  <a:cubicBezTo>
                    <a:pt x="534" y="547"/>
                    <a:pt x="534" y="547"/>
                    <a:pt x="534" y="547"/>
                  </a:cubicBezTo>
                  <a:cubicBezTo>
                    <a:pt x="534" y="547"/>
                    <a:pt x="534" y="547"/>
                    <a:pt x="534" y="547"/>
                  </a:cubicBezTo>
                  <a:moveTo>
                    <a:pt x="535" y="547"/>
                  </a:moveTo>
                  <a:cubicBezTo>
                    <a:pt x="535" y="547"/>
                    <a:pt x="535" y="547"/>
                    <a:pt x="535" y="547"/>
                  </a:cubicBezTo>
                  <a:cubicBezTo>
                    <a:pt x="535" y="547"/>
                    <a:pt x="535" y="547"/>
                    <a:pt x="535" y="547"/>
                  </a:cubicBezTo>
                  <a:moveTo>
                    <a:pt x="535" y="547"/>
                  </a:moveTo>
                  <a:cubicBezTo>
                    <a:pt x="535" y="547"/>
                    <a:pt x="535" y="547"/>
                    <a:pt x="535" y="547"/>
                  </a:cubicBezTo>
                  <a:cubicBezTo>
                    <a:pt x="535" y="547"/>
                    <a:pt x="535" y="547"/>
                    <a:pt x="535" y="547"/>
                  </a:cubicBezTo>
                  <a:moveTo>
                    <a:pt x="536" y="547"/>
                  </a:moveTo>
                  <a:cubicBezTo>
                    <a:pt x="536" y="547"/>
                    <a:pt x="536" y="547"/>
                    <a:pt x="536" y="547"/>
                  </a:cubicBezTo>
                  <a:cubicBezTo>
                    <a:pt x="536" y="547"/>
                    <a:pt x="536" y="547"/>
                    <a:pt x="536" y="547"/>
                  </a:cubicBezTo>
                  <a:moveTo>
                    <a:pt x="537" y="546"/>
                  </a:moveTo>
                  <a:cubicBezTo>
                    <a:pt x="537" y="546"/>
                    <a:pt x="536" y="546"/>
                    <a:pt x="536" y="546"/>
                  </a:cubicBezTo>
                  <a:cubicBezTo>
                    <a:pt x="536" y="546"/>
                    <a:pt x="537" y="546"/>
                    <a:pt x="537" y="546"/>
                  </a:cubicBezTo>
                  <a:moveTo>
                    <a:pt x="537" y="546"/>
                  </a:moveTo>
                  <a:cubicBezTo>
                    <a:pt x="537" y="546"/>
                    <a:pt x="537" y="546"/>
                    <a:pt x="537" y="546"/>
                  </a:cubicBezTo>
                  <a:cubicBezTo>
                    <a:pt x="537" y="546"/>
                    <a:pt x="537" y="546"/>
                    <a:pt x="537" y="546"/>
                  </a:cubicBezTo>
                  <a:moveTo>
                    <a:pt x="538" y="546"/>
                  </a:moveTo>
                  <a:cubicBezTo>
                    <a:pt x="538" y="546"/>
                    <a:pt x="537" y="546"/>
                    <a:pt x="537" y="546"/>
                  </a:cubicBezTo>
                  <a:cubicBezTo>
                    <a:pt x="537" y="546"/>
                    <a:pt x="538" y="546"/>
                    <a:pt x="538" y="546"/>
                  </a:cubicBezTo>
                  <a:moveTo>
                    <a:pt x="405" y="522"/>
                  </a:moveTo>
                  <a:cubicBezTo>
                    <a:pt x="404" y="522"/>
                    <a:pt x="404" y="522"/>
                    <a:pt x="404" y="522"/>
                  </a:cubicBezTo>
                  <a:cubicBezTo>
                    <a:pt x="405" y="522"/>
                    <a:pt x="405" y="522"/>
                    <a:pt x="405" y="522"/>
                  </a:cubicBezTo>
                  <a:cubicBezTo>
                    <a:pt x="405" y="522"/>
                    <a:pt x="405" y="522"/>
                    <a:pt x="405" y="522"/>
                  </a:cubicBezTo>
                  <a:moveTo>
                    <a:pt x="352" y="481"/>
                  </a:moveTo>
                  <a:cubicBezTo>
                    <a:pt x="352" y="481"/>
                    <a:pt x="352" y="481"/>
                    <a:pt x="352" y="481"/>
                  </a:cubicBezTo>
                  <a:cubicBezTo>
                    <a:pt x="352" y="481"/>
                    <a:pt x="352" y="481"/>
                    <a:pt x="352" y="481"/>
                  </a:cubicBezTo>
                  <a:cubicBezTo>
                    <a:pt x="352" y="481"/>
                    <a:pt x="352" y="481"/>
                    <a:pt x="352" y="481"/>
                  </a:cubicBezTo>
                  <a:moveTo>
                    <a:pt x="701" y="402"/>
                  </a:moveTo>
                  <a:cubicBezTo>
                    <a:pt x="701" y="402"/>
                    <a:pt x="701" y="402"/>
                    <a:pt x="701" y="402"/>
                  </a:cubicBezTo>
                  <a:cubicBezTo>
                    <a:pt x="701" y="402"/>
                    <a:pt x="701" y="402"/>
                    <a:pt x="701" y="402"/>
                  </a:cubicBezTo>
                  <a:moveTo>
                    <a:pt x="731" y="8"/>
                  </a:moveTo>
                  <a:cubicBezTo>
                    <a:pt x="729" y="17"/>
                    <a:pt x="727" y="25"/>
                    <a:pt x="724" y="33"/>
                  </a:cubicBezTo>
                  <a:cubicBezTo>
                    <a:pt x="722" y="37"/>
                    <a:pt x="720" y="41"/>
                    <a:pt x="718" y="45"/>
                  </a:cubicBezTo>
                  <a:cubicBezTo>
                    <a:pt x="712" y="57"/>
                    <a:pt x="705" y="67"/>
                    <a:pt x="697" y="76"/>
                  </a:cubicBezTo>
                  <a:cubicBezTo>
                    <a:pt x="696" y="78"/>
                    <a:pt x="695" y="79"/>
                    <a:pt x="693" y="80"/>
                  </a:cubicBezTo>
                  <a:cubicBezTo>
                    <a:pt x="685" y="89"/>
                    <a:pt x="677" y="96"/>
                    <a:pt x="670" y="101"/>
                  </a:cubicBezTo>
                  <a:cubicBezTo>
                    <a:pt x="674" y="103"/>
                    <a:pt x="679" y="107"/>
                    <a:pt x="682" y="110"/>
                  </a:cubicBezTo>
                  <a:cubicBezTo>
                    <a:pt x="693" y="122"/>
                    <a:pt x="693" y="139"/>
                    <a:pt x="693" y="139"/>
                  </a:cubicBezTo>
                  <a:cubicBezTo>
                    <a:pt x="693" y="139"/>
                    <a:pt x="683" y="119"/>
                    <a:pt x="671" y="112"/>
                  </a:cubicBezTo>
                  <a:cubicBezTo>
                    <a:pt x="666" y="110"/>
                    <a:pt x="662" y="109"/>
                    <a:pt x="658" y="108"/>
                  </a:cubicBezTo>
                  <a:cubicBezTo>
                    <a:pt x="658" y="108"/>
                    <a:pt x="658" y="108"/>
                    <a:pt x="658" y="108"/>
                  </a:cubicBezTo>
                  <a:cubicBezTo>
                    <a:pt x="661" y="110"/>
                    <a:pt x="665" y="113"/>
                    <a:pt x="668" y="119"/>
                  </a:cubicBezTo>
                  <a:cubicBezTo>
                    <a:pt x="672" y="128"/>
                    <a:pt x="671" y="138"/>
                    <a:pt x="671" y="138"/>
                  </a:cubicBezTo>
                  <a:cubicBezTo>
                    <a:pt x="671" y="138"/>
                    <a:pt x="667" y="125"/>
                    <a:pt x="662" y="120"/>
                  </a:cubicBezTo>
                  <a:cubicBezTo>
                    <a:pt x="658" y="116"/>
                    <a:pt x="655" y="113"/>
                    <a:pt x="653" y="111"/>
                  </a:cubicBezTo>
                  <a:cubicBezTo>
                    <a:pt x="652" y="112"/>
                    <a:pt x="651" y="112"/>
                    <a:pt x="651" y="112"/>
                  </a:cubicBezTo>
                  <a:cubicBezTo>
                    <a:pt x="651" y="112"/>
                    <a:pt x="651" y="112"/>
                    <a:pt x="651" y="112"/>
                  </a:cubicBezTo>
                  <a:cubicBezTo>
                    <a:pt x="651" y="113"/>
                    <a:pt x="651" y="114"/>
                    <a:pt x="650" y="115"/>
                  </a:cubicBezTo>
                  <a:cubicBezTo>
                    <a:pt x="650" y="116"/>
                    <a:pt x="650" y="117"/>
                    <a:pt x="649" y="118"/>
                  </a:cubicBezTo>
                  <a:cubicBezTo>
                    <a:pt x="649" y="119"/>
                    <a:pt x="648" y="120"/>
                    <a:pt x="648" y="121"/>
                  </a:cubicBezTo>
                  <a:cubicBezTo>
                    <a:pt x="648" y="122"/>
                    <a:pt x="647" y="123"/>
                    <a:pt x="647" y="124"/>
                  </a:cubicBezTo>
                  <a:cubicBezTo>
                    <a:pt x="646" y="125"/>
                    <a:pt x="646" y="126"/>
                    <a:pt x="645" y="128"/>
                  </a:cubicBezTo>
                  <a:cubicBezTo>
                    <a:pt x="645" y="128"/>
                    <a:pt x="645" y="129"/>
                    <a:pt x="644" y="130"/>
                  </a:cubicBezTo>
                  <a:cubicBezTo>
                    <a:pt x="643" y="132"/>
                    <a:pt x="642" y="134"/>
                    <a:pt x="641" y="136"/>
                  </a:cubicBezTo>
                  <a:cubicBezTo>
                    <a:pt x="641" y="136"/>
                    <a:pt x="641" y="137"/>
                    <a:pt x="640" y="138"/>
                  </a:cubicBezTo>
                  <a:cubicBezTo>
                    <a:pt x="639" y="139"/>
                    <a:pt x="639" y="140"/>
                    <a:pt x="638" y="141"/>
                  </a:cubicBezTo>
                  <a:cubicBezTo>
                    <a:pt x="638" y="142"/>
                    <a:pt x="637" y="143"/>
                    <a:pt x="636" y="144"/>
                  </a:cubicBezTo>
                  <a:cubicBezTo>
                    <a:pt x="636" y="145"/>
                    <a:pt x="635" y="146"/>
                    <a:pt x="635" y="147"/>
                  </a:cubicBezTo>
                  <a:cubicBezTo>
                    <a:pt x="634" y="148"/>
                    <a:pt x="633" y="149"/>
                    <a:pt x="633" y="150"/>
                  </a:cubicBezTo>
                  <a:cubicBezTo>
                    <a:pt x="632" y="151"/>
                    <a:pt x="631" y="152"/>
                    <a:pt x="631" y="153"/>
                  </a:cubicBezTo>
                  <a:cubicBezTo>
                    <a:pt x="630" y="154"/>
                    <a:pt x="629" y="155"/>
                    <a:pt x="629" y="156"/>
                  </a:cubicBezTo>
                  <a:cubicBezTo>
                    <a:pt x="628" y="157"/>
                    <a:pt x="627" y="158"/>
                    <a:pt x="627" y="158"/>
                  </a:cubicBezTo>
                  <a:cubicBezTo>
                    <a:pt x="626" y="159"/>
                    <a:pt x="625" y="160"/>
                    <a:pt x="624" y="161"/>
                  </a:cubicBezTo>
                  <a:cubicBezTo>
                    <a:pt x="624" y="162"/>
                    <a:pt x="623" y="163"/>
                    <a:pt x="623" y="163"/>
                  </a:cubicBezTo>
                  <a:cubicBezTo>
                    <a:pt x="626" y="229"/>
                    <a:pt x="626" y="229"/>
                    <a:pt x="626" y="229"/>
                  </a:cubicBezTo>
                  <a:cubicBezTo>
                    <a:pt x="681" y="263"/>
                    <a:pt x="681" y="263"/>
                    <a:pt x="681" y="263"/>
                  </a:cubicBezTo>
                  <a:cubicBezTo>
                    <a:pt x="712" y="283"/>
                    <a:pt x="728" y="320"/>
                    <a:pt x="721" y="355"/>
                  </a:cubicBezTo>
                  <a:cubicBezTo>
                    <a:pt x="716" y="379"/>
                    <a:pt x="716" y="379"/>
                    <a:pt x="716" y="379"/>
                  </a:cubicBezTo>
                  <a:cubicBezTo>
                    <a:pt x="712" y="384"/>
                    <a:pt x="709" y="390"/>
                    <a:pt x="705" y="395"/>
                  </a:cubicBezTo>
                  <a:cubicBezTo>
                    <a:pt x="719" y="375"/>
                    <a:pt x="733" y="354"/>
                    <a:pt x="744" y="333"/>
                  </a:cubicBezTo>
                  <a:cubicBezTo>
                    <a:pt x="744" y="333"/>
                    <a:pt x="744" y="333"/>
                    <a:pt x="744" y="333"/>
                  </a:cubicBezTo>
                  <a:cubicBezTo>
                    <a:pt x="744" y="333"/>
                    <a:pt x="744" y="333"/>
                    <a:pt x="744" y="333"/>
                  </a:cubicBezTo>
                  <a:cubicBezTo>
                    <a:pt x="736" y="349"/>
                    <a:pt x="726" y="366"/>
                    <a:pt x="716" y="381"/>
                  </a:cubicBezTo>
                  <a:cubicBezTo>
                    <a:pt x="708" y="418"/>
                    <a:pt x="708" y="418"/>
                    <a:pt x="708" y="418"/>
                  </a:cubicBezTo>
                  <a:cubicBezTo>
                    <a:pt x="663" y="472"/>
                    <a:pt x="605" y="517"/>
                    <a:pt x="538" y="546"/>
                  </a:cubicBezTo>
                  <a:cubicBezTo>
                    <a:pt x="721" y="466"/>
                    <a:pt x="838" y="272"/>
                    <a:pt x="818" y="69"/>
                  </a:cubicBezTo>
                  <a:cubicBezTo>
                    <a:pt x="809" y="61"/>
                    <a:pt x="800" y="53"/>
                    <a:pt x="790" y="45"/>
                  </a:cubicBezTo>
                  <a:cubicBezTo>
                    <a:pt x="795" y="75"/>
                    <a:pt x="797" y="104"/>
                    <a:pt x="796" y="133"/>
                  </a:cubicBezTo>
                  <a:cubicBezTo>
                    <a:pt x="788" y="178"/>
                    <a:pt x="775" y="222"/>
                    <a:pt x="755" y="265"/>
                  </a:cubicBezTo>
                  <a:cubicBezTo>
                    <a:pt x="755" y="265"/>
                    <a:pt x="755" y="265"/>
                    <a:pt x="755" y="265"/>
                  </a:cubicBezTo>
                  <a:cubicBezTo>
                    <a:pt x="755" y="265"/>
                    <a:pt x="755" y="265"/>
                    <a:pt x="755" y="265"/>
                  </a:cubicBezTo>
                  <a:cubicBezTo>
                    <a:pt x="763" y="232"/>
                    <a:pt x="767" y="197"/>
                    <a:pt x="767" y="162"/>
                  </a:cubicBezTo>
                  <a:cubicBezTo>
                    <a:pt x="767" y="133"/>
                    <a:pt x="764" y="103"/>
                    <a:pt x="759" y="74"/>
                  </a:cubicBezTo>
                  <a:cubicBezTo>
                    <a:pt x="759" y="74"/>
                    <a:pt x="759" y="73"/>
                    <a:pt x="759" y="73"/>
                  </a:cubicBezTo>
                  <a:cubicBezTo>
                    <a:pt x="759" y="73"/>
                    <a:pt x="758" y="73"/>
                    <a:pt x="758" y="73"/>
                  </a:cubicBezTo>
                  <a:cubicBezTo>
                    <a:pt x="758" y="73"/>
                    <a:pt x="758" y="73"/>
                    <a:pt x="758" y="73"/>
                  </a:cubicBezTo>
                  <a:cubicBezTo>
                    <a:pt x="758" y="72"/>
                    <a:pt x="758" y="72"/>
                    <a:pt x="758" y="72"/>
                  </a:cubicBezTo>
                  <a:cubicBezTo>
                    <a:pt x="758" y="72"/>
                    <a:pt x="758" y="72"/>
                    <a:pt x="758" y="72"/>
                  </a:cubicBezTo>
                  <a:cubicBezTo>
                    <a:pt x="758" y="72"/>
                    <a:pt x="758" y="72"/>
                    <a:pt x="758" y="72"/>
                  </a:cubicBezTo>
                  <a:cubicBezTo>
                    <a:pt x="758" y="72"/>
                    <a:pt x="758" y="71"/>
                    <a:pt x="758" y="71"/>
                  </a:cubicBezTo>
                  <a:cubicBezTo>
                    <a:pt x="758" y="71"/>
                    <a:pt x="758" y="71"/>
                    <a:pt x="758" y="71"/>
                  </a:cubicBezTo>
                  <a:cubicBezTo>
                    <a:pt x="758" y="71"/>
                    <a:pt x="758" y="71"/>
                    <a:pt x="758" y="71"/>
                  </a:cubicBezTo>
                  <a:cubicBezTo>
                    <a:pt x="758" y="71"/>
                    <a:pt x="758" y="71"/>
                    <a:pt x="758" y="70"/>
                  </a:cubicBezTo>
                  <a:cubicBezTo>
                    <a:pt x="758" y="70"/>
                    <a:pt x="758" y="70"/>
                    <a:pt x="758" y="70"/>
                  </a:cubicBezTo>
                  <a:cubicBezTo>
                    <a:pt x="758" y="70"/>
                    <a:pt x="758" y="70"/>
                    <a:pt x="758" y="70"/>
                  </a:cubicBezTo>
                  <a:cubicBezTo>
                    <a:pt x="758" y="70"/>
                    <a:pt x="758" y="69"/>
                    <a:pt x="758" y="69"/>
                  </a:cubicBezTo>
                  <a:cubicBezTo>
                    <a:pt x="754" y="51"/>
                    <a:pt x="749" y="32"/>
                    <a:pt x="743" y="14"/>
                  </a:cubicBezTo>
                  <a:cubicBezTo>
                    <a:pt x="739" y="12"/>
                    <a:pt x="735" y="10"/>
                    <a:pt x="731" y="8"/>
                  </a:cubicBezTo>
                  <a:moveTo>
                    <a:pt x="329" y="252"/>
                  </a:moveTo>
                  <a:cubicBezTo>
                    <a:pt x="327" y="252"/>
                    <a:pt x="325" y="251"/>
                    <a:pt x="324" y="249"/>
                  </a:cubicBezTo>
                  <a:cubicBezTo>
                    <a:pt x="322" y="246"/>
                    <a:pt x="322" y="242"/>
                    <a:pt x="325" y="240"/>
                  </a:cubicBezTo>
                  <a:cubicBezTo>
                    <a:pt x="361" y="214"/>
                    <a:pt x="361" y="214"/>
                    <a:pt x="361" y="214"/>
                  </a:cubicBezTo>
                  <a:cubicBezTo>
                    <a:pt x="362" y="213"/>
                    <a:pt x="364" y="213"/>
                    <a:pt x="365" y="213"/>
                  </a:cubicBezTo>
                  <a:cubicBezTo>
                    <a:pt x="367" y="213"/>
                    <a:pt x="369" y="214"/>
                    <a:pt x="371" y="216"/>
                  </a:cubicBezTo>
                  <a:cubicBezTo>
                    <a:pt x="373" y="219"/>
                    <a:pt x="372" y="223"/>
                    <a:pt x="369" y="225"/>
                  </a:cubicBezTo>
                  <a:cubicBezTo>
                    <a:pt x="333" y="251"/>
                    <a:pt x="333" y="251"/>
                    <a:pt x="333" y="251"/>
                  </a:cubicBezTo>
                  <a:cubicBezTo>
                    <a:pt x="332" y="252"/>
                    <a:pt x="331" y="252"/>
                    <a:pt x="329" y="252"/>
                  </a:cubicBezTo>
                  <a:moveTo>
                    <a:pt x="313" y="231"/>
                  </a:moveTo>
                  <a:cubicBezTo>
                    <a:pt x="312" y="231"/>
                    <a:pt x="311" y="231"/>
                    <a:pt x="310" y="231"/>
                  </a:cubicBezTo>
                  <a:cubicBezTo>
                    <a:pt x="307" y="229"/>
                    <a:pt x="306" y="225"/>
                    <a:pt x="307" y="222"/>
                  </a:cubicBezTo>
                  <a:cubicBezTo>
                    <a:pt x="327" y="182"/>
                    <a:pt x="327" y="182"/>
                    <a:pt x="327" y="182"/>
                  </a:cubicBezTo>
                  <a:cubicBezTo>
                    <a:pt x="328" y="180"/>
                    <a:pt x="331" y="179"/>
                    <a:pt x="333" y="179"/>
                  </a:cubicBezTo>
                  <a:cubicBezTo>
                    <a:pt x="334" y="179"/>
                    <a:pt x="335" y="179"/>
                    <a:pt x="336" y="179"/>
                  </a:cubicBezTo>
                  <a:cubicBezTo>
                    <a:pt x="339" y="181"/>
                    <a:pt x="341" y="185"/>
                    <a:pt x="339" y="188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318" y="230"/>
                    <a:pt x="316" y="231"/>
                    <a:pt x="313" y="231"/>
                  </a:cubicBezTo>
                  <a:moveTo>
                    <a:pt x="286" y="231"/>
                  </a:moveTo>
                  <a:cubicBezTo>
                    <a:pt x="283" y="231"/>
                    <a:pt x="280" y="228"/>
                    <a:pt x="280" y="224"/>
                  </a:cubicBezTo>
                  <a:cubicBezTo>
                    <a:pt x="278" y="180"/>
                    <a:pt x="278" y="180"/>
                    <a:pt x="278" y="180"/>
                  </a:cubicBezTo>
                  <a:cubicBezTo>
                    <a:pt x="278" y="176"/>
                    <a:pt x="281" y="173"/>
                    <a:pt x="285" y="173"/>
                  </a:cubicBezTo>
                  <a:cubicBezTo>
                    <a:pt x="285" y="173"/>
                    <a:pt x="285" y="173"/>
                    <a:pt x="285" y="173"/>
                  </a:cubicBezTo>
                  <a:cubicBezTo>
                    <a:pt x="289" y="173"/>
                    <a:pt x="292" y="176"/>
                    <a:pt x="292" y="180"/>
                  </a:cubicBezTo>
                  <a:cubicBezTo>
                    <a:pt x="293" y="224"/>
                    <a:pt x="293" y="224"/>
                    <a:pt x="293" y="224"/>
                  </a:cubicBezTo>
                  <a:cubicBezTo>
                    <a:pt x="293" y="228"/>
                    <a:pt x="290" y="231"/>
                    <a:pt x="287" y="231"/>
                  </a:cubicBezTo>
                  <a:cubicBezTo>
                    <a:pt x="287" y="231"/>
                    <a:pt x="286" y="231"/>
                    <a:pt x="286" y="231"/>
                  </a:cubicBezTo>
                  <a:moveTo>
                    <a:pt x="377" y="0"/>
                  </a:moveTo>
                  <a:cubicBezTo>
                    <a:pt x="289" y="41"/>
                    <a:pt x="219" y="113"/>
                    <a:pt x="179" y="202"/>
                  </a:cubicBezTo>
                  <a:cubicBezTo>
                    <a:pt x="161" y="189"/>
                    <a:pt x="138" y="181"/>
                    <a:pt x="113" y="181"/>
                  </a:cubicBezTo>
                  <a:cubicBezTo>
                    <a:pt x="51" y="181"/>
                    <a:pt x="0" y="231"/>
                    <a:pt x="0" y="294"/>
                  </a:cubicBezTo>
                  <a:cubicBezTo>
                    <a:pt x="0" y="294"/>
                    <a:pt x="0" y="295"/>
                    <a:pt x="0" y="296"/>
                  </a:cubicBezTo>
                  <a:cubicBezTo>
                    <a:pt x="129" y="296"/>
                    <a:pt x="129" y="296"/>
                    <a:pt x="129" y="296"/>
                  </a:cubicBezTo>
                  <a:cubicBezTo>
                    <a:pt x="162" y="296"/>
                    <a:pt x="162" y="296"/>
                    <a:pt x="162" y="296"/>
                  </a:cubicBezTo>
                  <a:cubicBezTo>
                    <a:pt x="173" y="296"/>
                    <a:pt x="182" y="302"/>
                    <a:pt x="185" y="312"/>
                  </a:cubicBezTo>
                  <a:cubicBezTo>
                    <a:pt x="277" y="570"/>
                    <a:pt x="277" y="570"/>
                    <a:pt x="277" y="570"/>
                  </a:cubicBezTo>
                  <a:cubicBezTo>
                    <a:pt x="324" y="570"/>
                    <a:pt x="324" y="570"/>
                    <a:pt x="324" y="570"/>
                  </a:cubicBezTo>
                  <a:cubicBezTo>
                    <a:pt x="322" y="568"/>
                    <a:pt x="321" y="566"/>
                    <a:pt x="320" y="563"/>
                  </a:cubicBezTo>
                  <a:cubicBezTo>
                    <a:pt x="312" y="557"/>
                    <a:pt x="305" y="548"/>
                    <a:pt x="302" y="538"/>
                  </a:cubicBezTo>
                  <a:cubicBezTo>
                    <a:pt x="241" y="343"/>
                    <a:pt x="241" y="343"/>
                    <a:pt x="241" y="343"/>
                  </a:cubicBezTo>
                  <a:cubicBezTo>
                    <a:pt x="237" y="328"/>
                    <a:pt x="243" y="312"/>
                    <a:pt x="257" y="305"/>
                  </a:cubicBezTo>
                  <a:cubicBezTo>
                    <a:pt x="259" y="297"/>
                    <a:pt x="262" y="285"/>
                    <a:pt x="261" y="278"/>
                  </a:cubicBezTo>
                  <a:cubicBezTo>
                    <a:pt x="260" y="266"/>
                    <a:pt x="250" y="262"/>
                    <a:pt x="256" y="253"/>
                  </a:cubicBezTo>
                  <a:cubicBezTo>
                    <a:pt x="257" y="251"/>
                    <a:pt x="259" y="250"/>
                    <a:pt x="261" y="250"/>
                  </a:cubicBezTo>
                  <a:cubicBezTo>
                    <a:pt x="267" y="250"/>
                    <a:pt x="275" y="258"/>
                    <a:pt x="277" y="268"/>
                  </a:cubicBezTo>
                  <a:cubicBezTo>
                    <a:pt x="279" y="279"/>
                    <a:pt x="276" y="296"/>
                    <a:pt x="275" y="301"/>
                  </a:cubicBezTo>
                  <a:cubicBezTo>
                    <a:pt x="279" y="302"/>
                    <a:pt x="283" y="303"/>
                    <a:pt x="286" y="305"/>
                  </a:cubicBezTo>
                  <a:cubicBezTo>
                    <a:pt x="296" y="287"/>
                    <a:pt x="296" y="287"/>
                    <a:pt x="296" y="287"/>
                  </a:cubicBezTo>
                  <a:cubicBezTo>
                    <a:pt x="298" y="284"/>
                    <a:pt x="301" y="282"/>
                    <a:pt x="304" y="282"/>
                  </a:cubicBezTo>
                  <a:cubicBezTo>
                    <a:pt x="306" y="282"/>
                    <a:pt x="308" y="282"/>
                    <a:pt x="309" y="283"/>
                  </a:cubicBezTo>
                  <a:cubicBezTo>
                    <a:pt x="314" y="285"/>
                    <a:pt x="315" y="291"/>
                    <a:pt x="313" y="296"/>
                  </a:cubicBezTo>
                  <a:cubicBezTo>
                    <a:pt x="301" y="318"/>
                    <a:pt x="301" y="318"/>
                    <a:pt x="301" y="318"/>
                  </a:cubicBezTo>
                  <a:cubicBezTo>
                    <a:pt x="302" y="320"/>
                    <a:pt x="303" y="322"/>
                    <a:pt x="303" y="324"/>
                  </a:cubicBezTo>
                  <a:cubicBezTo>
                    <a:pt x="347" y="466"/>
                    <a:pt x="347" y="466"/>
                    <a:pt x="347" y="466"/>
                  </a:cubicBezTo>
                  <a:cubicBezTo>
                    <a:pt x="359" y="452"/>
                    <a:pt x="359" y="452"/>
                    <a:pt x="359" y="452"/>
                  </a:cubicBezTo>
                  <a:cubicBezTo>
                    <a:pt x="360" y="450"/>
                    <a:pt x="361" y="450"/>
                    <a:pt x="363" y="450"/>
                  </a:cubicBezTo>
                  <a:cubicBezTo>
                    <a:pt x="364" y="450"/>
                    <a:pt x="365" y="450"/>
                    <a:pt x="366" y="451"/>
                  </a:cubicBezTo>
                  <a:cubicBezTo>
                    <a:pt x="367" y="452"/>
                    <a:pt x="367" y="452"/>
                    <a:pt x="367" y="452"/>
                  </a:cubicBezTo>
                  <a:cubicBezTo>
                    <a:pt x="445" y="293"/>
                    <a:pt x="445" y="293"/>
                    <a:pt x="445" y="293"/>
                  </a:cubicBezTo>
                  <a:cubicBezTo>
                    <a:pt x="446" y="288"/>
                    <a:pt x="446" y="288"/>
                    <a:pt x="446" y="288"/>
                  </a:cubicBezTo>
                  <a:cubicBezTo>
                    <a:pt x="496" y="252"/>
                    <a:pt x="496" y="252"/>
                    <a:pt x="496" y="252"/>
                  </a:cubicBezTo>
                  <a:cubicBezTo>
                    <a:pt x="506" y="244"/>
                    <a:pt x="506" y="244"/>
                    <a:pt x="506" y="244"/>
                  </a:cubicBezTo>
                  <a:cubicBezTo>
                    <a:pt x="505" y="228"/>
                    <a:pt x="505" y="228"/>
                    <a:pt x="505" y="228"/>
                  </a:cubicBezTo>
                  <a:cubicBezTo>
                    <a:pt x="502" y="228"/>
                    <a:pt x="499" y="229"/>
                    <a:pt x="496" y="229"/>
                  </a:cubicBezTo>
                  <a:cubicBezTo>
                    <a:pt x="426" y="229"/>
                    <a:pt x="399" y="163"/>
                    <a:pt x="386" y="94"/>
                  </a:cubicBezTo>
                  <a:cubicBezTo>
                    <a:pt x="379" y="55"/>
                    <a:pt x="377" y="24"/>
                    <a:pt x="377" y="0"/>
                  </a:cubicBezTo>
                </a:path>
              </a:pathLst>
            </a:custGeom>
            <a:solidFill>
              <a:srgbClr val="F16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iṥľiďé">
              <a:extLst>
                <a:ext uri="{FF2B5EF4-FFF2-40B4-BE49-F238E27FC236}">
                  <a16:creationId xmlns:a16="http://schemas.microsoft.com/office/drawing/2014/main" id="{9B725EC5-DD88-46B2-8A27-FA1700EF1BAB}"/>
                </a:ext>
              </a:extLst>
            </p:cNvPr>
            <p:cNvSpPr/>
            <p:nvPr/>
          </p:nvSpPr>
          <p:spPr bwMode="auto">
            <a:xfrm>
              <a:off x="7315465" y="5846714"/>
              <a:ext cx="70659" cy="26802"/>
            </a:xfrm>
            <a:custGeom>
              <a:avLst/>
              <a:gdLst>
                <a:gd name="T0" fmla="*/ 0 w 14"/>
                <a:gd name="T1" fmla="*/ 5 h 5"/>
                <a:gd name="T2" fmla="*/ 0 w 14"/>
                <a:gd name="T3" fmla="*/ 5 h 5"/>
                <a:gd name="T4" fmla="*/ 0 w 14"/>
                <a:gd name="T5" fmla="*/ 5 h 5"/>
                <a:gd name="T6" fmla="*/ 0 w 14"/>
                <a:gd name="T7" fmla="*/ 5 h 5"/>
                <a:gd name="T8" fmla="*/ 1 w 14"/>
                <a:gd name="T9" fmla="*/ 5 h 5"/>
                <a:gd name="T10" fmla="*/ 1 w 14"/>
                <a:gd name="T11" fmla="*/ 5 h 5"/>
                <a:gd name="T12" fmla="*/ 1 w 14"/>
                <a:gd name="T13" fmla="*/ 5 h 5"/>
                <a:gd name="T14" fmla="*/ 1 w 14"/>
                <a:gd name="T15" fmla="*/ 5 h 5"/>
                <a:gd name="T16" fmla="*/ 2 w 14"/>
                <a:gd name="T17" fmla="*/ 4 h 5"/>
                <a:gd name="T18" fmla="*/ 1 w 14"/>
                <a:gd name="T19" fmla="*/ 5 h 5"/>
                <a:gd name="T20" fmla="*/ 2 w 14"/>
                <a:gd name="T21" fmla="*/ 4 h 5"/>
                <a:gd name="T22" fmla="*/ 2 w 14"/>
                <a:gd name="T23" fmla="*/ 4 h 5"/>
                <a:gd name="T24" fmla="*/ 2 w 14"/>
                <a:gd name="T25" fmla="*/ 4 h 5"/>
                <a:gd name="T26" fmla="*/ 2 w 14"/>
                <a:gd name="T27" fmla="*/ 4 h 5"/>
                <a:gd name="T28" fmla="*/ 2 w 14"/>
                <a:gd name="T29" fmla="*/ 4 h 5"/>
                <a:gd name="T30" fmla="*/ 2 w 14"/>
                <a:gd name="T31" fmla="*/ 4 h 5"/>
                <a:gd name="T32" fmla="*/ 3 w 14"/>
                <a:gd name="T33" fmla="*/ 4 h 5"/>
                <a:gd name="T34" fmla="*/ 3 w 14"/>
                <a:gd name="T35" fmla="*/ 4 h 5"/>
                <a:gd name="T36" fmla="*/ 3 w 14"/>
                <a:gd name="T37" fmla="*/ 4 h 5"/>
                <a:gd name="T38" fmla="*/ 3 w 14"/>
                <a:gd name="T39" fmla="*/ 4 h 5"/>
                <a:gd name="T40" fmla="*/ 3 w 14"/>
                <a:gd name="T41" fmla="*/ 4 h 5"/>
                <a:gd name="T42" fmla="*/ 3 w 14"/>
                <a:gd name="T43" fmla="*/ 4 h 5"/>
                <a:gd name="T44" fmla="*/ 3 w 14"/>
                <a:gd name="T45" fmla="*/ 4 h 5"/>
                <a:gd name="T46" fmla="*/ 3 w 14"/>
                <a:gd name="T47" fmla="*/ 4 h 5"/>
                <a:gd name="T48" fmla="*/ 3 w 14"/>
                <a:gd name="T49" fmla="*/ 4 h 5"/>
                <a:gd name="T50" fmla="*/ 3 w 14"/>
                <a:gd name="T51" fmla="*/ 4 h 5"/>
                <a:gd name="T52" fmla="*/ 4 w 14"/>
                <a:gd name="T53" fmla="*/ 4 h 5"/>
                <a:gd name="T54" fmla="*/ 4 w 14"/>
                <a:gd name="T55" fmla="*/ 4 h 5"/>
                <a:gd name="T56" fmla="*/ 4 w 14"/>
                <a:gd name="T57" fmla="*/ 4 h 5"/>
                <a:gd name="T58" fmla="*/ 5 w 14"/>
                <a:gd name="T59" fmla="*/ 3 h 5"/>
                <a:gd name="T60" fmla="*/ 4 w 14"/>
                <a:gd name="T61" fmla="*/ 3 h 5"/>
                <a:gd name="T62" fmla="*/ 5 w 14"/>
                <a:gd name="T63" fmla="*/ 3 h 5"/>
                <a:gd name="T64" fmla="*/ 5 w 14"/>
                <a:gd name="T65" fmla="*/ 3 h 5"/>
                <a:gd name="T66" fmla="*/ 5 w 14"/>
                <a:gd name="T67" fmla="*/ 3 h 5"/>
                <a:gd name="T68" fmla="*/ 5 w 14"/>
                <a:gd name="T69" fmla="*/ 3 h 5"/>
                <a:gd name="T70" fmla="*/ 6 w 14"/>
                <a:gd name="T71" fmla="*/ 3 h 5"/>
                <a:gd name="T72" fmla="*/ 6 w 14"/>
                <a:gd name="T73" fmla="*/ 3 h 5"/>
                <a:gd name="T74" fmla="*/ 6 w 14"/>
                <a:gd name="T75" fmla="*/ 3 h 5"/>
                <a:gd name="T76" fmla="*/ 6 w 14"/>
                <a:gd name="T77" fmla="*/ 3 h 5"/>
                <a:gd name="T78" fmla="*/ 6 w 14"/>
                <a:gd name="T79" fmla="*/ 3 h 5"/>
                <a:gd name="T80" fmla="*/ 6 w 14"/>
                <a:gd name="T81" fmla="*/ 3 h 5"/>
                <a:gd name="T82" fmla="*/ 7 w 14"/>
                <a:gd name="T83" fmla="*/ 2 h 5"/>
                <a:gd name="T84" fmla="*/ 7 w 14"/>
                <a:gd name="T85" fmla="*/ 3 h 5"/>
                <a:gd name="T86" fmla="*/ 7 w 14"/>
                <a:gd name="T87" fmla="*/ 2 h 5"/>
                <a:gd name="T88" fmla="*/ 8 w 14"/>
                <a:gd name="T89" fmla="*/ 2 h 5"/>
                <a:gd name="T90" fmla="*/ 7 w 14"/>
                <a:gd name="T91" fmla="*/ 2 h 5"/>
                <a:gd name="T92" fmla="*/ 8 w 14"/>
                <a:gd name="T93" fmla="*/ 2 h 5"/>
                <a:gd name="T94" fmla="*/ 12 w 14"/>
                <a:gd name="T95" fmla="*/ 1 h 5"/>
                <a:gd name="T96" fmla="*/ 12 w 14"/>
                <a:gd name="T97" fmla="*/ 1 h 5"/>
                <a:gd name="T98" fmla="*/ 12 w 14"/>
                <a:gd name="T99" fmla="*/ 1 h 5"/>
                <a:gd name="T100" fmla="*/ 12 w 14"/>
                <a:gd name="T101" fmla="*/ 1 h 5"/>
                <a:gd name="T102" fmla="*/ 12 w 14"/>
                <a:gd name="T103" fmla="*/ 1 h 5"/>
                <a:gd name="T104" fmla="*/ 12 w 14"/>
                <a:gd name="T105" fmla="*/ 1 h 5"/>
                <a:gd name="T106" fmla="*/ 13 w 14"/>
                <a:gd name="T107" fmla="*/ 0 h 5"/>
                <a:gd name="T108" fmla="*/ 13 w 14"/>
                <a:gd name="T109" fmla="*/ 0 h 5"/>
                <a:gd name="T110" fmla="*/ 13 w 14"/>
                <a:gd name="T111" fmla="*/ 0 h 5"/>
                <a:gd name="T112" fmla="*/ 13 w 14"/>
                <a:gd name="T113" fmla="*/ 0 h 5"/>
                <a:gd name="T114" fmla="*/ 13 w 14"/>
                <a:gd name="T115" fmla="*/ 0 h 5"/>
                <a:gd name="T116" fmla="*/ 13 w 14"/>
                <a:gd name="T117" fmla="*/ 0 h 5"/>
                <a:gd name="T118" fmla="*/ 14 w 14"/>
                <a:gd name="T119" fmla="*/ 0 h 5"/>
                <a:gd name="T120" fmla="*/ 14 w 14"/>
                <a:gd name="T121" fmla="*/ 0 h 5"/>
                <a:gd name="T122" fmla="*/ 14 w 14"/>
                <a:gd name="T12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moveTo>
                    <a:pt x="2" y="4"/>
                  </a:moveTo>
                  <a:cubicBezTo>
                    <a:pt x="2" y="4"/>
                    <a:pt x="1" y="5"/>
                    <a:pt x="1" y="5"/>
                  </a:cubicBezTo>
                  <a:cubicBezTo>
                    <a:pt x="1" y="5"/>
                    <a:pt x="2" y="5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moveTo>
                    <a:pt x="5" y="3"/>
                  </a:moveTo>
                  <a:cubicBezTo>
                    <a:pt x="5" y="3"/>
                    <a:pt x="5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moveTo>
                    <a:pt x="6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moveTo>
                    <a:pt x="6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moveTo>
                    <a:pt x="7" y="2"/>
                  </a:move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2"/>
                  </a:cubicBezTo>
                  <a:moveTo>
                    <a:pt x="8" y="2"/>
                  </a:move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8" y="2"/>
                    <a:pt x="8" y="2"/>
                  </a:cubicBezTo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D6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ś1íḋé">
              <a:extLst>
                <a:ext uri="{FF2B5EF4-FFF2-40B4-BE49-F238E27FC236}">
                  <a16:creationId xmlns:a16="http://schemas.microsoft.com/office/drawing/2014/main" id="{63638DAE-B3BE-4555-B8F3-7CB0987FB19A}"/>
                </a:ext>
              </a:extLst>
            </p:cNvPr>
            <p:cNvSpPr/>
            <p:nvPr/>
          </p:nvSpPr>
          <p:spPr bwMode="auto">
            <a:xfrm>
              <a:off x="4744964" y="2859575"/>
              <a:ext cx="3705905" cy="3267336"/>
            </a:xfrm>
            <a:custGeom>
              <a:avLst/>
              <a:gdLst>
                <a:gd name="T0" fmla="*/ 405 w 731"/>
                <a:gd name="T1" fmla="*/ 559 h 645"/>
                <a:gd name="T2" fmla="*/ 352 w 731"/>
                <a:gd name="T3" fmla="*/ 518 h 645"/>
                <a:gd name="T4" fmla="*/ 546 w 731"/>
                <a:gd name="T5" fmla="*/ 0 h 645"/>
                <a:gd name="T6" fmla="*/ 496 w 731"/>
                <a:gd name="T7" fmla="*/ 266 h 645"/>
                <a:gd name="T8" fmla="*/ 496 w 731"/>
                <a:gd name="T9" fmla="*/ 289 h 645"/>
                <a:gd name="T10" fmla="*/ 367 w 731"/>
                <a:gd name="T11" fmla="*/ 489 h 645"/>
                <a:gd name="T12" fmla="*/ 359 w 731"/>
                <a:gd name="T13" fmla="*/ 489 h 645"/>
                <a:gd name="T14" fmla="*/ 301 w 731"/>
                <a:gd name="T15" fmla="*/ 355 h 645"/>
                <a:gd name="T16" fmla="*/ 304 w 731"/>
                <a:gd name="T17" fmla="*/ 319 h 645"/>
                <a:gd name="T18" fmla="*/ 275 w 731"/>
                <a:gd name="T19" fmla="*/ 338 h 645"/>
                <a:gd name="T20" fmla="*/ 256 w 731"/>
                <a:gd name="T21" fmla="*/ 290 h 645"/>
                <a:gd name="T22" fmla="*/ 241 w 731"/>
                <a:gd name="T23" fmla="*/ 380 h 645"/>
                <a:gd name="T24" fmla="*/ 324 w 731"/>
                <a:gd name="T25" fmla="*/ 607 h 645"/>
                <a:gd name="T26" fmla="*/ 162 w 731"/>
                <a:gd name="T27" fmla="*/ 333 h 645"/>
                <a:gd name="T28" fmla="*/ 113 w 731"/>
                <a:gd name="T29" fmla="*/ 444 h 645"/>
                <a:gd name="T30" fmla="*/ 217 w 731"/>
                <a:gd name="T31" fmla="*/ 603 h 645"/>
                <a:gd name="T32" fmla="*/ 197 w 731"/>
                <a:gd name="T33" fmla="*/ 600 h 645"/>
                <a:gd name="T34" fmla="*/ 507 w 731"/>
                <a:gd name="T35" fmla="*/ 595 h 645"/>
                <a:gd name="T36" fmla="*/ 508 w 731"/>
                <a:gd name="T37" fmla="*/ 595 h 645"/>
                <a:gd name="T38" fmla="*/ 508 w 731"/>
                <a:gd name="T39" fmla="*/ 595 h 645"/>
                <a:gd name="T40" fmla="*/ 509 w 731"/>
                <a:gd name="T41" fmla="*/ 594 h 645"/>
                <a:gd name="T42" fmla="*/ 510 w 731"/>
                <a:gd name="T43" fmla="*/ 594 h 645"/>
                <a:gd name="T44" fmla="*/ 511 w 731"/>
                <a:gd name="T45" fmla="*/ 594 h 645"/>
                <a:gd name="T46" fmla="*/ 512 w 731"/>
                <a:gd name="T47" fmla="*/ 593 h 645"/>
                <a:gd name="T48" fmla="*/ 513 w 731"/>
                <a:gd name="T49" fmla="*/ 593 h 645"/>
                <a:gd name="T50" fmla="*/ 513 w 731"/>
                <a:gd name="T51" fmla="*/ 593 h 645"/>
                <a:gd name="T52" fmla="*/ 514 w 731"/>
                <a:gd name="T53" fmla="*/ 592 h 645"/>
                <a:gd name="T54" fmla="*/ 519 w 731"/>
                <a:gd name="T55" fmla="*/ 591 h 645"/>
                <a:gd name="T56" fmla="*/ 520 w 731"/>
                <a:gd name="T57" fmla="*/ 590 h 645"/>
                <a:gd name="T58" fmla="*/ 520 w 731"/>
                <a:gd name="T59" fmla="*/ 590 h 645"/>
                <a:gd name="T60" fmla="*/ 530 w 731"/>
                <a:gd name="T61" fmla="*/ 586 h 645"/>
                <a:gd name="T62" fmla="*/ 531 w 731"/>
                <a:gd name="T63" fmla="*/ 586 h 645"/>
                <a:gd name="T64" fmla="*/ 532 w 731"/>
                <a:gd name="T65" fmla="*/ 585 h 645"/>
                <a:gd name="T66" fmla="*/ 533 w 731"/>
                <a:gd name="T67" fmla="*/ 585 h 645"/>
                <a:gd name="T68" fmla="*/ 534 w 731"/>
                <a:gd name="T69" fmla="*/ 584 h 645"/>
                <a:gd name="T70" fmla="*/ 535 w 731"/>
                <a:gd name="T71" fmla="*/ 584 h 645"/>
                <a:gd name="T72" fmla="*/ 536 w 731"/>
                <a:gd name="T73" fmla="*/ 584 h 645"/>
                <a:gd name="T74" fmla="*/ 537 w 731"/>
                <a:gd name="T75" fmla="*/ 583 h 645"/>
                <a:gd name="T76" fmla="*/ 537 w 731"/>
                <a:gd name="T77" fmla="*/ 583 h 645"/>
                <a:gd name="T78" fmla="*/ 708 w 731"/>
                <a:gd name="T79" fmla="*/ 455 h 645"/>
                <a:gd name="T80" fmla="*/ 701 w 731"/>
                <a:gd name="T81" fmla="*/ 439 h 645"/>
                <a:gd name="T82" fmla="*/ 701 w 731"/>
                <a:gd name="T83" fmla="*/ 439 h 645"/>
                <a:gd name="T84" fmla="*/ 705 w 731"/>
                <a:gd name="T85" fmla="*/ 432 h 645"/>
                <a:gd name="T86" fmla="*/ 721 w 731"/>
                <a:gd name="T87" fmla="*/ 392 h 645"/>
                <a:gd name="T88" fmla="*/ 623 w 731"/>
                <a:gd name="T89" fmla="*/ 200 h 645"/>
                <a:gd name="T90" fmla="*/ 629 w 731"/>
                <a:gd name="T91" fmla="*/ 193 h 645"/>
                <a:gd name="T92" fmla="*/ 635 w 731"/>
                <a:gd name="T93" fmla="*/ 184 h 645"/>
                <a:gd name="T94" fmla="*/ 640 w 731"/>
                <a:gd name="T95" fmla="*/ 175 h 645"/>
                <a:gd name="T96" fmla="*/ 645 w 731"/>
                <a:gd name="T97" fmla="*/ 165 h 645"/>
                <a:gd name="T98" fmla="*/ 649 w 731"/>
                <a:gd name="T99" fmla="*/ 155 h 645"/>
                <a:gd name="T100" fmla="*/ 651 w 731"/>
                <a:gd name="T101" fmla="*/ 149 h 645"/>
                <a:gd name="T102" fmla="*/ 671 w 731"/>
                <a:gd name="T103" fmla="*/ 175 h 645"/>
                <a:gd name="T104" fmla="*/ 658 w 731"/>
                <a:gd name="T105" fmla="*/ 145 h 645"/>
                <a:gd name="T106" fmla="*/ 682 w 731"/>
                <a:gd name="T107" fmla="*/ 147 h 645"/>
                <a:gd name="T108" fmla="*/ 697 w 731"/>
                <a:gd name="T109" fmla="*/ 113 h 645"/>
                <a:gd name="T110" fmla="*/ 731 w 731"/>
                <a:gd name="T111" fmla="*/ 45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31" h="645">
                  <a:moveTo>
                    <a:pt x="405" y="559"/>
                  </a:moveTo>
                  <a:cubicBezTo>
                    <a:pt x="404" y="559"/>
                    <a:pt x="404" y="559"/>
                    <a:pt x="404" y="559"/>
                  </a:cubicBezTo>
                  <a:cubicBezTo>
                    <a:pt x="405" y="559"/>
                    <a:pt x="405" y="559"/>
                    <a:pt x="405" y="559"/>
                  </a:cubicBezTo>
                  <a:cubicBezTo>
                    <a:pt x="405" y="559"/>
                    <a:pt x="405" y="559"/>
                    <a:pt x="405" y="559"/>
                  </a:cubicBezTo>
                  <a:moveTo>
                    <a:pt x="352" y="518"/>
                  </a:moveTo>
                  <a:cubicBezTo>
                    <a:pt x="352" y="518"/>
                    <a:pt x="352" y="518"/>
                    <a:pt x="352" y="518"/>
                  </a:cubicBezTo>
                  <a:cubicBezTo>
                    <a:pt x="352" y="518"/>
                    <a:pt x="352" y="518"/>
                    <a:pt x="352" y="518"/>
                  </a:cubicBezTo>
                  <a:cubicBezTo>
                    <a:pt x="352" y="518"/>
                    <a:pt x="352" y="518"/>
                    <a:pt x="352" y="518"/>
                  </a:cubicBezTo>
                  <a:moveTo>
                    <a:pt x="546" y="0"/>
                  </a:moveTo>
                  <a:cubicBezTo>
                    <a:pt x="486" y="0"/>
                    <a:pt x="429" y="13"/>
                    <a:pt x="377" y="37"/>
                  </a:cubicBezTo>
                  <a:cubicBezTo>
                    <a:pt x="377" y="61"/>
                    <a:pt x="379" y="92"/>
                    <a:pt x="386" y="131"/>
                  </a:cubicBezTo>
                  <a:cubicBezTo>
                    <a:pt x="399" y="200"/>
                    <a:pt x="426" y="266"/>
                    <a:pt x="496" y="266"/>
                  </a:cubicBezTo>
                  <a:cubicBezTo>
                    <a:pt x="499" y="266"/>
                    <a:pt x="502" y="265"/>
                    <a:pt x="505" y="265"/>
                  </a:cubicBezTo>
                  <a:cubicBezTo>
                    <a:pt x="506" y="281"/>
                    <a:pt x="506" y="281"/>
                    <a:pt x="506" y="281"/>
                  </a:cubicBezTo>
                  <a:cubicBezTo>
                    <a:pt x="496" y="289"/>
                    <a:pt x="496" y="289"/>
                    <a:pt x="496" y="289"/>
                  </a:cubicBezTo>
                  <a:cubicBezTo>
                    <a:pt x="446" y="325"/>
                    <a:pt x="446" y="325"/>
                    <a:pt x="446" y="325"/>
                  </a:cubicBezTo>
                  <a:cubicBezTo>
                    <a:pt x="445" y="330"/>
                    <a:pt x="445" y="330"/>
                    <a:pt x="445" y="330"/>
                  </a:cubicBezTo>
                  <a:cubicBezTo>
                    <a:pt x="367" y="489"/>
                    <a:pt x="367" y="489"/>
                    <a:pt x="367" y="489"/>
                  </a:cubicBezTo>
                  <a:cubicBezTo>
                    <a:pt x="366" y="488"/>
                    <a:pt x="366" y="488"/>
                    <a:pt x="366" y="488"/>
                  </a:cubicBezTo>
                  <a:cubicBezTo>
                    <a:pt x="365" y="487"/>
                    <a:pt x="364" y="487"/>
                    <a:pt x="363" y="487"/>
                  </a:cubicBezTo>
                  <a:cubicBezTo>
                    <a:pt x="361" y="487"/>
                    <a:pt x="360" y="487"/>
                    <a:pt x="359" y="489"/>
                  </a:cubicBezTo>
                  <a:cubicBezTo>
                    <a:pt x="347" y="503"/>
                    <a:pt x="347" y="503"/>
                    <a:pt x="347" y="503"/>
                  </a:cubicBezTo>
                  <a:cubicBezTo>
                    <a:pt x="303" y="361"/>
                    <a:pt x="303" y="361"/>
                    <a:pt x="303" y="361"/>
                  </a:cubicBezTo>
                  <a:cubicBezTo>
                    <a:pt x="303" y="359"/>
                    <a:pt x="302" y="357"/>
                    <a:pt x="301" y="355"/>
                  </a:cubicBezTo>
                  <a:cubicBezTo>
                    <a:pt x="313" y="333"/>
                    <a:pt x="313" y="333"/>
                    <a:pt x="313" y="333"/>
                  </a:cubicBezTo>
                  <a:cubicBezTo>
                    <a:pt x="315" y="328"/>
                    <a:pt x="314" y="322"/>
                    <a:pt x="309" y="320"/>
                  </a:cubicBezTo>
                  <a:cubicBezTo>
                    <a:pt x="308" y="319"/>
                    <a:pt x="306" y="319"/>
                    <a:pt x="304" y="319"/>
                  </a:cubicBezTo>
                  <a:cubicBezTo>
                    <a:pt x="301" y="319"/>
                    <a:pt x="298" y="321"/>
                    <a:pt x="296" y="324"/>
                  </a:cubicBezTo>
                  <a:cubicBezTo>
                    <a:pt x="286" y="342"/>
                    <a:pt x="286" y="342"/>
                    <a:pt x="286" y="342"/>
                  </a:cubicBezTo>
                  <a:cubicBezTo>
                    <a:pt x="283" y="340"/>
                    <a:pt x="279" y="339"/>
                    <a:pt x="275" y="338"/>
                  </a:cubicBezTo>
                  <a:cubicBezTo>
                    <a:pt x="276" y="333"/>
                    <a:pt x="279" y="316"/>
                    <a:pt x="277" y="305"/>
                  </a:cubicBezTo>
                  <a:cubicBezTo>
                    <a:pt x="275" y="295"/>
                    <a:pt x="267" y="287"/>
                    <a:pt x="261" y="287"/>
                  </a:cubicBezTo>
                  <a:cubicBezTo>
                    <a:pt x="259" y="287"/>
                    <a:pt x="257" y="288"/>
                    <a:pt x="256" y="290"/>
                  </a:cubicBezTo>
                  <a:cubicBezTo>
                    <a:pt x="250" y="299"/>
                    <a:pt x="260" y="303"/>
                    <a:pt x="261" y="315"/>
                  </a:cubicBezTo>
                  <a:cubicBezTo>
                    <a:pt x="262" y="322"/>
                    <a:pt x="259" y="334"/>
                    <a:pt x="257" y="342"/>
                  </a:cubicBezTo>
                  <a:cubicBezTo>
                    <a:pt x="243" y="349"/>
                    <a:pt x="237" y="365"/>
                    <a:pt x="241" y="380"/>
                  </a:cubicBezTo>
                  <a:cubicBezTo>
                    <a:pt x="302" y="575"/>
                    <a:pt x="302" y="575"/>
                    <a:pt x="302" y="575"/>
                  </a:cubicBezTo>
                  <a:cubicBezTo>
                    <a:pt x="305" y="585"/>
                    <a:pt x="312" y="594"/>
                    <a:pt x="320" y="600"/>
                  </a:cubicBezTo>
                  <a:cubicBezTo>
                    <a:pt x="321" y="603"/>
                    <a:pt x="322" y="605"/>
                    <a:pt x="324" y="607"/>
                  </a:cubicBezTo>
                  <a:cubicBezTo>
                    <a:pt x="277" y="607"/>
                    <a:pt x="277" y="607"/>
                    <a:pt x="277" y="607"/>
                  </a:cubicBezTo>
                  <a:cubicBezTo>
                    <a:pt x="185" y="349"/>
                    <a:pt x="185" y="349"/>
                    <a:pt x="185" y="349"/>
                  </a:cubicBezTo>
                  <a:cubicBezTo>
                    <a:pt x="182" y="339"/>
                    <a:pt x="173" y="333"/>
                    <a:pt x="162" y="333"/>
                  </a:cubicBezTo>
                  <a:cubicBezTo>
                    <a:pt x="129" y="333"/>
                    <a:pt x="129" y="333"/>
                    <a:pt x="129" y="333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1" y="394"/>
                    <a:pt x="51" y="444"/>
                    <a:pt x="113" y="444"/>
                  </a:cubicBezTo>
                  <a:cubicBezTo>
                    <a:pt x="125" y="444"/>
                    <a:pt x="136" y="442"/>
                    <a:pt x="147" y="438"/>
                  </a:cubicBezTo>
                  <a:cubicBezTo>
                    <a:pt x="152" y="495"/>
                    <a:pt x="169" y="548"/>
                    <a:pt x="195" y="595"/>
                  </a:cubicBezTo>
                  <a:cubicBezTo>
                    <a:pt x="202" y="598"/>
                    <a:pt x="210" y="600"/>
                    <a:pt x="217" y="603"/>
                  </a:cubicBezTo>
                  <a:cubicBezTo>
                    <a:pt x="217" y="603"/>
                    <a:pt x="217" y="603"/>
                    <a:pt x="217" y="603"/>
                  </a:cubicBezTo>
                  <a:cubicBezTo>
                    <a:pt x="217" y="603"/>
                    <a:pt x="217" y="603"/>
                    <a:pt x="217" y="603"/>
                  </a:cubicBezTo>
                  <a:cubicBezTo>
                    <a:pt x="211" y="602"/>
                    <a:pt x="204" y="601"/>
                    <a:pt x="197" y="600"/>
                  </a:cubicBezTo>
                  <a:cubicBezTo>
                    <a:pt x="206" y="614"/>
                    <a:pt x="215" y="628"/>
                    <a:pt x="225" y="642"/>
                  </a:cubicBezTo>
                  <a:cubicBezTo>
                    <a:pt x="244" y="644"/>
                    <a:pt x="264" y="645"/>
                    <a:pt x="284" y="645"/>
                  </a:cubicBezTo>
                  <a:cubicBezTo>
                    <a:pt x="360" y="645"/>
                    <a:pt x="437" y="628"/>
                    <a:pt x="507" y="595"/>
                  </a:cubicBezTo>
                  <a:cubicBezTo>
                    <a:pt x="507" y="595"/>
                    <a:pt x="507" y="595"/>
                    <a:pt x="507" y="595"/>
                  </a:cubicBezTo>
                  <a:cubicBezTo>
                    <a:pt x="507" y="595"/>
                    <a:pt x="507" y="595"/>
                    <a:pt x="507" y="595"/>
                  </a:cubicBezTo>
                  <a:cubicBezTo>
                    <a:pt x="507" y="595"/>
                    <a:pt x="508" y="595"/>
                    <a:pt x="508" y="595"/>
                  </a:cubicBezTo>
                  <a:cubicBezTo>
                    <a:pt x="508" y="595"/>
                    <a:pt x="508" y="595"/>
                    <a:pt x="508" y="595"/>
                  </a:cubicBezTo>
                  <a:cubicBezTo>
                    <a:pt x="508" y="595"/>
                    <a:pt x="508" y="595"/>
                    <a:pt x="508" y="595"/>
                  </a:cubicBezTo>
                  <a:cubicBezTo>
                    <a:pt x="508" y="595"/>
                    <a:pt x="508" y="595"/>
                    <a:pt x="508" y="595"/>
                  </a:cubicBezTo>
                  <a:cubicBezTo>
                    <a:pt x="508" y="595"/>
                    <a:pt x="508" y="595"/>
                    <a:pt x="508" y="595"/>
                  </a:cubicBezTo>
                  <a:cubicBezTo>
                    <a:pt x="508" y="595"/>
                    <a:pt x="509" y="594"/>
                    <a:pt x="509" y="594"/>
                  </a:cubicBezTo>
                  <a:cubicBezTo>
                    <a:pt x="509" y="594"/>
                    <a:pt x="509" y="594"/>
                    <a:pt x="509" y="594"/>
                  </a:cubicBezTo>
                  <a:cubicBezTo>
                    <a:pt x="509" y="594"/>
                    <a:pt x="509" y="594"/>
                    <a:pt x="509" y="594"/>
                  </a:cubicBezTo>
                  <a:cubicBezTo>
                    <a:pt x="509" y="594"/>
                    <a:pt x="510" y="594"/>
                    <a:pt x="510" y="594"/>
                  </a:cubicBezTo>
                  <a:cubicBezTo>
                    <a:pt x="510" y="594"/>
                    <a:pt x="510" y="594"/>
                    <a:pt x="510" y="594"/>
                  </a:cubicBezTo>
                  <a:cubicBezTo>
                    <a:pt x="510" y="594"/>
                    <a:pt x="510" y="594"/>
                    <a:pt x="510" y="594"/>
                  </a:cubicBezTo>
                  <a:cubicBezTo>
                    <a:pt x="510" y="594"/>
                    <a:pt x="510" y="594"/>
                    <a:pt x="510" y="594"/>
                  </a:cubicBezTo>
                  <a:cubicBezTo>
                    <a:pt x="511" y="594"/>
                    <a:pt x="511" y="594"/>
                    <a:pt x="511" y="594"/>
                  </a:cubicBezTo>
                  <a:cubicBezTo>
                    <a:pt x="511" y="594"/>
                    <a:pt x="511" y="594"/>
                    <a:pt x="511" y="594"/>
                  </a:cubicBezTo>
                  <a:cubicBezTo>
                    <a:pt x="511" y="594"/>
                    <a:pt x="511" y="593"/>
                    <a:pt x="511" y="593"/>
                  </a:cubicBezTo>
                  <a:cubicBezTo>
                    <a:pt x="512" y="593"/>
                    <a:pt x="512" y="593"/>
                    <a:pt x="512" y="593"/>
                  </a:cubicBezTo>
                  <a:cubicBezTo>
                    <a:pt x="512" y="593"/>
                    <a:pt x="512" y="593"/>
                    <a:pt x="512" y="593"/>
                  </a:cubicBezTo>
                  <a:cubicBezTo>
                    <a:pt x="512" y="593"/>
                    <a:pt x="512" y="593"/>
                    <a:pt x="512" y="593"/>
                  </a:cubicBezTo>
                  <a:cubicBezTo>
                    <a:pt x="512" y="593"/>
                    <a:pt x="513" y="593"/>
                    <a:pt x="513" y="593"/>
                  </a:cubicBezTo>
                  <a:cubicBezTo>
                    <a:pt x="513" y="593"/>
                    <a:pt x="513" y="593"/>
                    <a:pt x="513" y="593"/>
                  </a:cubicBezTo>
                  <a:cubicBezTo>
                    <a:pt x="513" y="593"/>
                    <a:pt x="513" y="593"/>
                    <a:pt x="513" y="593"/>
                  </a:cubicBezTo>
                  <a:cubicBezTo>
                    <a:pt x="513" y="593"/>
                    <a:pt x="513" y="593"/>
                    <a:pt x="513" y="593"/>
                  </a:cubicBezTo>
                  <a:cubicBezTo>
                    <a:pt x="514" y="593"/>
                    <a:pt x="514" y="593"/>
                    <a:pt x="514" y="593"/>
                  </a:cubicBezTo>
                  <a:cubicBezTo>
                    <a:pt x="514" y="593"/>
                    <a:pt x="514" y="593"/>
                    <a:pt x="514" y="592"/>
                  </a:cubicBezTo>
                  <a:cubicBezTo>
                    <a:pt x="514" y="592"/>
                    <a:pt x="514" y="592"/>
                    <a:pt x="514" y="592"/>
                  </a:cubicBezTo>
                  <a:cubicBezTo>
                    <a:pt x="514" y="592"/>
                    <a:pt x="515" y="592"/>
                    <a:pt x="515" y="592"/>
                  </a:cubicBezTo>
                  <a:cubicBezTo>
                    <a:pt x="516" y="592"/>
                    <a:pt x="517" y="591"/>
                    <a:pt x="519" y="591"/>
                  </a:cubicBezTo>
                  <a:cubicBezTo>
                    <a:pt x="519" y="591"/>
                    <a:pt x="519" y="591"/>
                    <a:pt x="519" y="591"/>
                  </a:cubicBezTo>
                  <a:cubicBezTo>
                    <a:pt x="519" y="591"/>
                    <a:pt x="519" y="591"/>
                    <a:pt x="519" y="591"/>
                  </a:cubicBezTo>
                  <a:cubicBezTo>
                    <a:pt x="519" y="591"/>
                    <a:pt x="519" y="591"/>
                    <a:pt x="519" y="591"/>
                  </a:cubicBezTo>
                  <a:cubicBezTo>
                    <a:pt x="519" y="590"/>
                    <a:pt x="520" y="590"/>
                    <a:pt x="520" y="590"/>
                  </a:cubicBezTo>
                  <a:cubicBezTo>
                    <a:pt x="520" y="590"/>
                    <a:pt x="520" y="590"/>
                    <a:pt x="520" y="590"/>
                  </a:cubicBezTo>
                  <a:cubicBezTo>
                    <a:pt x="520" y="590"/>
                    <a:pt x="520" y="590"/>
                    <a:pt x="520" y="590"/>
                  </a:cubicBezTo>
                  <a:cubicBezTo>
                    <a:pt x="520" y="590"/>
                    <a:pt x="520" y="590"/>
                    <a:pt x="520" y="590"/>
                  </a:cubicBezTo>
                  <a:cubicBezTo>
                    <a:pt x="520" y="590"/>
                    <a:pt x="521" y="590"/>
                    <a:pt x="521" y="590"/>
                  </a:cubicBezTo>
                  <a:cubicBezTo>
                    <a:pt x="521" y="590"/>
                    <a:pt x="521" y="590"/>
                    <a:pt x="521" y="590"/>
                  </a:cubicBezTo>
                  <a:cubicBezTo>
                    <a:pt x="524" y="589"/>
                    <a:pt x="527" y="587"/>
                    <a:pt x="530" y="586"/>
                  </a:cubicBezTo>
                  <a:cubicBezTo>
                    <a:pt x="530" y="586"/>
                    <a:pt x="530" y="586"/>
                    <a:pt x="530" y="586"/>
                  </a:cubicBezTo>
                  <a:cubicBezTo>
                    <a:pt x="530" y="586"/>
                    <a:pt x="530" y="586"/>
                    <a:pt x="531" y="586"/>
                  </a:cubicBezTo>
                  <a:cubicBezTo>
                    <a:pt x="531" y="586"/>
                    <a:pt x="531" y="586"/>
                    <a:pt x="531" y="586"/>
                  </a:cubicBezTo>
                  <a:cubicBezTo>
                    <a:pt x="531" y="586"/>
                    <a:pt x="531" y="586"/>
                    <a:pt x="531" y="586"/>
                  </a:cubicBezTo>
                  <a:cubicBezTo>
                    <a:pt x="531" y="586"/>
                    <a:pt x="531" y="586"/>
                    <a:pt x="531" y="586"/>
                  </a:cubicBezTo>
                  <a:cubicBezTo>
                    <a:pt x="532" y="585"/>
                    <a:pt x="532" y="585"/>
                    <a:pt x="532" y="585"/>
                  </a:cubicBezTo>
                  <a:cubicBezTo>
                    <a:pt x="532" y="585"/>
                    <a:pt x="532" y="585"/>
                    <a:pt x="532" y="585"/>
                  </a:cubicBezTo>
                  <a:cubicBezTo>
                    <a:pt x="533" y="585"/>
                    <a:pt x="533" y="585"/>
                    <a:pt x="533" y="585"/>
                  </a:cubicBezTo>
                  <a:cubicBezTo>
                    <a:pt x="533" y="585"/>
                    <a:pt x="533" y="585"/>
                    <a:pt x="533" y="585"/>
                  </a:cubicBezTo>
                  <a:cubicBezTo>
                    <a:pt x="533" y="585"/>
                    <a:pt x="533" y="585"/>
                    <a:pt x="533" y="585"/>
                  </a:cubicBezTo>
                  <a:cubicBezTo>
                    <a:pt x="533" y="585"/>
                    <a:pt x="534" y="585"/>
                    <a:pt x="534" y="585"/>
                  </a:cubicBezTo>
                  <a:cubicBezTo>
                    <a:pt x="534" y="585"/>
                    <a:pt x="534" y="585"/>
                    <a:pt x="534" y="584"/>
                  </a:cubicBezTo>
                  <a:cubicBezTo>
                    <a:pt x="534" y="584"/>
                    <a:pt x="534" y="584"/>
                    <a:pt x="534" y="584"/>
                  </a:cubicBezTo>
                  <a:cubicBezTo>
                    <a:pt x="534" y="584"/>
                    <a:pt x="534" y="584"/>
                    <a:pt x="535" y="584"/>
                  </a:cubicBezTo>
                  <a:cubicBezTo>
                    <a:pt x="535" y="584"/>
                    <a:pt x="535" y="584"/>
                    <a:pt x="535" y="584"/>
                  </a:cubicBezTo>
                  <a:cubicBezTo>
                    <a:pt x="535" y="584"/>
                    <a:pt x="535" y="584"/>
                    <a:pt x="535" y="584"/>
                  </a:cubicBezTo>
                  <a:cubicBezTo>
                    <a:pt x="535" y="584"/>
                    <a:pt x="535" y="584"/>
                    <a:pt x="535" y="584"/>
                  </a:cubicBezTo>
                  <a:cubicBezTo>
                    <a:pt x="535" y="584"/>
                    <a:pt x="536" y="584"/>
                    <a:pt x="536" y="584"/>
                  </a:cubicBezTo>
                  <a:cubicBezTo>
                    <a:pt x="536" y="584"/>
                    <a:pt x="536" y="584"/>
                    <a:pt x="536" y="584"/>
                  </a:cubicBezTo>
                  <a:cubicBezTo>
                    <a:pt x="536" y="584"/>
                    <a:pt x="536" y="584"/>
                    <a:pt x="536" y="583"/>
                  </a:cubicBezTo>
                  <a:cubicBezTo>
                    <a:pt x="536" y="583"/>
                    <a:pt x="537" y="583"/>
                    <a:pt x="537" y="583"/>
                  </a:cubicBezTo>
                  <a:cubicBezTo>
                    <a:pt x="537" y="583"/>
                    <a:pt x="537" y="583"/>
                    <a:pt x="537" y="583"/>
                  </a:cubicBezTo>
                  <a:cubicBezTo>
                    <a:pt x="537" y="583"/>
                    <a:pt x="537" y="583"/>
                    <a:pt x="537" y="583"/>
                  </a:cubicBezTo>
                  <a:cubicBezTo>
                    <a:pt x="537" y="583"/>
                    <a:pt x="537" y="583"/>
                    <a:pt x="537" y="583"/>
                  </a:cubicBezTo>
                  <a:cubicBezTo>
                    <a:pt x="537" y="583"/>
                    <a:pt x="538" y="583"/>
                    <a:pt x="538" y="583"/>
                  </a:cubicBezTo>
                  <a:cubicBezTo>
                    <a:pt x="538" y="583"/>
                    <a:pt x="538" y="583"/>
                    <a:pt x="538" y="583"/>
                  </a:cubicBezTo>
                  <a:cubicBezTo>
                    <a:pt x="605" y="554"/>
                    <a:pt x="663" y="509"/>
                    <a:pt x="708" y="455"/>
                  </a:cubicBezTo>
                  <a:cubicBezTo>
                    <a:pt x="716" y="418"/>
                    <a:pt x="716" y="418"/>
                    <a:pt x="716" y="418"/>
                  </a:cubicBezTo>
                  <a:cubicBezTo>
                    <a:pt x="711" y="425"/>
                    <a:pt x="706" y="432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2" y="437"/>
                    <a:pt x="703" y="434"/>
                    <a:pt x="705" y="432"/>
                  </a:cubicBezTo>
                  <a:cubicBezTo>
                    <a:pt x="705" y="432"/>
                    <a:pt x="705" y="432"/>
                    <a:pt x="705" y="432"/>
                  </a:cubicBezTo>
                  <a:cubicBezTo>
                    <a:pt x="709" y="427"/>
                    <a:pt x="712" y="421"/>
                    <a:pt x="716" y="416"/>
                  </a:cubicBezTo>
                  <a:cubicBezTo>
                    <a:pt x="721" y="392"/>
                    <a:pt x="721" y="392"/>
                    <a:pt x="721" y="392"/>
                  </a:cubicBezTo>
                  <a:cubicBezTo>
                    <a:pt x="728" y="357"/>
                    <a:pt x="712" y="320"/>
                    <a:pt x="681" y="300"/>
                  </a:cubicBezTo>
                  <a:cubicBezTo>
                    <a:pt x="626" y="266"/>
                    <a:pt x="626" y="266"/>
                    <a:pt x="626" y="266"/>
                  </a:cubicBezTo>
                  <a:cubicBezTo>
                    <a:pt x="623" y="200"/>
                    <a:pt x="623" y="200"/>
                    <a:pt x="623" y="200"/>
                  </a:cubicBezTo>
                  <a:cubicBezTo>
                    <a:pt x="623" y="200"/>
                    <a:pt x="624" y="199"/>
                    <a:pt x="624" y="198"/>
                  </a:cubicBezTo>
                  <a:cubicBezTo>
                    <a:pt x="625" y="197"/>
                    <a:pt x="626" y="196"/>
                    <a:pt x="627" y="195"/>
                  </a:cubicBezTo>
                  <a:cubicBezTo>
                    <a:pt x="627" y="195"/>
                    <a:pt x="628" y="194"/>
                    <a:pt x="629" y="193"/>
                  </a:cubicBezTo>
                  <a:cubicBezTo>
                    <a:pt x="629" y="192"/>
                    <a:pt x="630" y="191"/>
                    <a:pt x="631" y="190"/>
                  </a:cubicBezTo>
                  <a:cubicBezTo>
                    <a:pt x="631" y="189"/>
                    <a:pt x="632" y="188"/>
                    <a:pt x="633" y="187"/>
                  </a:cubicBezTo>
                  <a:cubicBezTo>
                    <a:pt x="633" y="186"/>
                    <a:pt x="634" y="185"/>
                    <a:pt x="635" y="184"/>
                  </a:cubicBezTo>
                  <a:cubicBezTo>
                    <a:pt x="635" y="183"/>
                    <a:pt x="636" y="182"/>
                    <a:pt x="636" y="181"/>
                  </a:cubicBezTo>
                  <a:cubicBezTo>
                    <a:pt x="637" y="180"/>
                    <a:pt x="638" y="179"/>
                    <a:pt x="638" y="178"/>
                  </a:cubicBezTo>
                  <a:cubicBezTo>
                    <a:pt x="639" y="177"/>
                    <a:pt x="639" y="176"/>
                    <a:pt x="640" y="175"/>
                  </a:cubicBezTo>
                  <a:cubicBezTo>
                    <a:pt x="641" y="174"/>
                    <a:pt x="641" y="173"/>
                    <a:pt x="641" y="173"/>
                  </a:cubicBezTo>
                  <a:cubicBezTo>
                    <a:pt x="642" y="171"/>
                    <a:pt x="643" y="169"/>
                    <a:pt x="644" y="167"/>
                  </a:cubicBezTo>
                  <a:cubicBezTo>
                    <a:pt x="645" y="166"/>
                    <a:pt x="645" y="165"/>
                    <a:pt x="645" y="165"/>
                  </a:cubicBezTo>
                  <a:cubicBezTo>
                    <a:pt x="646" y="163"/>
                    <a:pt x="646" y="162"/>
                    <a:pt x="647" y="161"/>
                  </a:cubicBezTo>
                  <a:cubicBezTo>
                    <a:pt x="647" y="160"/>
                    <a:pt x="648" y="159"/>
                    <a:pt x="648" y="158"/>
                  </a:cubicBezTo>
                  <a:cubicBezTo>
                    <a:pt x="648" y="157"/>
                    <a:pt x="649" y="156"/>
                    <a:pt x="649" y="155"/>
                  </a:cubicBezTo>
                  <a:cubicBezTo>
                    <a:pt x="650" y="154"/>
                    <a:pt x="650" y="153"/>
                    <a:pt x="650" y="152"/>
                  </a:cubicBezTo>
                  <a:cubicBezTo>
                    <a:pt x="651" y="151"/>
                    <a:pt x="651" y="150"/>
                    <a:pt x="651" y="149"/>
                  </a:cubicBezTo>
                  <a:cubicBezTo>
                    <a:pt x="651" y="149"/>
                    <a:pt x="651" y="149"/>
                    <a:pt x="651" y="149"/>
                  </a:cubicBezTo>
                  <a:cubicBezTo>
                    <a:pt x="651" y="149"/>
                    <a:pt x="652" y="149"/>
                    <a:pt x="653" y="148"/>
                  </a:cubicBezTo>
                  <a:cubicBezTo>
                    <a:pt x="655" y="150"/>
                    <a:pt x="658" y="153"/>
                    <a:pt x="662" y="157"/>
                  </a:cubicBezTo>
                  <a:cubicBezTo>
                    <a:pt x="667" y="162"/>
                    <a:pt x="671" y="175"/>
                    <a:pt x="671" y="175"/>
                  </a:cubicBezTo>
                  <a:cubicBezTo>
                    <a:pt x="671" y="175"/>
                    <a:pt x="672" y="165"/>
                    <a:pt x="668" y="156"/>
                  </a:cubicBezTo>
                  <a:cubicBezTo>
                    <a:pt x="665" y="150"/>
                    <a:pt x="661" y="147"/>
                    <a:pt x="658" y="145"/>
                  </a:cubicBezTo>
                  <a:cubicBezTo>
                    <a:pt x="658" y="145"/>
                    <a:pt x="658" y="145"/>
                    <a:pt x="658" y="145"/>
                  </a:cubicBezTo>
                  <a:cubicBezTo>
                    <a:pt x="662" y="146"/>
                    <a:pt x="666" y="147"/>
                    <a:pt x="671" y="149"/>
                  </a:cubicBezTo>
                  <a:cubicBezTo>
                    <a:pt x="683" y="156"/>
                    <a:pt x="693" y="176"/>
                    <a:pt x="693" y="176"/>
                  </a:cubicBezTo>
                  <a:cubicBezTo>
                    <a:pt x="693" y="176"/>
                    <a:pt x="693" y="159"/>
                    <a:pt x="682" y="147"/>
                  </a:cubicBezTo>
                  <a:cubicBezTo>
                    <a:pt x="679" y="144"/>
                    <a:pt x="674" y="140"/>
                    <a:pt x="670" y="138"/>
                  </a:cubicBezTo>
                  <a:cubicBezTo>
                    <a:pt x="677" y="133"/>
                    <a:pt x="685" y="126"/>
                    <a:pt x="693" y="117"/>
                  </a:cubicBezTo>
                  <a:cubicBezTo>
                    <a:pt x="695" y="116"/>
                    <a:pt x="696" y="115"/>
                    <a:pt x="697" y="113"/>
                  </a:cubicBezTo>
                  <a:cubicBezTo>
                    <a:pt x="705" y="104"/>
                    <a:pt x="712" y="94"/>
                    <a:pt x="718" y="82"/>
                  </a:cubicBezTo>
                  <a:cubicBezTo>
                    <a:pt x="720" y="78"/>
                    <a:pt x="722" y="74"/>
                    <a:pt x="724" y="70"/>
                  </a:cubicBezTo>
                  <a:cubicBezTo>
                    <a:pt x="727" y="62"/>
                    <a:pt x="729" y="54"/>
                    <a:pt x="731" y="45"/>
                  </a:cubicBezTo>
                  <a:cubicBezTo>
                    <a:pt x="675" y="16"/>
                    <a:pt x="613" y="0"/>
                    <a:pt x="546" y="0"/>
                  </a:cubicBezTo>
                </a:path>
              </a:pathLst>
            </a:custGeom>
            <a:solidFill>
              <a:srgbClr val="D26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ï$1íḑê">
              <a:extLst>
                <a:ext uri="{FF2B5EF4-FFF2-40B4-BE49-F238E27FC236}">
                  <a16:creationId xmlns:a16="http://schemas.microsoft.com/office/drawing/2014/main" id="{5E1CA7CE-A5AD-46F5-9C10-008AF91AF4D2}"/>
                </a:ext>
              </a:extLst>
            </p:cNvPr>
            <p:cNvSpPr/>
            <p:nvPr/>
          </p:nvSpPr>
          <p:spPr bwMode="auto">
            <a:xfrm>
              <a:off x="6153257" y="3921886"/>
              <a:ext cx="75532" cy="294816"/>
            </a:xfrm>
            <a:custGeom>
              <a:avLst/>
              <a:gdLst>
                <a:gd name="T0" fmla="*/ 7 w 15"/>
                <a:gd name="T1" fmla="*/ 0 h 58"/>
                <a:gd name="T2" fmla="*/ 7 w 15"/>
                <a:gd name="T3" fmla="*/ 0 h 58"/>
                <a:gd name="T4" fmla="*/ 0 w 15"/>
                <a:gd name="T5" fmla="*/ 7 h 58"/>
                <a:gd name="T6" fmla="*/ 2 w 15"/>
                <a:gd name="T7" fmla="*/ 51 h 58"/>
                <a:gd name="T8" fmla="*/ 8 w 15"/>
                <a:gd name="T9" fmla="*/ 58 h 58"/>
                <a:gd name="T10" fmla="*/ 9 w 15"/>
                <a:gd name="T11" fmla="*/ 58 h 58"/>
                <a:gd name="T12" fmla="*/ 15 w 15"/>
                <a:gd name="T13" fmla="*/ 51 h 58"/>
                <a:gd name="T14" fmla="*/ 14 w 15"/>
                <a:gd name="T15" fmla="*/ 7 h 58"/>
                <a:gd name="T16" fmla="*/ 7 w 15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58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5"/>
                    <a:pt x="5" y="58"/>
                    <a:pt x="8" y="58"/>
                  </a:cubicBezTo>
                  <a:cubicBezTo>
                    <a:pt x="8" y="58"/>
                    <a:pt x="9" y="58"/>
                    <a:pt x="9" y="58"/>
                  </a:cubicBezTo>
                  <a:cubicBezTo>
                    <a:pt x="12" y="58"/>
                    <a:pt x="15" y="55"/>
                    <a:pt x="15" y="51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</a:path>
              </a:pathLst>
            </a:custGeom>
            <a:solidFill>
              <a:srgbClr val="D26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íŝlïḍe">
              <a:extLst>
                <a:ext uri="{FF2B5EF4-FFF2-40B4-BE49-F238E27FC236}">
                  <a16:creationId xmlns:a16="http://schemas.microsoft.com/office/drawing/2014/main" id="{4613B97F-E87A-4394-B48C-2F89ADAA201A}"/>
                </a:ext>
              </a:extLst>
            </p:cNvPr>
            <p:cNvSpPr/>
            <p:nvPr/>
          </p:nvSpPr>
          <p:spPr bwMode="auto">
            <a:xfrm>
              <a:off x="6377414" y="4126551"/>
              <a:ext cx="258268" cy="197357"/>
            </a:xfrm>
            <a:custGeom>
              <a:avLst/>
              <a:gdLst>
                <a:gd name="T0" fmla="*/ 43 w 51"/>
                <a:gd name="T1" fmla="*/ 0 h 39"/>
                <a:gd name="T2" fmla="*/ 39 w 51"/>
                <a:gd name="T3" fmla="*/ 1 h 39"/>
                <a:gd name="T4" fmla="*/ 3 w 51"/>
                <a:gd name="T5" fmla="*/ 27 h 39"/>
                <a:gd name="T6" fmla="*/ 2 w 51"/>
                <a:gd name="T7" fmla="*/ 36 h 39"/>
                <a:gd name="T8" fmla="*/ 7 w 51"/>
                <a:gd name="T9" fmla="*/ 39 h 39"/>
                <a:gd name="T10" fmla="*/ 11 w 51"/>
                <a:gd name="T11" fmla="*/ 38 h 39"/>
                <a:gd name="T12" fmla="*/ 47 w 51"/>
                <a:gd name="T13" fmla="*/ 12 h 39"/>
                <a:gd name="T14" fmla="*/ 49 w 51"/>
                <a:gd name="T15" fmla="*/ 3 h 39"/>
                <a:gd name="T16" fmla="*/ 43 w 51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9">
                  <a:moveTo>
                    <a:pt x="43" y="0"/>
                  </a:moveTo>
                  <a:cubicBezTo>
                    <a:pt x="42" y="0"/>
                    <a:pt x="40" y="0"/>
                    <a:pt x="39" y="1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0" y="29"/>
                    <a:pt x="0" y="33"/>
                    <a:pt x="2" y="36"/>
                  </a:cubicBezTo>
                  <a:cubicBezTo>
                    <a:pt x="3" y="38"/>
                    <a:pt x="5" y="39"/>
                    <a:pt x="7" y="39"/>
                  </a:cubicBezTo>
                  <a:cubicBezTo>
                    <a:pt x="9" y="39"/>
                    <a:pt x="10" y="39"/>
                    <a:pt x="11" y="38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50" y="10"/>
                    <a:pt x="51" y="6"/>
                    <a:pt x="49" y="3"/>
                  </a:cubicBezTo>
                  <a:cubicBezTo>
                    <a:pt x="47" y="1"/>
                    <a:pt x="45" y="0"/>
                    <a:pt x="43" y="0"/>
                  </a:cubicBezTo>
                </a:path>
              </a:pathLst>
            </a:custGeom>
            <a:solidFill>
              <a:srgbClr val="D26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ṡļîḋè">
              <a:extLst>
                <a:ext uri="{FF2B5EF4-FFF2-40B4-BE49-F238E27FC236}">
                  <a16:creationId xmlns:a16="http://schemas.microsoft.com/office/drawing/2014/main" id="{3000E3FB-AC8A-4A00-89FE-4D96F5D016B9}"/>
                </a:ext>
              </a:extLst>
            </p:cNvPr>
            <p:cNvSpPr/>
            <p:nvPr/>
          </p:nvSpPr>
          <p:spPr bwMode="auto">
            <a:xfrm>
              <a:off x="6294574" y="3953559"/>
              <a:ext cx="177865" cy="263141"/>
            </a:xfrm>
            <a:custGeom>
              <a:avLst/>
              <a:gdLst>
                <a:gd name="T0" fmla="*/ 27 w 35"/>
                <a:gd name="T1" fmla="*/ 0 h 52"/>
                <a:gd name="T2" fmla="*/ 21 w 35"/>
                <a:gd name="T3" fmla="*/ 3 h 52"/>
                <a:gd name="T4" fmla="*/ 1 w 35"/>
                <a:gd name="T5" fmla="*/ 43 h 52"/>
                <a:gd name="T6" fmla="*/ 4 w 35"/>
                <a:gd name="T7" fmla="*/ 52 h 52"/>
                <a:gd name="T8" fmla="*/ 7 w 35"/>
                <a:gd name="T9" fmla="*/ 52 h 52"/>
                <a:gd name="T10" fmla="*/ 13 w 35"/>
                <a:gd name="T11" fmla="*/ 49 h 52"/>
                <a:gd name="T12" fmla="*/ 33 w 35"/>
                <a:gd name="T13" fmla="*/ 9 h 52"/>
                <a:gd name="T14" fmla="*/ 30 w 35"/>
                <a:gd name="T15" fmla="*/ 0 h 52"/>
                <a:gd name="T16" fmla="*/ 27 w 35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52">
                  <a:moveTo>
                    <a:pt x="27" y="0"/>
                  </a:moveTo>
                  <a:cubicBezTo>
                    <a:pt x="25" y="0"/>
                    <a:pt x="22" y="1"/>
                    <a:pt x="21" y="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0" y="46"/>
                    <a:pt x="1" y="50"/>
                    <a:pt x="4" y="52"/>
                  </a:cubicBezTo>
                  <a:cubicBezTo>
                    <a:pt x="5" y="52"/>
                    <a:pt x="6" y="52"/>
                    <a:pt x="7" y="52"/>
                  </a:cubicBezTo>
                  <a:cubicBezTo>
                    <a:pt x="10" y="52"/>
                    <a:pt x="12" y="51"/>
                    <a:pt x="13" y="4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5" y="6"/>
                    <a:pt x="33" y="2"/>
                    <a:pt x="30" y="0"/>
                  </a:cubicBezTo>
                  <a:cubicBezTo>
                    <a:pt x="29" y="0"/>
                    <a:pt x="28" y="0"/>
                    <a:pt x="27" y="0"/>
                  </a:cubicBezTo>
                </a:path>
              </a:pathLst>
            </a:custGeom>
            <a:solidFill>
              <a:srgbClr val="D26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ṧḷíḍè">
              <a:extLst>
                <a:ext uri="{FF2B5EF4-FFF2-40B4-BE49-F238E27FC236}">
                  <a16:creationId xmlns:a16="http://schemas.microsoft.com/office/drawing/2014/main" id="{3DF4330F-8604-4B32-B375-4CC578279590}"/>
                </a:ext>
              </a:extLst>
            </p:cNvPr>
            <p:cNvSpPr/>
            <p:nvPr/>
          </p:nvSpPr>
          <p:spPr bwMode="auto">
            <a:xfrm>
              <a:off x="6124019" y="4253248"/>
              <a:ext cx="769932" cy="1169516"/>
            </a:xfrm>
            <a:custGeom>
              <a:avLst/>
              <a:gdLst>
                <a:gd name="T0" fmla="*/ 110 w 316"/>
                <a:gd name="T1" fmla="*/ 480 h 480"/>
                <a:gd name="T2" fmla="*/ 316 w 316"/>
                <a:gd name="T3" fmla="*/ 58 h 480"/>
                <a:gd name="T4" fmla="*/ 193 w 316"/>
                <a:gd name="T5" fmla="*/ 0 h 480"/>
                <a:gd name="T6" fmla="*/ 0 w 316"/>
                <a:gd name="T7" fmla="*/ 397 h 480"/>
                <a:gd name="T8" fmla="*/ 110 w 316"/>
                <a:gd name="T9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" h="480">
                  <a:moveTo>
                    <a:pt x="110" y="480"/>
                  </a:moveTo>
                  <a:lnTo>
                    <a:pt x="316" y="58"/>
                  </a:lnTo>
                  <a:lnTo>
                    <a:pt x="193" y="0"/>
                  </a:lnTo>
                  <a:lnTo>
                    <a:pt x="0" y="397"/>
                  </a:lnTo>
                  <a:lnTo>
                    <a:pt x="110" y="480"/>
                  </a:lnTo>
                  <a:close/>
                </a:path>
              </a:pathLst>
            </a:custGeom>
            <a:solidFill>
              <a:srgbClr val="3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Sļíďé">
              <a:extLst>
                <a:ext uri="{FF2B5EF4-FFF2-40B4-BE49-F238E27FC236}">
                  <a16:creationId xmlns:a16="http://schemas.microsoft.com/office/drawing/2014/main" id="{B436538B-A61B-4459-8D80-8933ADD950F3}"/>
                </a:ext>
              </a:extLst>
            </p:cNvPr>
            <p:cNvSpPr/>
            <p:nvPr/>
          </p:nvSpPr>
          <p:spPr bwMode="auto">
            <a:xfrm>
              <a:off x="7639517" y="3324944"/>
              <a:ext cx="104770" cy="158373"/>
            </a:xfrm>
            <a:custGeom>
              <a:avLst/>
              <a:gdLst>
                <a:gd name="T0" fmla="*/ 5 w 21"/>
                <a:gd name="T1" fmla="*/ 0 h 31"/>
                <a:gd name="T2" fmla="*/ 16 w 21"/>
                <a:gd name="T3" fmla="*/ 12 h 31"/>
                <a:gd name="T4" fmla="*/ 20 w 21"/>
                <a:gd name="T5" fmla="*/ 31 h 31"/>
                <a:gd name="T6" fmla="*/ 10 w 21"/>
                <a:gd name="T7" fmla="*/ 13 h 31"/>
                <a:gd name="T8" fmla="*/ 0 w 21"/>
                <a:gd name="T9" fmla="*/ 3 h 31"/>
                <a:gd name="T10" fmla="*/ 5 w 21"/>
                <a:gd name="T1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31">
                  <a:moveTo>
                    <a:pt x="5" y="0"/>
                  </a:moveTo>
                  <a:cubicBezTo>
                    <a:pt x="5" y="0"/>
                    <a:pt x="12" y="3"/>
                    <a:pt x="16" y="12"/>
                  </a:cubicBezTo>
                  <a:cubicBezTo>
                    <a:pt x="21" y="20"/>
                    <a:pt x="20" y="31"/>
                    <a:pt x="20" y="31"/>
                  </a:cubicBezTo>
                  <a:cubicBezTo>
                    <a:pt x="20" y="31"/>
                    <a:pt x="15" y="18"/>
                    <a:pt x="10" y="13"/>
                  </a:cubicBezTo>
                  <a:cubicBezTo>
                    <a:pt x="5" y="7"/>
                    <a:pt x="0" y="3"/>
                    <a:pt x="0" y="3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íš1îḓe">
              <a:extLst>
                <a:ext uri="{FF2B5EF4-FFF2-40B4-BE49-F238E27FC236}">
                  <a16:creationId xmlns:a16="http://schemas.microsoft.com/office/drawing/2014/main" id="{AE3086EC-F037-40C6-A524-971A6BC589BE}"/>
                </a:ext>
              </a:extLst>
            </p:cNvPr>
            <p:cNvSpPr/>
            <p:nvPr/>
          </p:nvSpPr>
          <p:spPr bwMode="auto">
            <a:xfrm>
              <a:off x="7629771" y="3264033"/>
              <a:ext cx="221722" cy="224157"/>
            </a:xfrm>
            <a:custGeom>
              <a:avLst/>
              <a:gdLst>
                <a:gd name="T0" fmla="*/ 10 w 44"/>
                <a:gd name="T1" fmla="*/ 0 h 44"/>
                <a:gd name="T2" fmla="*/ 33 w 44"/>
                <a:gd name="T3" fmla="*/ 15 h 44"/>
                <a:gd name="T4" fmla="*/ 44 w 44"/>
                <a:gd name="T5" fmla="*/ 44 h 44"/>
                <a:gd name="T6" fmla="*/ 22 w 44"/>
                <a:gd name="T7" fmla="*/ 17 h 44"/>
                <a:gd name="T8" fmla="*/ 0 w 44"/>
                <a:gd name="T9" fmla="*/ 13 h 44"/>
                <a:gd name="T10" fmla="*/ 10 w 44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44">
                  <a:moveTo>
                    <a:pt x="10" y="0"/>
                  </a:moveTo>
                  <a:cubicBezTo>
                    <a:pt x="10" y="0"/>
                    <a:pt x="25" y="7"/>
                    <a:pt x="33" y="15"/>
                  </a:cubicBezTo>
                  <a:cubicBezTo>
                    <a:pt x="44" y="26"/>
                    <a:pt x="44" y="44"/>
                    <a:pt x="44" y="44"/>
                  </a:cubicBezTo>
                  <a:cubicBezTo>
                    <a:pt x="44" y="44"/>
                    <a:pt x="34" y="23"/>
                    <a:pt x="22" y="17"/>
                  </a:cubicBezTo>
                  <a:cubicBezTo>
                    <a:pt x="10" y="11"/>
                    <a:pt x="0" y="13"/>
                    <a:pt x="0" y="13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Sḻîḍè">
              <a:extLst>
                <a:ext uri="{FF2B5EF4-FFF2-40B4-BE49-F238E27FC236}">
                  <a16:creationId xmlns:a16="http://schemas.microsoft.com/office/drawing/2014/main" id="{3457A4E9-45DF-4210-8732-F279839A5C8B}"/>
                </a:ext>
              </a:extLst>
            </p:cNvPr>
            <p:cNvSpPr/>
            <p:nvPr/>
          </p:nvSpPr>
          <p:spPr bwMode="auto">
            <a:xfrm>
              <a:off x="6416398" y="3938940"/>
              <a:ext cx="1096421" cy="2202589"/>
            </a:xfrm>
            <a:custGeom>
              <a:avLst/>
              <a:gdLst>
                <a:gd name="T0" fmla="*/ 421 w 450"/>
                <a:gd name="T1" fmla="*/ 904 h 904"/>
                <a:gd name="T2" fmla="*/ 450 w 450"/>
                <a:gd name="T3" fmla="*/ 0 h 904"/>
                <a:gd name="T4" fmla="*/ 202 w 450"/>
                <a:gd name="T5" fmla="*/ 74 h 904"/>
                <a:gd name="T6" fmla="*/ 79 w 450"/>
                <a:gd name="T7" fmla="*/ 257 h 904"/>
                <a:gd name="T8" fmla="*/ 0 w 450"/>
                <a:gd name="T9" fmla="*/ 904 h 904"/>
                <a:gd name="T10" fmla="*/ 421 w 450"/>
                <a:gd name="T11" fmla="*/ 904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0" h="904">
                  <a:moveTo>
                    <a:pt x="421" y="904"/>
                  </a:moveTo>
                  <a:lnTo>
                    <a:pt x="450" y="0"/>
                  </a:lnTo>
                  <a:lnTo>
                    <a:pt x="202" y="74"/>
                  </a:lnTo>
                  <a:lnTo>
                    <a:pt x="79" y="257"/>
                  </a:lnTo>
                  <a:lnTo>
                    <a:pt x="0" y="904"/>
                  </a:lnTo>
                  <a:lnTo>
                    <a:pt x="421" y="9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ślíḑé">
              <a:extLst>
                <a:ext uri="{FF2B5EF4-FFF2-40B4-BE49-F238E27FC236}">
                  <a16:creationId xmlns:a16="http://schemas.microsoft.com/office/drawing/2014/main" id="{F272F9F0-5F53-4ECB-AA15-F33301A72D02}"/>
                </a:ext>
              </a:extLst>
            </p:cNvPr>
            <p:cNvSpPr/>
            <p:nvPr/>
          </p:nvSpPr>
          <p:spPr bwMode="auto">
            <a:xfrm>
              <a:off x="6538223" y="5023180"/>
              <a:ext cx="791861" cy="1118351"/>
            </a:xfrm>
            <a:custGeom>
              <a:avLst/>
              <a:gdLst>
                <a:gd name="T0" fmla="*/ 0 w 156"/>
                <a:gd name="T1" fmla="*/ 221 h 221"/>
                <a:gd name="T2" fmla="*/ 146 w 156"/>
                <a:gd name="T3" fmla="*/ 221 h 221"/>
                <a:gd name="T4" fmla="*/ 156 w 156"/>
                <a:gd name="T5" fmla="*/ 55 h 221"/>
                <a:gd name="T6" fmla="*/ 122 w 156"/>
                <a:gd name="T7" fmla="*/ 17 h 221"/>
                <a:gd name="T8" fmla="*/ 99 w 156"/>
                <a:gd name="T9" fmla="*/ 22 h 221"/>
                <a:gd name="T10" fmla="*/ 63 w 156"/>
                <a:gd name="T11" fmla="*/ 20 h 221"/>
                <a:gd name="T12" fmla="*/ 31 w 156"/>
                <a:gd name="T13" fmla="*/ 1 h 221"/>
                <a:gd name="T14" fmla="*/ 22 w 156"/>
                <a:gd name="T15" fmla="*/ 119 h 221"/>
                <a:gd name="T16" fmla="*/ 0 w 156"/>
                <a:gd name="T17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21">
                  <a:moveTo>
                    <a:pt x="0" y="221"/>
                  </a:moveTo>
                  <a:cubicBezTo>
                    <a:pt x="146" y="221"/>
                    <a:pt x="146" y="221"/>
                    <a:pt x="146" y="221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22" y="17"/>
                    <a:pt x="122" y="17"/>
                    <a:pt x="122" y="17"/>
                  </a:cubicBezTo>
                  <a:cubicBezTo>
                    <a:pt x="122" y="17"/>
                    <a:pt x="111" y="13"/>
                    <a:pt x="99" y="22"/>
                  </a:cubicBezTo>
                  <a:cubicBezTo>
                    <a:pt x="88" y="31"/>
                    <a:pt x="72" y="32"/>
                    <a:pt x="63" y="20"/>
                  </a:cubicBezTo>
                  <a:cubicBezTo>
                    <a:pt x="55" y="9"/>
                    <a:pt x="42" y="0"/>
                    <a:pt x="31" y="1"/>
                  </a:cubicBezTo>
                  <a:cubicBezTo>
                    <a:pt x="20" y="3"/>
                    <a:pt x="22" y="119"/>
                    <a:pt x="22" y="119"/>
                  </a:cubicBezTo>
                  <a:lnTo>
                    <a:pt x="0" y="221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ṧḻîḓè">
              <a:extLst>
                <a:ext uri="{FF2B5EF4-FFF2-40B4-BE49-F238E27FC236}">
                  <a16:creationId xmlns:a16="http://schemas.microsoft.com/office/drawing/2014/main" id="{8A5E5A51-4AA3-4BD4-AA18-A7BB64ECA4C4}"/>
                </a:ext>
              </a:extLst>
            </p:cNvPr>
            <p:cNvSpPr/>
            <p:nvPr/>
          </p:nvSpPr>
          <p:spPr bwMode="auto">
            <a:xfrm>
              <a:off x="6879332" y="3066676"/>
              <a:ext cx="633488" cy="1352254"/>
            </a:xfrm>
            <a:custGeom>
              <a:avLst/>
              <a:gdLst>
                <a:gd name="T0" fmla="*/ 6 w 125"/>
                <a:gd name="T1" fmla="*/ 208 h 267"/>
                <a:gd name="T2" fmla="*/ 1 w 125"/>
                <a:gd name="T3" fmla="*/ 137 h 267"/>
                <a:gd name="T4" fmla="*/ 116 w 125"/>
                <a:gd name="T5" fmla="*/ 0 h 267"/>
                <a:gd name="T6" fmla="*/ 125 w 125"/>
                <a:gd name="T7" fmla="*/ 172 h 267"/>
                <a:gd name="T8" fmla="*/ 119 w 125"/>
                <a:gd name="T9" fmla="*/ 205 h 267"/>
                <a:gd name="T10" fmla="*/ 45 w 125"/>
                <a:gd name="T11" fmla="*/ 264 h 267"/>
                <a:gd name="T12" fmla="*/ 24 w 125"/>
                <a:gd name="T13" fmla="*/ 263 h 267"/>
                <a:gd name="T14" fmla="*/ 2 w 125"/>
                <a:gd name="T15" fmla="*/ 236 h 267"/>
                <a:gd name="T16" fmla="*/ 6 w 125"/>
                <a:gd name="T17" fmla="*/ 208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5" h="267">
                  <a:moveTo>
                    <a:pt x="6" y="208"/>
                  </a:moveTo>
                  <a:cubicBezTo>
                    <a:pt x="1" y="137"/>
                    <a:pt x="1" y="137"/>
                    <a:pt x="1" y="137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25" y="172"/>
                    <a:pt x="125" y="172"/>
                    <a:pt x="125" y="172"/>
                  </a:cubicBezTo>
                  <a:cubicBezTo>
                    <a:pt x="119" y="205"/>
                    <a:pt x="119" y="205"/>
                    <a:pt x="119" y="205"/>
                  </a:cubicBezTo>
                  <a:cubicBezTo>
                    <a:pt x="113" y="241"/>
                    <a:pt x="81" y="267"/>
                    <a:pt x="45" y="264"/>
                  </a:cubicBezTo>
                  <a:cubicBezTo>
                    <a:pt x="24" y="263"/>
                    <a:pt x="24" y="263"/>
                    <a:pt x="24" y="263"/>
                  </a:cubicBezTo>
                  <a:cubicBezTo>
                    <a:pt x="10" y="262"/>
                    <a:pt x="0" y="250"/>
                    <a:pt x="2" y="236"/>
                  </a:cubicBezTo>
                  <a:lnTo>
                    <a:pt x="6" y="208"/>
                  </a:ln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ṥḷîďé">
              <a:extLst>
                <a:ext uri="{FF2B5EF4-FFF2-40B4-BE49-F238E27FC236}">
                  <a16:creationId xmlns:a16="http://schemas.microsoft.com/office/drawing/2014/main" id="{533F397C-4D9A-4606-B68B-38CA6AD4406F}"/>
                </a:ext>
              </a:extLst>
            </p:cNvPr>
            <p:cNvSpPr/>
            <p:nvPr/>
          </p:nvSpPr>
          <p:spPr bwMode="auto">
            <a:xfrm>
              <a:off x="6884205" y="3295706"/>
              <a:ext cx="606687" cy="774804"/>
            </a:xfrm>
            <a:custGeom>
              <a:avLst/>
              <a:gdLst>
                <a:gd name="T0" fmla="*/ 120 w 120"/>
                <a:gd name="T1" fmla="*/ 63 h 153"/>
                <a:gd name="T2" fmla="*/ 54 w 120"/>
                <a:gd name="T3" fmla="*/ 139 h 153"/>
                <a:gd name="T4" fmla="*/ 4 w 120"/>
                <a:gd name="T5" fmla="*/ 151 h 153"/>
                <a:gd name="T6" fmla="*/ 0 w 120"/>
                <a:gd name="T7" fmla="*/ 92 h 153"/>
                <a:gd name="T8" fmla="*/ 47 w 120"/>
                <a:gd name="T9" fmla="*/ 36 h 153"/>
                <a:gd name="T10" fmla="*/ 117 w 120"/>
                <a:gd name="T11" fmla="*/ 0 h 153"/>
                <a:gd name="T12" fmla="*/ 120 w 120"/>
                <a:gd name="T13" fmla="*/ 6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53">
                  <a:moveTo>
                    <a:pt x="120" y="63"/>
                  </a:moveTo>
                  <a:cubicBezTo>
                    <a:pt x="111" y="82"/>
                    <a:pt x="83" y="120"/>
                    <a:pt x="54" y="139"/>
                  </a:cubicBezTo>
                  <a:cubicBezTo>
                    <a:pt x="34" y="153"/>
                    <a:pt x="16" y="153"/>
                    <a:pt x="4" y="151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117" y="0"/>
                    <a:pt x="117" y="0"/>
                    <a:pt x="117" y="0"/>
                  </a:cubicBezTo>
                  <a:lnTo>
                    <a:pt x="120" y="63"/>
                  </a:lnTo>
                  <a:close/>
                </a:path>
              </a:pathLst>
            </a:custGeom>
            <a:solidFill>
              <a:srgbClr val="CF9E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íSḷíḑé">
              <a:extLst>
                <a:ext uri="{FF2B5EF4-FFF2-40B4-BE49-F238E27FC236}">
                  <a16:creationId xmlns:a16="http://schemas.microsoft.com/office/drawing/2014/main" id="{C9B77DB4-DE71-42E1-9E08-47E28A45F27F}"/>
                </a:ext>
              </a:extLst>
            </p:cNvPr>
            <p:cNvSpPr/>
            <p:nvPr/>
          </p:nvSpPr>
          <p:spPr bwMode="auto">
            <a:xfrm>
              <a:off x="7461654" y="1673003"/>
              <a:ext cx="713893" cy="735821"/>
            </a:xfrm>
            <a:custGeom>
              <a:avLst/>
              <a:gdLst>
                <a:gd name="T0" fmla="*/ 116 w 141"/>
                <a:gd name="T1" fmla="*/ 25 h 145"/>
                <a:gd name="T2" fmla="*/ 116 w 141"/>
                <a:gd name="T3" fmla="*/ 115 h 145"/>
                <a:gd name="T4" fmla="*/ 109 w 141"/>
                <a:gd name="T5" fmla="*/ 122 h 145"/>
                <a:gd name="T6" fmla="*/ 119 w 141"/>
                <a:gd name="T7" fmla="*/ 118 h 145"/>
                <a:gd name="T8" fmla="*/ 134 w 141"/>
                <a:gd name="T9" fmla="*/ 106 h 145"/>
                <a:gd name="T10" fmla="*/ 103 w 141"/>
                <a:gd name="T11" fmla="*/ 139 h 145"/>
                <a:gd name="T12" fmla="*/ 96 w 141"/>
                <a:gd name="T13" fmla="*/ 129 h 145"/>
                <a:gd name="T14" fmla="*/ 26 w 141"/>
                <a:gd name="T15" fmla="*/ 116 h 145"/>
                <a:gd name="T16" fmla="*/ 25 w 141"/>
                <a:gd name="T17" fmla="*/ 25 h 145"/>
                <a:gd name="T18" fmla="*/ 116 w 141"/>
                <a:gd name="T19" fmla="*/ 2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" h="145">
                  <a:moveTo>
                    <a:pt x="116" y="25"/>
                  </a:moveTo>
                  <a:cubicBezTo>
                    <a:pt x="141" y="50"/>
                    <a:pt x="141" y="90"/>
                    <a:pt x="116" y="115"/>
                  </a:cubicBezTo>
                  <a:cubicBezTo>
                    <a:pt x="114" y="118"/>
                    <a:pt x="111" y="120"/>
                    <a:pt x="109" y="122"/>
                  </a:cubicBezTo>
                  <a:cubicBezTo>
                    <a:pt x="112" y="121"/>
                    <a:pt x="115" y="120"/>
                    <a:pt x="119" y="118"/>
                  </a:cubicBezTo>
                  <a:cubicBezTo>
                    <a:pt x="128" y="114"/>
                    <a:pt x="134" y="106"/>
                    <a:pt x="134" y="106"/>
                  </a:cubicBezTo>
                  <a:cubicBezTo>
                    <a:pt x="134" y="106"/>
                    <a:pt x="126" y="131"/>
                    <a:pt x="103" y="139"/>
                  </a:cubicBezTo>
                  <a:cubicBezTo>
                    <a:pt x="87" y="145"/>
                    <a:pt x="91" y="136"/>
                    <a:pt x="96" y="129"/>
                  </a:cubicBezTo>
                  <a:cubicBezTo>
                    <a:pt x="73" y="139"/>
                    <a:pt x="45" y="134"/>
                    <a:pt x="26" y="116"/>
                  </a:cubicBezTo>
                  <a:cubicBezTo>
                    <a:pt x="1" y="91"/>
                    <a:pt x="0" y="50"/>
                    <a:pt x="25" y="25"/>
                  </a:cubicBezTo>
                  <a:cubicBezTo>
                    <a:pt x="50" y="0"/>
                    <a:pt x="91" y="0"/>
                    <a:pt x="116" y="25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Sḷîḓe">
              <a:extLst>
                <a:ext uri="{FF2B5EF4-FFF2-40B4-BE49-F238E27FC236}">
                  <a16:creationId xmlns:a16="http://schemas.microsoft.com/office/drawing/2014/main" id="{01FE1ABD-CBBF-40C8-B7F2-A2F134D628D9}"/>
                </a:ext>
              </a:extLst>
            </p:cNvPr>
            <p:cNvSpPr/>
            <p:nvPr/>
          </p:nvSpPr>
          <p:spPr bwMode="auto">
            <a:xfrm>
              <a:off x="6077727" y="5057291"/>
              <a:ext cx="441006" cy="389839"/>
            </a:xfrm>
            <a:custGeom>
              <a:avLst/>
              <a:gdLst>
                <a:gd name="T0" fmla="*/ 22 w 87"/>
                <a:gd name="T1" fmla="*/ 2 h 77"/>
                <a:gd name="T2" fmla="*/ 84 w 87"/>
                <a:gd name="T3" fmla="*/ 48 h 77"/>
                <a:gd name="T4" fmla="*/ 85 w 87"/>
                <a:gd name="T5" fmla="*/ 55 h 77"/>
                <a:gd name="T6" fmla="*/ 71 w 87"/>
                <a:gd name="T7" fmla="*/ 74 h 77"/>
                <a:gd name="T8" fmla="*/ 64 w 87"/>
                <a:gd name="T9" fmla="*/ 75 h 77"/>
                <a:gd name="T10" fmla="*/ 2 w 87"/>
                <a:gd name="T11" fmla="*/ 27 h 77"/>
                <a:gd name="T12" fmla="*/ 1 w 87"/>
                <a:gd name="T13" fmla="*/ 20 h 77"/>
                <a:gd name="T14" fmla="*/ 15 w 87"/>
                <a:gd name="T15" fmla="*/ 3 h 77"/>
                <a:gd name="T16" fmla="*/ 22 w 87"/>
                <a:gd name="T17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77">
                  <a:moveTo>
                    <a:pt x="22" y="2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6" y="49"/>
                    <a:pt x="87" y="53"/>
                    <a:pt x="85" y="55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70" y="76"/>
                    <a:pt x="66" y="77"/>
                    <a:pt x="64" y="7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5"/>
                    <a:pt x="0" y="22"/>
                    <a:pt x="1" y="20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0" y="0"/>
                    <a:pt x="2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şľîḑe">
              <a:extLst>
                <a:ext uri="{FF2B5EF4-FFF2-40B4-BE49-F238E27FC236}">
                  <a16:creationId xmlns:a16="http://schemas.microsoft.com/office/drawing/2014/main" id="{8BF6B71D-88F8-4E72-8A4C-BF5A33E8B209}"/>
                </a:ext>
              </a:extLst>
            </p:cNvPr>
            <p:cNvSpPr/>
            <p:nvPr/>
          </p:nvSpPr>
          <p:spPr bwMode="auto">
            <a:xfrm>
              <a:off x="5529515" y="4287359"/>
              <a:ext cx="862518" cy="1393673"/>
            </a:xfrm>
            <a:custGeom>
              <a:avLst/>
              <a:gdLst>
                <a:gd name="T0" fmla="*/ 117 w 170"/>
                <a:gd name="T1" fmla="*/ 184 h 275"/>
                <a:gd name="T2" fmla="*/ 68 w 170"/>
                <a:gd name="T3" fmla="*/ 27 h 275"/>
                <a:gd name="T4" fmla="*/ 27 w 170"/>
                <a:gd name="T5" fmla="*/ 6 h 275"/>
                <a:gd name="T6" fmla="*/ 6 w 170"/>
                <a:gd name="T7" fmla="*/ 46 h 275"/>
                <a:gd name="T8" fmla="*/ 67 w 170"/>
                <a:gd name="T9" fmla="*/ 241 h 275"/>
                <a:gd name="T10" fmla="*/ 110 w 170"/>
                <a:gd name="T11" fmla="*/ 275 h 275"/>
                <a:gd name="T12" fmla="*/ 114 w 170"/>
                <a:gd name="T13" fmla="*/ 275 h 275"/>
                <a:gd name="T14" fmla="*/ 158 w 170"/>
                <a:gd name="T15" fmla="*/ 248 h 275"/>
                <a:gd name="T16" fmla="*/ 170 w 170"/>
                <a:gd name="T17" fmla="*/ 224 h 275"/>
                <a:gd name="T18" fmla="*/ 117 w 170"/>
                <a:gd name="T19" fmla="*/ 184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275">
                  <a:moveTo>
                    <a:pt x="117" y="184"/>
                  </a:moveTo>
                  <a:cubicBezTo>
                    <a:pt x="68" y="27"/>
                    <a:pt x="68" y="27"/>
                    <a:pt x="68" y="27"/>
                  </a:cubicBezTo>
                  <a:cubicBezTo>
                    <a:pt x="62" y="10"/>
                    <a:pt x="44" y="0"/>
                    <a:pt x="27" y="6"/>
                  </a:cubicBezTo>
                  <a:cubicBezTo>
                    <a:pt x="10" y="11"/>
                    <a:pt x="0" y="29"/>
                    <a:pt x="6" y="46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3" y="260"/>
                    <a:pt x="90" y="274"/>
                    <a:pt x="110" y="275"/>
                  </a:cubicBezTo>
                  <a:cubicBezTo>
                    <a:pt x="111" y="275"/>
                    <a:pt x="112" y="275"/>
                    <a:pt x="114" y="275"/>
                  </a:cubicBezTo>
                  <a:cubicBezTo>
                    <a:pt x="132" y="275"/>
                    <a:pt x="150" y="265"/>
                    <a:pt x="158" y="248"/>
                  </a:cubicBezTo>
                  <a:cubicBezTo>
                    <a:pt x="170" y="224"/>
                    <a:pt x="170" y="224"/>
                    <a:pt x="170" y="224"/>
                  </a:cubicBezTo>
                  <a:lnTo>
                    <a:pt x="117" y="184"/>
                  </a:ln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sľiḑe">
              <a:extLst>
                <a:ext uri="{FF2B5EF4-FFF2-40B4-BE49-F238E27FC236}">
                  <a16:creationId xmlns:a16="http://schemas.microsoft.com/office/drawing/2014/main" id="{29BC4548-113D-4427-B42E-35B739CEAA33}"/>
                </a:ext>
              </a:extLst>
            </p:cNvPr>
            <p:cNvSpPr/>
            <p:nvPr/>
          </p:nvSpPr>
          <p:spPr bwMode="auto">
            <a:xfrm>
              <a:off x="7851493" y="1926398"/>
              <a:ext cx="314308" cy="482425"/>
            </a:xfrm>
            <a:custGeom>
              <a:avLst/>
              <a:gdLst>
                <a:gd name="T0" fmla="*/ 40 w 62"/>
                <a:gd name="T1" fmla="*/ 30 h 95"/>
                <a:gd name="T2" fmla="*/ 55 w 62"/>
                <a:gd name="T3" fmla="*/ 0 h 95"/>
                <a:gd name="T4" fmla="*/ 39 w 62"/>
                <a:gd name="T5" fmla="*/ 65 h 95"/>
                <a:gd name="T6" fmla="*/ 32 w 62"/>
                <a:gd name="T7" fmla="*/ 72 h 95"/>
                <a:gd name="T8" fmla="*/ 42 w 62"/>
                <a:gd name="T9" fmla="*/ 68 h 95"/>
                <a:gd name="T10" fmla="*/ 57 w 62"/>
                <a:gd name="T11" fmla="*/ 56 h 95"/>
                <a:gd name="T12" fmla="*/ 26 w 62"/>
                <a:gd name="T13" fmla="*/ 89 h 95"/>
                <a:gd name="T14" fmla="*/ 19 w 62"/>
                <a:gd name="T15" fmla="*/ 79 h 95"/>
                <a:gd name="T16" fmla="*/ 1 w 62"/>
                <a:gd name="T17" fmla="*/ 84 h 95"/>
                <a:gd name="T18" fmla="*/ 3 w 62"/>
                <a:gd name="T19" fmla="*/ 56 h 95"/>
                <a:gd name="T20" fmla="*/ 40 w 62"/>
                <a:gd name="T21" fmla="*/ 3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95">
                  <a:moveTo>
                    <a:pt x="40" y="30"/>
                  </a:moveTo>
                  <a:cubicBezTo>
                    <a:pt x="48" y="18"/>
                    <a:pt x="53" y="8"/>
                    <a:pt x="55" y="0"/>
                  </a:cubicBezTo>
                  <a:cubicBezTo>
                    <a:pt x="62" y="22"/>
                    <a:pt x="57" y="48"/>
                    <a:pt x="39" y="65"/>
                  </a:cubicBezTo>
                  <a:cubicBezTo>
                    <a:pt x="37" y="68"/>
                    <a:pt x="34" y="70"/>
                    <a:pt x="32" y="72"/>
                  </a:cubicBezTo>
                  <a:cubicBezTo>
                    <a:pt x="35" y="71"/>
                    <a:pt x="38" y="70"/>
                    <a:pt x="42" y="68"/>
                  </a:cubicBezTo>
                  <a:cubicBezTo>
                    <a:pt x="51" y="64"/>
                    <a:pt x="57" y="56"/>
                    <a:pt x="57" y="56"/>
                  </a:cubicBezTo>
                  <a:cubicBezTo>
                    <a:pt x="57" y="56"/>
                    <a:pt x="49" y="81"/>
                    <a:pt x="26" y="89"/>
                  </a:cubicBezTo>
                  <a:cubicBezTo>
                    <a:pt x="10" y="95"/>
                    <a:pt x="14" y="86"/>
                    <a:pt x="19" y="79"/>
                  </a:cubicBezTo>
                  <a:cubicBezTo>
                    <a:pt x="13" y="82"/>
                    <a:pt x="7" y="83"/>
                    <a:pt x="1" y="84"/>
                  </a:cubicBezTo>
                  <a:cubicBezTo>
                    <a:pt x="0" y="69"/>
                    <a:pt x="3" y="56"/>
                    <a:pt x="3" y="56"/>
                  </a:cubicBezTo>
                  <a:cubicBezTo>
                    <a:pt x="3" y="56"/>
                    <a:pt x="21" y="59"/>
                    <a:pt x="40" y="30"/>
                  </a:cubicBezTo>
                  <a:close/>
                </a:path>
              </a:pathLst>
            </a:custGeom>
            <a:solidFill>
              <a:srgbClr val="722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ṣ1îḓe">
              <a:extLst>
                <a:ext uri="{FF2B5EF4-FFF2-40B4-BE49-F238E27FC236}">
                  <a16:creationId xmlns:a16="http://schemas.microsoft.com/office/drawing/2014/main" id="{54F40105-3448-475B-B2A2-801CD43DE002}"/>
                </a:ext>
              </a:extLst>
            </p:cNvPr>
            <p:cNvSpPr/>
            <p:nvPr/>
          </p:nvSpPr>
          <p:spPr bwMode="auto">
            <a:xfrm>
              <a:off x="7498201" y="1673003"/>
              <a:ext cx="526282" cy="375220"/>
            </a:xfrm>
            <a:custGeom>
              <a:avLst/>
              <a:gdLst>
                <a:gd name="T0" fmla="*/ 18 w 104"/>
                <a:gd name="T1" fmla="*/ 25 h 74"/>
                <a:gd name="T2" fmla="*/ 104 w 104"/>
                <a:gd name="T3" fmla="*/ 20 h 74"/>
                <a:gd name="T4" fmla="*/ 99 w 104"/>
                <a:gd name="T5" fmla="*/ 40 h 74"/>
                <a:gd name="T6" fmla="*/ 47 w 104"/>
                <a:gd name="T7" fmla="*/ 56 h 74"/>
                <a:gd name="T8" fmla="*/ 67 w 104"/>
                <a:gd name="T9" fmla="*/ 62 h 74"/>
                <a:gd name="T10" fmla="*/ 85 w 104"/>
                <a:gd name="T11" fmla="*/ 61 h 74"/>
                <a:gd name="T12" fmla="*/ 40 w 104"/>
                <a:gd name="T13" fmla="*/ 71 h 74"/>
                <a:gd name="T14" fmla="*/ 0 w 104"/>
                <a:gd name="T15" fmla="*/ 69 h 74"/>
                <a:gd name="T16" fmla="*/ 18 w 104"/>
                <a:gd name="T17" fmla="*/ 2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74">
                  <a:moveTo>
                    <a:pt x="18" y="25"/>
                  </a:moveTo>
                  <a:cubicBezTo>
                    <a:pt x="42" y="1"/>
                    <a:pt x="79" y="0"/>
                    <a:pt x="104" y="20"/>
                  </a:cubicBezTo>
                  <a:cubicBezTo>
                    <a:pt x="104" y="26"/>
                    <a:pt x="103" y="35"/>
                    <a:pt x="99" y="40"/>
                  </a:cubicBezTo>
                  <a:cubicBezTo>
                    <a:pt x="84" y="57"/>
                    <a:pt x="47" y="56"/>
                    <a:pt x="47" y="56"/>
                  </a:cubicBezTo>
                  <a:cubicBezTo>
                    <a:pt x="47" y="56"/>
                    <a:pt x="58" y="62"/>
                    <a:pt x="67" y="62"/>
                  </a:cubicBezTo>
                  <a:cubicBezTo>
                    <a:pt x="76" y="62"/>
                    <a:pt x="85" y="61"/>
                    <a:pt x="85" y="61"/>
                  </a:cubicBezTo>
                  <a:cubicBezTo>
                    <a:pt x="85" y="61"/>
                    <a:pt x="68" y="74"/>
                    <a:pt x="40" y="71"/>
                  </a:cubicBezTo>
                  <a:cubicBezTo>
                    <a:pt x="29" y="69"/>
                    <a:pt x="13" y="71"/>
                    <a:pt x="0" y="69"/>
                  </a:cubicBezTo>
                  <a:cubicBezTo>
                    <a:pt x="0" y="53"/>
                    <a:pt x="6" y="37"/>
                    <a:pt x="18" y="25"/>
                  </a:cubicBezTo>
                  <a:close/>
                </a:path>
              </a:pathLst>
            </a:custGeom>
            <a:solidFill>
              <a:srgbClr val="A03F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S1íḍè">
              <a:extLst>
                <a:ext uri="{FF2B5EF4-FFF2-40B4-BE49-F238E27FC236}">
                  <a16:creationId xmlns:a16="http://schemas.microsoft.com/office/drawing/2014/main" id="{E20D0CE5-707E-4E49-919B-B6AB049AFDBC}"/>
                </a:ext>
              </a:extLst>
            </p:cNvPr>
            <p:cNvSpPr/>
            <p:nvPr/>
          </p:nvSpPr>
          <p:spPr bwMode="auto">
            <a:xfrm>
              <a:off x="7568860" y="1982438"/>
              <a:ext cx="501917" cy="1366873"/>
            </a:xfrm>
            <a:custGeom>
              <a:avLst/>
              <a:gdLst>
                <a:gd name="T0" fmla="*/ 18 w 99"/>
                <a:gd name="T1" fmla="*/ 0 h 270"/>
                <a:gd name="T2" fmla="*/ 95 w 99"/>
                <a:gd name="T3" fmla="*/ 138 h 270"/>
                <a:gd name="T4" fmla="*/ 14 w 99"/>
                <a:gd name="T5" fmla="*/ 270 h 270"/>
                <a:gd name="T6" fmla="*/ 0 w 99"/>
                <a:gd name="T7" fmla="*/ 45 h 270"/>
                <a:gd name="T8" fmla="*/ 18 w 99"/>
                <a:gd name="T9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270">
                  <a:moveTo>
                    <a:pt x="18" y="0"/>
                  </a:moveTo>
                  <a:cubicBezTo>
                    <a:pt x="18" y="0"/>
                    <a:pt x="90" y="35"/>
                    <a:pt x="95" y="138"/>
                  </a:cubicBezTo>
                  <a:cubicBezTo>
                    <a:pt x="99" y="229"/>
                    <a:pt x="14" y="270"/>
                    <a:pt x="14" y="270"/>
                  </a:cubicBezTo>
                  <a:cubicBezTo>
                    <a:pt x="0" y="45"/>
                    <a:pt x="0" y="45"/>
                    <a:pt x="0" y="45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B949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íṡḷîḍè">
              <a:extLst>
                <a:ext uri="{FF2B5EF4-FFF2-40B4-BE49-F238E27FC236}">
                  <a16:creationId xmlns:a16="http://schemas.microsoft.com/office/drawing/2014/main" id="{1C2A104B-7B6B-40FE-A0BF-F8BE0BD7A277}"/>
                </a:ext>
              </a:extLst>
            </p:cNvPr>
            <p:cNvSpPr/>
            <p:nvPr/>
          </p:nvSpPr>
          <p:spPr bwMode="auto">
            <a:xfrm>
              <a:off x="6158130" y="1943454"/>
              <a:ext cx="1505752" cy="1995488"/>
            </a:xfrm>
            <a:custGeom>
              <a:avLst/>
              <a:gdLst>
                <a:gd name="T0" fmla="*/ 136 w 297"/>
                <a:gd name="T1" fmla="*/ 394 h 394"/>
                <a:gd name="T2" fmla="*/ 136 w 297"/>
                <a:gd name="T3" fmla="*/ 394 h 394"/>
                <a:gd name="T4" fmla="*/ 297 w 297"/>
                <a:gd name="T5" fmla="*/ 251 h 394"/>
                <a:gd name="T6" fmla="*/ 296 w 297"/>
                <a:gd name="T7" fmla="*/ 8 h 394"/>
                <a:gd name="T8" fmla="*/ 293 w 297"/>
                <a:gd name="T9" fmla="*/ 3 h 394"/>
                <a:gd name="T10" fmla="*/ 103 w 297"/>
                <a:gd name="T11" fmla="*/ 0 h 394"/>
                <a:gd name="T12" fmla="*/ 43 w 297"/>
                <a:gd name="T13" fmla="*/ 86 h 394"/>
                <a:gd name="T14" fmla="*/ 26 w 297"/>
                <a:gd name="T15" fmla="*/ 260 h 394"/>
                <a:gd name="T16" fmla="*/ 136 w 297"/>
                <a:gd name="T17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7" h="394">
                  <a:moveTo>
                    <a:pt x="136" y="394"/>
                  </a:moveTo>
                  <a:cubicBezTo>
                    <a:pt x="136" y="394"/>
                    <a:pt x="136" y="394"/>
                    <a:pt x="136" y="394"/>
                  </a:cubicBezTo>
                  <a:cubicBezTo>
                    <a:pt x="218" y="394"/>
                    <a:pt x="293" y="319"/>
                    <a:pt x="297" y="251"/>
                  </a:cubicBezTo>
                  <a:cubicBezTo>
                    <a:pt x="296" y="8"/>
                    <a:pt x="296" y="8"/>
                    <a:pt x="296" y="8"/>
                  </a:cubicBezTo>
                  <a:cubicBezTo>
                    <a:pt x="293" y="3"/>
                    <a:pt x="293" y="3"/>
                    <a:pt x="293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6"/>
                    <a:pt x="0" y="117"/>
                    <a:pt x="26" y="260"/>
                  </a:cubicBezTo>
                  <a:cubicBezTo>
                    <a:pt x="39" y="329"/>
                    <a:pt x="66" y="394"/>
                    <a:pt x="136" y="394"/>
                  </a:cubicBez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ïś1îḋê">
              <a:extLst>
                <a:ext uri="{FF2B5EF4-FFF2-40B4-BE49-F238E27FC236}">
                  <a16:creationId xmlns:a16="http://schemas.microsoft.com/office/drawing/2014/main" id="{20EBB704-5E92-4219-8CB5-E9A166176C72}"/>
                </a:ext>
              </a:extLst>
            </p:cNvPr>
            <p:cNvSpPr/>
            <p:nvPr/>
          </p:nvSpPr>
          <p:spPr bwMode="auto">
            <a:xfrm>
              <a:off x="7668755" y="1743662"/>
              <a:ext cx="248522" cy="163246"/>
            </a:xfrm>
            <a:custGeom>
              <a:avLst/>
              <a:gdLst>
                <a:gd name="T0" fmla="*/ 22 w 49"/>
                <a:gd name="T1" fmla="*/ 2 h 32"/>
                <a:gd name="T2" fmla="*/ 41 w 49"/>
                <a:gd name="T3" fmla="*/ 4 h 32"/>
                <a:gd name="T4" fmla="*/ 34 w 49"/>
                <a:gd name="T5" fmla="*/ 25 h 32"/>
                <a:gd name="T6" fmla="*/ 3 w 49"/>
                <a:gd name="T7" fmla="*/ 19 h 32"/>
                <a:gd name="T8" fmla="*/ 22 w 49"/>
                <a:gd name="T9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2">
                  <a:moveTo>
                    <a:pt x="22" y="2"/>
                  </a:moveTo>
                  <a:cubicBezTo>
                    <a:pt x="22" y="2"/>
                    <a:pt x="33" y="0"/>
                    <a:pt x="41" y="4"/>
                  </a:cubicBezTo>
                  <a:cubicBezTo>
                    <a:pt x="49" y="8"/>
                    <a:pt x="44" y="19"/>
                    <a:pt x="34" y="25"/>
                  </a:cubicBezTo>
                  <a:cubicBezTo>
                    <a:pt x="24" y="32"/>
                    <a:pt x="6" y="29"/>
                    <a:pt x="3" y="19"/>
                  </a:cubicBezTo>
                  <a:cubicBezTo>
                    <a:pt x="0" y="9"/>
                    <a:pt x="16" y="2"/>
                    <a:pt x="22" y="2"/>
                  </a:cubicBezTo>
                  <a:close/>
                </a:path>
              </a:pathLst>
            </a:custGeom>
            <a:solidFill>
              <a:srgbClr val="B949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ṡḻîḍê">
              <a:extLst>
                <a:ext uri="{FF2B5EF4-FFF2-40B4-BE49-F238E27FC236}">
                  <a16:creationId xmlns:a16="http://schemas.microsoft.com/office/drawing/2014/main" id="{C7E57851-C7CA-417A-89A7-3B174D74CB4D}"/>
                </a:ext>
              </a:extLst>
            </p:cNvPr>
            <p:cNvSpPr/>
            <p:nvPr/>
          </p:nvSpPr>
          <p:spPr bwMode="auto">
            <a:xfrm>
              <a:off x="6945118" y="2930233"/>
              <a:ext cx="151063" cy="146190"/>
            </a:xfrm>
            <a:prstGeom prst="ellipse">
              <a:avLst/>
            </a:pr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$ľîḓê">
              <a:extLst>
                <a:ext uri="{FF2B5EF4-FFF2-40B4-BE49-F238E27FC236}">
                  <a16:creationId xmlns:a16="http://schemas.microsoft.com/office/drawing/2014/main" id="{7D51B75C-275D-4FFA-AAA2-834D963854C5}"/>
                </a:ext>
              </a:extLst>
            </p:cNvPr>
            <p:cNvSpPr/>
            <p:nvPr/>
          </p:nvSpPr>
          <p:spPr bwMode="auto">
            <a:xfrm>
              <a:off x="6372541" y="2930233"/>
              <a:ext cx="151063" cy="146190"/>
            </a:xfrm>
            <a:prstGeom prst="ellipse">
              <a:avLst/>
            </a:pr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sľîḍé">
              <a:extLst>
                <a:ext uri="{FF2B5EF4-FFF2-40B4-BE49-F238E27FC236}">
                  <a16:creationId xmlns:a16="http://schemas.microsoft.com/office/drawing/2014/main" id="{55D300B4-0C00-4F63-8913-3406D6F03BD4}"/>
                </a:ext>
              </a:extLst>
            </p:cNvPr>
            <p:cNvSpPr/>
            <p:nvPr/>
          </p:nvSpPr>
          <p:spPr bwMode="auto">
            <a:xfrm>
              <a:off x="6443201" y="2954598"/>
              <a:ext cx="56040" cy="5604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$ļide">
              <a:extLst>
                <a:ext uri="{FF2B5EF4-FFF2-40B4-BE49-F238E27FC236}">
                  <a16:creationId xmlns:a16="http://schemas.microsoft.com/office/drawing/2014/main" id="{0B82804B-62AE-40F9-98C4-84DD1AC2106F}"/>
                </a:ext>
              </a:extLst>
            </p:cNvPr>
            <p:cNvSpPr/>
            <p:nvPr/>
          </p:nvSpPr>
          <p:spPr bwMode="auto">
            <a:xfrm>
              <a:off x="6893951" y="2545267"/>
              <a:ext cx="309435" cy="95024"/>
            </a:xfrm>
            <a:custGeom>
              <a:avLst/>
              <a:gdLst>
                <a:gd name="T0" fmla="*/ 0 w 61"/>
                <a:gd name="T1" fmla="*/ 19 h 19"/>
                <a:gd name="T2" fmla="*/ 1 w 61"/>
                <a:gd name="T3" fmla="*/ 17 h 19"/>
                <a:gd name="T4" fmla="*/ 6 w 61"/>
                <a:gd name="T5" fmla="*/ 10 h 19"/>
                <a:gd name="T6" fmla="*/ 10 w 61"/>
                <a:gd name="T7" fmla="*/ 6 h 19"/>
                <a:gd name="T8" fmla="*/ 16 w 61"/>
                <a:gd name="T9" fmla="*/ 2 h 19"/>
                <a:gd name="T10" fmla="*/ 19 w 61"/>
                <a:gd name="T11" fmla="*/ 1 h 19"/>
                <a:gd name="T12" fmla="*/ 23 w 61"/>
                <a:gd name="T13" fmla="*/ 0 h 19"/>
                <a:gd name="T14" fmla="*/ 27 w 61"/>
                <a:gd name="T15" fmla="*/ 0 h 19"/>
                <a:gd name="T16" fmla="*/ 29 w 61"/>
                <a:gd name="T17" fmla="*/ 0 h 19"/>
                <a:gd name="T18" fmla="*/ 30 w 61"/>
                <a:gd name="T19" fmla="*/ 0 h 19"/>
                <a:gd name="T20" fmla="*/ 37 w 61"/>
                <a:gd name="T21" fmla="*/ 1 h 19"/>
                <a:gd name="T22" fmla="*/ 44 w 61"/>
                <a:gd name="T23" fmla="*/ 3 h 19"/>
                <a:gd name="T24" fmla="*/ 50 w 61"/>
                <a:gd name="T25" fmla="*/ 6 h 19"/>
                <a:gd name="T26" fmla="*/ 55 w 61"/>
                <a:gd name="T27" fmla="*/ 10 h 19"/>
                <a:gd name="T28" fmla="*/ 60 w 61"/>
                <a:gd name="T29" fmla="*/ 16 h 19"/>
                <a:gd name="T30" fmla="*/ 61 w 61"/>
                <a:gd name="T31" fmla="*/ 19 h 19"/>
                <a:gd name="T32" fmla="*/ 52 w 61"/>
                <a:gd name="T33" fmla="*/ 12 h 19"/>
                <a:gd name="T34" fmla="*/ 48 w 61"/>
                <a:gd name="T35" fmla="*/ 10 h 19"/>
                <a:gd name="T36" fmla="*/ 42 w 61"/>
                <a:gd name="T37" fmla="*/ 8 h 19"/>
                <a:gd name="T38" fmla="*/ 36 w 61"/>
                <a:gd name="T39" fmla="*/ 7 h 19"/>
                <a:gd name="T40" fmla="*/ 30 w 61"/>
                <a:gd name="T41" fmla="*/ 6 h 19"/>
                <a:gd name="T42" fmla="*/ 28 w 61"/>
                <a:gd name="T43" fmla="*/ 6 h 19"/>
                <a:gd name="T44" fmla="*/ 27 w 61"/>
                <a:gd name="T45" fmla="*/ 6 h 19"/>
                <a:gd name="T46" fmla="*/ 24 w 61"/>
                <a:gd name="T47" fmla="*/ 6 h 19"/>
                <a:gd name="T48" fmla="*/ 18 w 61"/>
                <a:gd name="T49" fmla="*/ 7 h 19"/>
                <a:gd name="T50" fmla="*/ 8 w 61"/>
                <a:gd name="T51" fmla="*/ 12 h 19"/>
                <a:gd name="T52" fmla="*/ 2 w 61"/>
                <a:gd name="T53" fmla="*/ 17 h 19"/>
                <a:gd name="T54" fmla="*/ 0 w 61"/>
                <a:gd name="T5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1" h="19">
                  <a:moveTo>
                    <a:pt x="0" y="19"/>
                  </a:moveTo>
                  <a:cubicBezTo>
                    <a:pt x="0" y="19"/>
                    <a:pt x="0" y="18"/>
                    <a:pt x="1" y="17"/>
                  </a:cubicBezTo>
                  <a:cubicBezTo>
                    <a:pt x="2" y="15"/>
                    <a:pt x="4" y="12"/>
                    <a:pt x="6" y="10"/>
                  </a:cubicBezTo>
                  <a:cubicBezTo>
                    <a:pt x="7" y="8"/>
                    <a:pt x="9" y="7"/>
                    <a:pt x="10" y="6"/>
                  </a:cubicBezTo>
                  <a:cubicBezTo>
                    <a:pt x="12" y="5"/>
                    <a:pt x="14" y="3"/>
                    <a:pt x="16" y="2"/>
                  </a:cubicBezTo>
                  <a:cubicBezTo>
                    <a:pt x="17" y="2"/>
                    <a:pt x="18" y="1"/>
                    <a:pt x="19" y="1"/>
                  </a:cubicBezTo>
                  <a:cubicBezTo>
                    <a:pt x="21" y="1"/>
                    <a:pt x="22" y="0"/>
                    <a:pt x="23" y="0"/>
                  </a:cubicBezTo>
                  <a:cubicBezTo>
                    <a:pt x="24" y="0"/>
                    <a:pt x="25" y="0"/>
                    <a:pt x="27" y="0"/>
                  </a:cubicBezTo>
                  <a:cubicBezTo>
                    <a:pt x="27" y="0"/>
                    <a:pt x="28" y="0"/>
                    <a:pt x="2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5" y="1"/>
                    <a:pt x="37" y="1"/>
                  </a:cubicBezTo>
                  <a:cubicBezTo>
                    <a:pt x="40" y="2"/>
                    <a:pt x="42" y="2"/>
                    <a:pt x="44" y="3"/>
                  </a:cubicBezTo>
                  <a:cubicBezTo>
                    <a:pt x="46" y="4"/>
                    <a:pt x="48" y="5"/>
                    <a:pt x="50" y="6"/>
                  </a:cubicBezTo>
                  <a:cubicBezTo>
                    <a:pt x="52" y="7"/>
                    <a:pt x="53" y="8"/>
                    <a:pt x="55" y="10"/>
                  </a:cubicBezTo>
                  <a:cubicBezTo>
                    <a:pt x="57" y="12"/>
                    <a:pt x="59" y="15"/>
                    <a:pt x="60" y="16"/>
                  </a:cubicBezTo>
                  <a:cubicBezTo>
                    <a:pt x="61" y="18"/>
                    <a:pt x="61" y="19"/>
                    <a:pt x="61" y="19"/>
                  </a:cubicBezTo>
                  <a:cubicBezTo>
                    <a:pt x="61" y="19"/>
                    <a:pt x="58" y="16"/>
                    <a:pt x="52" y="12"/>
                  </a:cubicBezTo>
                  <a:cubicBezTo>
                    <a:pt x="51" y="12"/>
                    <a:pt x="49" y="11"/>
                    <a:pt x="48" y="10"/>
                  </a:cubicBezTo>
                  <a:cubicBezTo>
                    <a:pt x="46" y="9"/>
                    <a:pt x="44" y="9"/>
                    <a:pt x="42" y="8"/>
                  </a:cubicBezTo>
                  <a:cubicBezTo>
                    <a:pt x="40" y="8"/>
                    <a:pt x="38" y="7"/>
                    <a:pt x="36" y="7"/>
                  </a:cubicBezTo>
                  <a:cubicBezTo>
                    <a:pt x="34" y="6"/>
                    <a:pt x="32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6" y="6"/>
                    <a:pt x="25" y="6"/>
                    <a:pt x="24" y="6"/>
                  </a:cubicBezTo>
                  <a:cubicBezTo>
                    <a:pt x="22" y="6"/>
                    <a:pt x="20" y="7"/>
                    <a:pt x="18" y="7"/>
                  </a:cubicBezTo>
                  <a:cubicBezTo>
                    <a:pt x="14" y="8"/>
                    <a:pt x="11" y="10"/>
                    <a:pt x="8" y="12"/>
                  </a:cubicBezTo>
                  <a:cubicBezTo>
                    <a:pt x="6" y="14"/>
                    <a:pt x="3" y="16"/>
                    <a:pt x="2" y="17"/>
                  </a:cubicBezTo>
                  <a:cubicBezTo>
                    <a:pt x="1" y="19"/>
                    <a:pt x="0" y="19"/>
                    <a:pt x="0" y="19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ṣļïḋe">
              <a:extLst>
                <a:ext uri="{FF2B5EF4-FFF2-40B4-BE49-F238E27FC236}">
                  <a16:creationId xmlns:a16="http://schemas.microsoft.com/office/drawing/2014/main" id="{98401735-5D2D-4DD2-8027-9BE8E42B2E97}"/>
                </a:ext>
              </a:extLst>
            </p:cNvPr>
            <p:cNvSpPr/>
            <p:nvPr/>
          </p:nvSpPr>
          <p:spPr bwMode="auto">
            <a:xfrm>
              <a:off x="6289701" y="2545267"/>
              <a:ext cx="275324" cy="95024"/>
            </a:xfrm>
            <a:custGeom>
              <a:avLst/>
              <a:gdLst>
                <a:gd name="T0" fmla="*/ 54 w 54"/>
                <a:gd name="T1" fmla="*/ 19 h 19"/>
                <a:gd name="T2" fmla="*/ 47 w 54"/>
                <a:gd name="T3" fmla="*/ 12 h 19"/>
                <a:gd name="T4" fmla="*/ 43 w 54"/>
                <a:gd name="T5" fmla="*/ 10 h 19"/>
                <a:gd name="T6" fmla="*/ 38 w 54"/>
                <a:gd name="T7" fmla="*/ 7 h 19"/>
                <a:gd name="T8" fmla="*/ 33 w 54"/>
                <a:gd name="T9" fmla="*/ 6 h 19"/>
                <a:gd name="T10" fmla="*/ 27 w 54"/>
                <a:gd name="T11" fmla="*/ 6 h 19"/>
                <a:gd name="T12" fmla="*/ 21 w 54"/>
                <a:gd name="T13" fmla="*/ 7 h 19"/>
                <a:gd name="T14" fmla="*/ 16 w 54"/>
                <a:gd name="T15" fmla="*/ 8 h 19"/>
                <a:gd name="T16" fmla="*/ 7 w 54"/>
                <a:gd name="T17" fmla="*/ 12 h 19"/>
                <a:gd name="T18" fmla="*/ 4 w 54"/>
                <a:gd name="T19" fmla="*/ 14 h 19"/>
                <a:gd name="T20" fmla="*/ 2 w 54"/>
                <a:gd name="T21" fmla="*/ 17 h 19"/>
                <a:gd name="T22" fmla="*/ 0 w 54"/>
                <a:gd name="T23" fmla="*/ 19 h 19"/>
                <a:gd name="T24" fmla="*/ 1 w 54"/>
                <a:gd name="T25" fmla="*/ 16 h 19"/>
                <a:gd name="T26" fmla="*/ 4 w 54"/>
                <a:gd name="T27" fmla="*/ 9 h 19"/>
                <a:gd name="T28" fmla="*/ 8 w 54"/>
                <a:gd name="T29" fmla="*/ 5 h 19"/>
                <a:gd name="T30" fmla="*/ 11 w 54"/>
                <a:gd name="T31" fmla="*/ 4 h 19"/>
                <a:gd name="T32" fmla="*/ 14 w 54"/>
                <a:gd name="T33" fmla="*/ 2 h 19"/>
                <a:gd name="T34" fmla="*/ 20 w 54"/>
                <a:gd name="T35" fmla="*/ 1 h 19"/>
                <a:gd name="T36" fmla="*/ 27 w 54"/>
                <a:gd name="T37" fmla="*/ 0 h 19"/>
                <a:gd name="T38" fmla="*/ 34 w 54"/>
                <a:gd name="T39" fmla="*/ 1 h 19"/>
                <a:gd name="T40" fmla="*/ 40 w 54"/>
                <a:gd name="T41" fmla="*/ 3 h 19"/>
                <a:gd name="T42" fmla="*/ 45 w 54"/>
                <a:gd name="T43" fmla="*/ 6 h 19"/>
                <a:gd name="T44" fmla="*/ 49 w 54"/>
                <a:gd name="T45" fmla="*/ 10 h 19"/>
                <a:gd name="T46" fmla="*/ 53 w 54"/>
                <a:gd name="T47" fmla="*/ 17 h 19"/>
                <a:gd name="T48" fmla="*/ 54 w 54"/>
                <a:gd name="T4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19">
                  <a:moveTo>
                    <a:pt x="54" y="19"/>
                  </a:moveTo>
                  <a:cubicBezTo>
                    <a:pt x="54" y="19"/>
                    <a:pt x="52" y="16"/>
                    <a:pt x="47" y="12"/>
                  </a:cubicBezTo>
                  <a:cubicBezTo>
                    <a:pt x="46" y="11"/>
                    <a:pt x="44" y="10"/>
                    <a:pt x="43" y="10"/>
                  </a:cubicBezTo>
                  <a:cubicBezTo>
                    <a:pt x="41" y="9"/>
                    <a:pt x="40" y="8"/>
                    <a:pt x="38" y="7"/>
                  </a:cubicBezTo>
                  <a:cubicBezTo>
                    <a:pt x="36" y="7"/>
                    <a:pt x="35" y="6"/>
                    <a:pt x="33" y="6"/>
                  </a:cubicBezTo>
                  <a:cubicBezTo>
                    <a:pt x="31" y="6"/>
                    <a:pt x="29" y="6"/>
                    <a:pt x="27" y="6"/>
                  </a:cubicBezTo>
                  <a:cubicBezTo>
                    <a:pt x="25" y="6"/>
                    <a:pt x="23" y="6"/>
                    <a:pt x="21" y="7"/>
                  </a:cubicBezTo>
                  <a:cubicBezTo>
                    <a:pt x="19" y="7"/>
                    <a:pt x="17" y="7"/>
                    <a:pt x="16" y="8"/>
                  </a:cubicBezTo>
                  <a:cubicBezTo>
                    <a:pt x="12" y="9"/>
                    <a:pt x="9" y="10"/>
                    <a:pt x="7" y="12"/>
                  </a:cubicBezTo>
                  <a:cubicBezTo>
                    <a:pt x="6" y="13"/>
                    <a:pt x="5" y="13"/>
                    <a:pt x="4" y="14"/>
                  </a:cubicBezTo>
                  <a:cubicBezTo>
                    <a:pt x="3" y="15"/>
                    <a:pt x="2" y="16"/>
                    <a:pt x="2" y="17"/>
                  </a:cubicBezTo>
                  <a:cubicBezTo>
                    <a:pt x="1" y="18"/>
                    <a:pt x="0" y="19"/>
                    <a:pt x="0" y="19"/>
                  </a:cubicBezTo>
                  <a:cubicBezTo>
                    <a:pt x="0" y="19"/>
                    <a:pt x="0" y="18"/>
                    <a:pt x="1" y="16"/>
                  </a:cubicBezTo>
                  <a:cubicBezTo>
                    <a:pt x="1" y="15"/>
                    <a:pt x="2" y="12"/>
                    <a:pt x="4" y="9"/>
                  </a:cubicBezTo>
                  <a:cubicBezTo>
                    <a:pt x="5" y="8"/>
                    <a:pt x="7" y="6"/>
                    <a:pt x="8" y="5"/>
                  </a:cubicBezTo>
                  <a:cubicBezTo>
                    <a:pt x="9" y="5"/>
                    <a:pt x="10" y="4"/>
                    <a:pt x="11" y="4"/>
                  </a:cubicBezTo>
                  <a:cubicBezTo>
                    <a:pt x="12" y="3"/>
                    <a:pt x="13" y="3"/>
                    <a:pt x="14" y="2"/>
                  </a:cubicBezTo>
                  <a:cubicBezTo>
                    <a:pt x="16" y="2"/>
                    <a:pt x="18" y="1"/>
                    <a:pt x="20" y="1"/>
                  </a:cubicBezTo>
                  <a:cubicBezTo>
                    <a:pt x="23" y="0"/>
                    <a:pt x="25" y="0"/>
                    <a:pt x="27" y="0"/>
                  </a:cubicBezTo>
                  <a:cubicBezTo>
                    <a:pt x="29" y="0"/>
                    <a:pt x="31" y="0"/>
                    <a:pt x="34" y="1"/>
                  </a:cubicBezTo>
                  <a:cubicBezTo>
                    <a:pt x="36" y="1"/>
                    <a:pt x="38" y="2"/>
                    <a:pt x="40" y="3"/>
                  </a:cubicBezTo>
                  <a:cubicBezTo>
                    <a:pt x="42" y="4"/>
                    <a:pt x="44" y="5"/>
                    <a:pt x="45" y="6"/>
                  </a:cubicBezTo>
                  <a:cubicBezTo>
                    <a:pt x="47" y="7"/>
                    <a:pt x="48" y="9"/>
                    <a:pt x="49" y="10"/>
                  </a:cubicBezTo>
                  <a:cubicBezTo>
                    <a:pt x="51" y="12"/>
                    <a:pt x="53" y="15"/>
                    <a:pt x="53" y="17"/>
                  </a:cubicBezTo>
                  <a:cubicBezTo>
                    <a:pt x="54" y="18"/>
                    <a:pt x="54" y="19"/>
                    <a:pt x="54" y="19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şľíḓè">
              <a:extLst>
                <a:ext uri="{FF2B5EF4-FFF2-40B4-BE49-F238E27FC236}">
                  <a16:creationId xmlns:a16="http://schemas.microsoft.com/office/drawing/2014/main" id="{61447E2B-BBCF-4E23-B05C-055A44E3E205}"/>
                </a:ext>
              </a:extLst>
            </p:cNvPr>
            <p:cNvSpPr/>
            <p:nvPr/>
          </p:nvSpPr>
          <p:spPr bwMode="auto">
            <a:xfrm>
              <a:off x="7020648" y="2939979"/>
              <a:ext cx="126698" cy="80405"/>
            </a:xfrm>
            <a:custGeom>
              <a:avLst/>
              <a:gdLst>
                <a:gd name="T0" fmla="*/ 0 w 25"/>
                <a:gd name="T1" fmla="*/ 13 h 16"/>
                <a:gd name="T2" fmla="*/ 5 w 25"/>
                <a:gd name="T3" fmla="*/ 11 h 16"/>
                <a:gd name="T4" fmla="*/ 9 w 25"/>
                <a:gd name="T5" fmla="*/ 10 h 16"/>
                <a:gd name="T6" fmla="*/ 14 w 25"/>
                <a:gd name="T7" fmla="*/ 8 h 16"/>
                <a:gd name="T8" fmla="*/ 16 w 25"/>
                <a:gd name="T9" fmla="*/ 7 h 16"/>
                <a:gd name="T10" fmla="*/ 18 w 25"/>
                <a:gd name="T11" fmla="*/ 6 h 16"/>
                <a:gd name="T12" fmla="*/ 20 w 25"/>
                <a:gd name="T13" fmla="*/ 4 h 16"/>
                <a:gd name="T14" fmla="*/ 22 w 25"/>
                <a:gd name="T15" fmla="*/ 3 h 16"/>
                <a:gd name="T16" fmla="*/ 23 w 25"/>
                <a:gd name="T17" fmla="*/ 2 h 16"/>
                <a:gd name="T18" fmla="*/ 24 w 25"/>
                <a:gd name="T19" fmla="*/ 1 h 16"/>
                <a:gd name="T20" fmla="*/ 25 w 25"/>
                <a:gd name="T21" fmla="*/ 0 h 16"/>
                <a:gd name="T22" fmla="*/ 25 w 25"/>
                <a:gd name="T23" fmla="*/ 1 h 16"/>
                <a:gd name="T24" fmla="*/ 24 w 25"/>
                <a:gd name="T25" fmla="*/ 5 h 16"/>
                <a:gd name="T26" fmla="*/ 23 w 25"/>
                <a:gd name="T27" fmla="*/ 7 h 16"/>
                <a:gd name="T28" fmla="*/ 22 w 25"/>
                <a:gd name="T29" fmla="*/ 10 h 16"/>
                <a:gd name="T30" fmla="*/ 19 w 25"/>
                <a:gd name="T31" fmla="*/ 12 h 16"/>
                <a:gd name="T32" fmla="*/ 16 w 25"/>
                <a:gd name="T33" fmla="*/ 14 h 16"/>
                <a:gd name="T34" fmla="*/ 5 w 25"/>
                <a:gd name="T35" fmla="*/ 15 h 16"/>
                <a:gd name="T36" fmla="*/ 0 w 25"/>
                <a:gd name="T37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16">
                  <a:moveTo>
                    <a:pt x="0" y="13"/>
                  </a:moveTo>
                  <a:cubicBezTo>
                    <a:pt x="0" y="13"/>
                    <a:pt x="2" y="12"/>
                    <a:pt x="5" y="11"/>
                  </a:cubicBezTo>
                  <a:cubicBezTo>
                    <a:pt x="6" y="11"/>
                    <a:pt x="8" y="11"/>
                    <a:pt x="9" y="10"/>
                  </a:cubicBezTo>
                  <a:cubicBezTo>
                    <a:pt x="11" y="10"/>
                    <a:pt x="12" y="9"/>
                    <a:pt x="14" y="8"/>
                  </a:cubicBezTo>
                  <a:cubicBezTo>
                    <a:pt x="15" y="8"/>
                    <a:pt x="15" y="7"/>
                    <a:pt x="16" y="7"/>
                  </a:cubicBezTo>
                  <a:cubicBezTo>
                    <a:pt x="17" y="7"/>
                    <a:pt x="17" y="6"/>
                    <a:pt x="18" y="6"/>
                  </a:cubicBezTo>
                  <a:cubicBezTo>
                    <a:pt x="19" y="5"/>
                    <a:pt x="19" y="5"/>
                    <a:pt x="20" y="4"/>
                  </a:cubicBezTo>
                  <a:cubicBezTo>
                    <a:pt x="21" y="4"/>
                    <a:pt x="21" y="3"/>
                    <a:pt x="22" y="3"/>
                  </a:cubicBezTo>
                  <a:cubicBezTo>
                    <a:pt x="22" y="2"/>
                    <a:pt x="23" y="2"/>
                    <a:pt x="23" y="2"/>
                  </a:cubicBezTo>
                  <a:cubicBezTo>
                    <a:pt x="23" y="1"/>
                    <a:pt x="24" y="1"/>
                    <a:pt x="24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1"/>
                  </a:cubicBezTo>
                  <a:cubicBezTo>
                    <a:pt x="25" y="2"/>
                    <a:pt x="25" y="3"/>
                    <a:pt x="24" y="5"/>
                  </a:cubicBezTo>
                  <a:cubicBezTo>
                    <a:pt x="24" y="6"/>
                    <a:pt x="24" y="6"/>
                    <a:pt x="23" y="7"/>
                  </a:cubicBezTo>
                  <a:cubicBezTo>
                    <a:pt x="23" y="8"/>
                    <a:pt x="22" y="9"/>
                    <a:pt x="22" y="10"/>
                  </a:cubicBezTo>
                  <a:cubicBezTo>
                    <a:pt x="21" y="10"/>
                    <a:pt x="20" y="11"/>
                    <a:pt x="19" y="12"/>
                  </a:cubicBezTo>
                  <a:cubicBezTo>
                    <a:pt x="18" y="13"/>
                    <a:pt x="17" y="13"/>
                    <a:pt x="16" y="14"/>
                  </a:cubicBezTo>
                  <a:cubicBezTo>
                    <a:pt x="12" y="16"/>
                    <a:pt x="8" y="16"/>
                    <a:pt x="5" y="15"/>
                  </a:cubicBezTo>
                  <a:cubicBezTo>
                    <a:pt x="2" y="14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iṥļidè">
              <a:extLst>
                <a:ext uri="{FF2B5EF4-FFF2-40B4-BE49-F238E27FC236}">
                  <a16:creationId xmlns:a16="http://schemas.microsoft.com/office/drawing/2014/main" id="{17388628-B2B3-45DF-8B01-8D8E6EA0E206}"/>
                </a:ext>
              </a:extLst>
            </p:cNvPr>
            <p:cNvSpPr/>
            <p:nvPr/>
          </p:nvSpPr>
          <p:spPr bwMode="auto">
            <a:xfrm>
              <a:off x="7015775" y="2954598"/>
              <a:ext cx="56040" cy="5604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ïšļïḋè">
              <a:extLst>
                <a:ext uri="{FF2B5EF4-FFF2-40B4-BE49-F238E27FC236}">
                  <a16:creationId xmlns:a16="http://schemas.microsoft.com/office/drawing/2014/main" id="{5EE90BA7-59EA-4384-8056-F4D7ED276605}"/>
                </a:ext>
              </a:extLst>
            </p:cNvPr>
            <p:cNvSpPr/>
            <p:nvPr/>
          </p:nvSpPr>
          <p:spPr bwMode="auto">
            <a:xfrm>
              <a:off x="6321376" y="2939979"/>
              <a:ext cx="126698" cy="80405"/>
            </a:xfrm>
            <a:custGeom>
              <a:avLst/>
              <a:gdLst>
                <a:gd name="T0" fmla="*/ 25 w 25"/>
                <a:gd name="T1" fmla="*/ 13 h 16"/>
                <a:gd name="T2" fmla="*/ 20 w 25"/>
                <a:gd name="T3" fmla="*/ 15 h 16"/>
                <a:gd name="T4" fmla="*/ 8 w 25"/>
                <a:gd name="T5" fmla="*/ 14 h 16"/>
                <a:gd name="T6" fmla="*/ 6 w 25"/>
                <a:gd name="T7" fmla="*/ 12 h 16"/>
                <a:gd name="T8" fmla="*/ 3 w 25"/>
                <a:gd name="T9" fmla="*/ 10 h 16"/>
                <a:gd name="T10" fmla="*/ 2 w 25"/>
                <a:gd name="T11" fmla="*/ 7 h 16"/>
                <a:gd name="T12" fmla="*/ 0 w 25"/>
                <a:gd name="T13" fmla="*/ 5 h 16"/>
                <a:gd name="T14" fmla="*/ 0 w 25"/>
                <a:gd name="T15" fmla="*/ 1 h 16"/>
                <a:gd name="T16" fmla="*/ 0 w 25"/>
                <a:gd name="T17" fmla="*/ 0 h 16"/>
                <a:gd name="T18" fmla="*/ 1 w 25"/>
                <a:gd name="T19" fmla="*/ 1 h 16"/>
                <a:gd name="T20" fmla="*/ 2 w 25"/>
                <a:gd name="T21" fmla="*/ 2 h 16"/>
                <a:gd name="T22" fmla="*/ 3 w 25"/>
                <a:gd name="T23" fmla="*/ 3 h 16"/>
                <a:gd name="T24" fmla="*/ 5 w 25"/>
                <a:gd name="T25" fmla="*/ 4 h 16"/>
                <a:gd name="T26" fmla="*/ 7 w 25"/>
                <a:gd name="T27" fmla="*/ 6 h 16"/>
                <a:gd name="T28" fmla="*/ 9 w 25"/>
                <a:gd name="T29" fmla="*/ 7 h 16"/>
                <a:gd name="T30" fmla="*/ 11 w 25"/>
                <a:gd name="T31" fmla="*/ 8 h 16"/>
                <a:gd name="T32" fmla="*/ 16 w 25"/>
                <a:gd name="T33" fmla="*/ 10 h 16"/>
                <a:gd name="T34" fmla="*/ 20 w 25"/>
                <a:gd name="T35" fmla="*/ 11 h 16"/>
                <a:gd name="T36" fmla="*/ 25 w 25"/>
                <a:gd name="T37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16">
                  <a:moveTo>
                    <a:pt x="25" y="13"/>
                  </a:moveTo>
                  <a:cubicBezTo>
                    <a:pt x="25" y="13"/>
                    <a:pt x="23" y="14"/>
                    <a:pt x="20" y="15"/>
                  </a:cubicBezTo>
                  <a:cubicBezTo>
                    <a:pt x="17" y="16"/>
                    <a:pt x="13" y="16"/>
                    <a:pt x="8" y="14"/>
                  </a:cubicBezTo>
                  <a:cubicBezTo>
                    <a:pt x="7" y="13"/>
                    <a:pt x="7" y="13"/>
                    <a:pt x="6" y="12"/>
                  </a:cubicBezTo>
                  <a:cubicBezTo>
                    <a:pt x="5" y="11"/>
                    <a:pt x="4" y="10"/>
                    <a:pt x="3" y="10"/>
                  </a:cubicBezTo>
                  <a:cubicBezTo>
                    <a:pt x="3" y="9"/>
                    <a:pt x="2" y="8"/>
                    <a:pt x="2" y="7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1" y="1"/>
                    <a:pt x="1" y="1"/>
                    <a:pt x="2" y="2"/>
                  </a:cubicBezTo>
                  <a:cubicBezTo>
                    <a:pt x="2" y="2"/>
                    <a:pt x="3" y="2"/>
                    <a:pt x="3" y="3"/>
                  </a:cubicBezTo>
                  <a:cubicBezTo>
                    <a:pt x="4" y="3"/>
                    <a:pt x="4" y="4"/>
                    <a:pt x="5" y="4"/>
                  </a:cubicBezTo>
                  <a:cubicBezTo>
                    <a:pt x="6" y="5"/>
                    <a:pt x="6" y="5"/>
                    <a:pt x="7" y="6"/>
                  </a:cubicBezTo>
                  <a:cubicBezTo>
                    <a:pt x="8" y="6"/>
                    <a:pt x="8" y="7"/>
                    <a:pt x="9" y="7"/>
                  </a:cubicBezTo>
                  <a:cubicBezTo>
                    <a:pt x="10" y="7"/>
                    <a:pt x="10" y="8"/>
                    <a:pt x="11" y="8"/>
                  </a:cubicBezTo>
                  <a:cubicBezTo>
                    <a:pt x="13" y="9"/>
                    <a:pt x="14" y="10"/>
                    <a:pt x="16" y="10"/>
                  </a:cubicBezTo>
                  <a:cubicBezTo>
                    <a:pt x="17" y="11"/>
                    <a:pt x="19" y="11"/>
                    <a:pt x="20" y="11"/>
                  </a:cubicBezTo>
                  <a:cubicBezTo>
                    <a:pt x="23" y="12"/>
                    <a:pt x="25" y="13"/>
                    <a:pt x="25" y="13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śḻíḑe">
              <a:extLst>
                <a:ext uri="{FF2B5EF4-FFF2-40B4-BE49-F238E27FC236}">
                  <a16:creationId xmlns:a16="http://schemas.microsoft.com/office/drawing/2014/main" id="{18F5E7A3-CA88-4523-ABFB-09EAE18F5D15}"/>
                </a:ext>
              </a:extLst>
            </p:cNvPr>
            <p:cNvSpPr/>
            <p:nvPr/>
          </p:nvSpPr>
          <p:spPr bwMode="auto">
            <a:xfrm>
              <a:off x="6392033" y="4236192"/>
              <a:ext cx="207103" cy="1045256"/>
            </a:xfrm>
            <a:custGeom>
              <a:avLst/>
              <a:gdLst>
                <a:gd name="T0" fmla="*/ 41 w 41"/>
                <a:gd name="T1" fmla="*/ 0 h 206"/>
                <a:gd name="T2" fmla="*/ 4 w 41"/>
                <a:gd name="T3" fmla="*/ 129 h 206"/>
                <a:gd name="T4" fmla="*/ 2 w 41"/>
                <a:gd name="T5" fmla="*/ 164 h 206"/>
                <a:gd name="T6" fmla="*/ 9 w 41"/>
                <a:gd name="T7" fmla="*/ 206 h 206"/>
                <a:gd name="T8" fmla="*/ 24 w 41"/>
                <a:gd name="T9" fmla="*/ 198 h 206"/>
                <a:gd name="T10" fmla="*/ 41 w 41"/>
                <a:gd name="T11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06">
                  <a:moveTo>
                    <a:pt x="41" y="0"/>
                  </a:moveTo>
                  <a:cubicBezTo>
                    <a:pt x="4" y="129"/>
                    <a:pt x="4" y="129"/>
                    <a:pt x="4" y="129"/>
                  </a:cubicBezTo>
                  <a:cubicBezTo>
                    <a:pt x="1" y="140"/>
                    <a:pt x="0" y="152"/>
                    <a:pt x="2" y="164"/>
                  </a:cubicBezTo>
                  <a:cubicBezTo>
                    <a:pt x="9" y="206"/>
                    <a:pt x="9" y="206"/>
                    <a:pt x="9" y="206"/>
                  </a:cubicBezTo>
                  <a:cubicBezTo>
                    <a:pt x="24" y="198"/>
                    <a:pt x="24" y="198"/>
                    <a:pt x="24" y="198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şľîḍê">
              <a:extLst>
                <a:ext uri="{FF2B5EF4-FFF2-40B4-BE49-F238E27FC236}">
                  <a16:creationId xmlns:a16="http://schemas.microsoft.com/office/drawing/2014/main" id="{253B8527-B2F0-4E55-A659-F62CFC30DDF7}"/>
                </a:ext>
              </a:extLst>
            </p:cNvPr>
            <p:cNvSpPr/>
            <p:nvPr/>
          </p:nvSpPr>
          <p:spPr bwMode="auto">
            <a:xfrm>
              <a:off x="6996283" y="2438061"/>
              <a:ext cx="667599" cy="1483824"/>
            </a:xfrm>
            <a:custGeom>
              <a:avLst/>
              <a:gdLst>
                <a:gd name="T0" fmla="*/ 94 w 132"/>
                <a:gd name="T1" fmla="*/ 130 h 293"/>
                <a:gd name="T2" fmla="*/ 62 w 132"/>
                <a:gd name="T3" fmla="*/ 14 h 293"/>
                <a:gd name="T4" fmla="*/ 131 w 132"/>
                <a:gd name="T5" fmla="*/ 18 h 293"/>
                <a:gd name="T6" fmla="*/ 132 w 132"/>
                <a:gd name="T7" fmla="*/ 153 h 293"/>
                <a:gd name="T8" fmla="*/ 0 w 132"/>
                <a:gd name="T9" fmla="*/ 293 h 293"/>
                <a:gd name="T10" fmla="*/ 94 w 132"/>
                <a:gd name="T11" fmla="*/ 13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293">
                  <a:moveTo>
                    <a:pt x="94" y="130"/>
                  </a:moveTo>
                  <a:cubicBezTo>
                    <a:pt x="92" y="66"/>
                    <a:pt x="62" y="14"/>
                    <a:pt x="62" y="14"/>
                  </a:cubicBezTo>
                  <a:cubicBezTo>
                    <a:pt x="62" y="14"/>
                    <a:pt x="91" y="0"/>
                    <a:pt x="131" y="18"/>
                  </a:cubicBezTo>
                  <a:cubicBezTo>
                    <a:pt x="132" y="153"/>
                    <a:pt x="132" y="153"/>
                    <a:pt x="132" y="153"/>
                  </a:cubicBezTo>
                  <a:cubicBezTo>
                    <a:pt x="129" y="213"/>
                    <a:pt x="69" y="279"/>
                    <a:pt x="0" y="293"/>
                  </a:cubicBezTo>
                  <a:cubicBezTo>
                    <a:pt x="54" y="259"/>
                    <a:pt x="96" y="194"/>
                    <a:pt x="94" y="130"/>
                  </a:cubicBezTo>
                  <a:close/>
                </a:path>
              </a:pathLst>
            </a:custGeom>
            <a:solidFill>
              <a:srgbClr val="DF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sḻiḑé">
              <a:extLst>
                <a:ext uri="{FF2B5EF4-FFF2-40B4-BE49-F238E27FC236}">
                  <a16:creationId xmlns:a16="http://schemas.microsoft.com/office/drawing/2014/main" id="{57993D0B-608C-42F1-913A-3ABE125B75DC}"/>
                </a:ext>
              </a:extLst>
            </p:cNvPr>
            <p:cNvSpPr/>
            <p:nvPr/>
          </p:nvSpPr>
          <p:spPr bwMode="auto">
            <a:xfrm>
              <a:off x="7176584" y="1982438"/>
              <a:ext cx="533593" cy="1013581"/>
            </a:xfrm>
            <a:custGeom>
              <a:avLst/>
              <a:gdLst>
                <a:gd name="T0" fmla="*/ 95 w 105"/>
                <a:gd name="T1" fmla="*/ 0 h 200"/>
                <a:gd name="T2" fmla="*/ 3 w 105"/>
                <a:gd name="T3" fmla="*/ 75 h 200"/>
                <a:gd name="T4" fmla="*/ 65 w 105"/>
                <a:gd name="T5" fmla="*/ 136 h 200"/>
                <a:gd name="T6" fmla="*/ 96 w 105"/>
                <a:gd name="T7" fmla="*/ 200 h 200"/>
                <a:gd name="T8" fmla="*/ 105 w 105"/>
                <a:gd name="T9" fmla="*/ 78 h 200"/>
                <a:gd name="T10" fmla="*/ 95 w 105"/>
                <a:gd name="T11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200">
                  <a:moveTo>
                    <a:pt x="95" y="0"/>
                  </a:moveTo>
                  <a:cubicBezTo>
                    <a:pt x="95" y="0"/>
                    <a:pt x="6" y="52"/>
                    <a:pt x="3" y="75"/>
                  </a:cubicBezTo>
                  <a:cubicBezTo>
                    <a:pt x="0" y="98"/>
                    <a:pt x="42" y="105"/>
                    <a:pt x="65" y="136"/>
                  </a:cubicBezTo>
                  <a:cubicBezTo>
                    <a:pt x="88" y="167"/>
                    <a:pt x="96" y="200"/>
                    <a:pt x="96" y="200"/>
                  </a:cubicBezTo>
                  <a:cubicBezTo>
                    <a:pt x="105" y="78"/>
                    <a:pt x="105" y="78"/>
                    <a:pt x="105" y="78"/>
                  </a:cubicBezTo>
                  <a:lnTo>
                    <a:pt x="95" y="0"/>
                  </a:lnTo>
                  <a:close/>
                </a:path>
              </a:pathLst>
            </a:custGeom>
            <a:solidFill>
              <a:srgbClr val="B949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îSľiḍê">
              <a:extLst>
                <a:ext uri="{FF2B5EF4-FFF2-40B4-BE49-F238E27FC236}">
                  <a16:creationId xmlns:a16="http://schemas.microsoft.com/office/drawing/2014/main" id="{64FA6467-3C8C-4A98-86C8-BE34B804B2CA}"/>
                </a:ext>
              </a:extLst>
            </p:cNvPr>
            <p:cNvSpPr/>
            <p:nvPr/>
          </p:nvSpPr>
          <p:spPr bwMode="auto">
            <a:xfrm>
              <a:off x="6189805" y="1699805"/>
              <a:ext cx="1454587" cy="677345"/>
            </a:xfrm>
            <a:custGeom>
              <a:avLst/>
              <a:gdLst>
                <a:gd name="T0" fmla="*/ 232 w 287"/>
                <a:gd name="T1" fmla="*/ 82 h 134"/>
                <a:gd name="T2" fmla="*/ 189 w 287"/>
                <a:gd name="T3" fmla="*/ 121 h 134"/>
                <a:gd name="T4" fmla="*/ 104 w 287"/>
                <a:gd name="T5" fmla="*/ 111 h 134"/>
                <a:gd name="T6" fmla="*/ 37 w 287"/>
                <a:gd name="T7" fmla="*/ 134 h 134"/>
                <a:gd name="T8" fmla="*/ 71 w 287"/>
                <a:gd name="T9" fmla="*/ 40 h 134"/>
                <a:gd name="T10" fmla="*/ 227 w 287"/>
                <a:gd name="T11" fmla="*/ 9 h 134"/>
                <a:gd name="T12" fmla="*/ 287 w 287"/>
                <a:gd name="T13" fmla="*/ 51 h 134"/>
                <a:gd name="T14" fmla="*/ 232 w 287"/>
                <a:gd name="T15" fmla="*/ 8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134">
                  <a:moveTo>
                    <a:pt x="232" y="82"/>
                  </a:moveTo>
                  <a:cubicBezTo>
                    <a:pt x="207" y="99"/>
                    <a:pt x="189" y="121"/>
                    <a:pt x="189" y="121"/>
                  </a:cubicBezTo>
                  <a:cubicBezTo>
                    <a:pt x="189" y="121"/>
                    <a:pt x="144" y="107"/>
                    <a:pt x="104" y="111"/>
                  </a:cubicBezTo>
                  <a:cubicBezTo>
                    <a:pt x="64" y="115"/>
                    <a:pt x="37" y="134"/>
                    <a:pt x="37" y="134"/>
                  </a:cubicBezTo>
                  <a:cubicBezTo>
                    <a:pt x="37" y="134"/>
                    <a:pt x="0" y="85"/>
                    <a:pt x="71" y="40"/>
                  </a:cubicBezTo>
                  <a:cubicBezTo>
                    <a:pt x="128" y="4"/>
                    <a:pt x="184" y="0"/>
                    <a:pt x="227" y="9"/>
                  </a:cubicBezTo>
                  <a:cubicBezTo>
                    <a:pt x="269" y="17"/>
                    <a:pt x="287" y="51"/>
                    <a:pt x="287" y="51"/>
                  </a:cubicBezTo>
                  <a:cubicBezTo>
                    <a:pt x="287" y="51"/>
                    <a:pt x="268" y="58"/>
                    <a:pt x="232" y="82"/>
                  </a:cubicBezTo>
                  <a:close/>
                </a:path>
              </a:pathLst>
            </a:custGeom>
            <a:solidFill>
              <a:srgbClr val="B949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š1ide">
              <a:extLst>
                <a:ext uri="{FF2B5EF4-FFF2-40B4-BE49-F238E27FC236}">
                  <a16:creationId xmlns:a16="http://schemas.microsoft.com/office/drawing/2014/main" id="{2916AE92-7451-46B3-B9CF-82493C9BB6FF}"/>
                </a:ext>
              </a:extLst>
            </p:cNvPr>
            <p:cNvSpPr/>
            <p:nvPr/>
          </p:nvSpPr>
          <p:spPr bwMode="auto">
            <a:xfrm>
              <a:off x="7288663" y="2316237"/>
              <a:ext cx="782115" cy="1033073"/>
            </a:xfrm>
            <a:custGeom>
              <a:avLst/>
              <a:gdLst>
                <a:gd name="T0" fmla="*/ 58 w 154"/>
                <a:gd name="T1" fmla="*/ 36 h 204"/>
                <a:gd name="T2" fmla="*/ 58 w 154"/>
                <a:gd name="T3" fmla="*/ 36 h 204"/>
                <a:gd name="T4" fmla="*/ 64 w 154"/>
                <a:gd name="T5" fmla="*/ 34 h 204"/>
                <a:gd name="T6" fmla="*/ 64 w 154"/>
                <a:gd name="T7" fmla="*/ 34 h 204"/>
                <a:gd name="T8" fmla="*/ 70 w 154"/>
                <a:gd name="T9" fmla="*/ 31 h 204"/>
                <a:gd name="T10" fmla="*/ 74 w 154"/>
                <a:gd name="T11" fmla="*/ 29 h 204"/>
                <a:gd name="T12" fmla="*/ 75 w 154"/>
                <a:gd name="T13" fmla="*/ 28 h 204"/>
                <a:gd name="T14" fmla="*/ 77 w 154"/>
                <a:gd name="T15" fmla="*/ 26 h 204"/>
                <a:gd name="T16" fmla="*/ 79 w 154"/>
                <a:gd name="T17" fmla="*/ 25 h 204"/>
                <a:gd name="T18" fmla="*/ 81 w 154"/>
                <a:gd name="T19" fmla="*/ 24 h 204"/>
                <a:gd name="T20" fmla="*/ 82 w 154"/>
                <a:gd name="T21" fmla="*/ 23 h 204"/>
                <a:gd name="T22" fmla="*/ 99 w 154"/>
                <a:gd name="T23" fmla="*/ 0 h 204"/>
                <a:gd name="T24" fmla="*/ 95 w 154"/>
                <a:gd name="T25" fmla="*/ 28 h 204"/>
                <a:gd name="T26" fmla="*/ 86 w 154"/>
                <a:gd name="T27" fmla="*/ 46 h 204"/>
                <a:gd name="T28" fmla="*/ 124 w 154"/>
                <a:gd name="T29" fmla="*/ 46 h 204"/>
                <a:gd name="T30" fmla="*/ 136 w 154"/>
                <a:gd name="T31" fmla="*/ 8 h 204"/>
                <a:gd name="T32" fmla="*/ 150 w 154"/>
                <a:gd name="T33" fmla="*/ 72 h 204"/>
                <a:gd name="T34" fmla="*/ 69 w 154"/>
                <a:gd name="T35" fmla="*/ 204 h 204"/>
                <a:gd name="T36" fmla="*/ 62 w 154"/>
                <a:gd name="T37" fmla="*/ 104 h 204"/>
                <a:gd name="T38" fmla="*/ 43 w 154"/>
                <a:gd name="T39" fmla="*/ 70 h 204"/>
                <a:gd name="T40" fmla="*/ 0 w 154"/>
                <a:gd name="T41" fmla="*/ 36 h 204"/>
                <a:gd name="T42" fmla="*/ 58 w 154"/>
                <a:gd name="T43" fmla="*/ 3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4" h="204">
                  <a:moveTo>
                    <a:pt x="58" y="36"/>
                  </a:moveTo>
                  <a:cubicBezTo>
                    <a:pt x="58" y="36"/>
                    <a:pt x="58" y="36"/>
                    <a:pt x="58" y="36"/>
                  </a:cubicBezTo>
                  <a:cubicBezTo>
                    <a:pt x="60" y="35"/>
                    <a:pt x="62" y="34"/>
                    <a:pt x="64" y="34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6" y="33"/>
                    <a:pt x="68" y="32"/>
                    <a:pt x="70" y="31"/>
                  </a:cubicBezTo>
                  <a:cubicBezTo>
                    <a:pt x="71" y="30"/>
                    <a:pt x="72" y="30"/>
                    <a:pt x="74" y="29"/>
                  </a:cubicBezTo>
                  <a:cubicBezTo>
                    <a:pt x="74" y="28"/>
                    <a:pt x="75" y="28"/>
                    <a:pt x="75" y="28"/>
                  </a:cubicBezTo>
                  <a:cubicBezTo>
                    <a:pt x="76" y="27"/>
                    <a:pt x="77" y="27"/>
                    <a:pt x="77" y="26"/>
                  </a:cubicBezTo>
                  <a:cubicBezTo>
                    <a:pt x="78" y="26"/>
                    <a:pt x="78" y="26"/>
                    <a:pt x="79" y="25"/>
                  </a:cubicBezTo>
                  <a:cubicBezTo>
                    <a:pt x="80" y="25"/>
                    <a:pt x="80" y="24"/>
                    <a:pt x="81" y="24"/>
                  </a:cubicBezTo>
                  <a:cubicBezTo>
                    <a:pt x="81" y="24"/>
                    <a:pt x="82" y="23"/>
                    <a:pt x="82" y="23"/>
                  </a:cubicBezTo>
                  <a:cubicBezTo>
                    <a:pt x="97" y="11"/>
                    <a:pt x="99" y="0"/>
                    <a:pt x="99" y="0"/>
                  </a:cubicBezTo>
                  <a:cubicBezTo>
                    <a:pt x="99" y="0"/>
                    <a:pt x="100" y="15"/>
                    <a:pt x="95" y="28"/>
                  </a:cubicBezTo>
                  <a:cubicBezTo>
                    <a:pt x="90" y="41"/>
                    <a:pt x="86" y="46"/>
                    <a:pt x="86" y="46"/>
                  </a:cubicBezTo>
                  <a:cubicBezTo>
                    <a:pt x="86" y="46"/>
                    <a:pt x="110" y="57"/>
                    <a:pt x="124" y="46"/>
                  </a:cubicBezTo>
                  <a:cubicBezTo>
                    <a:pt x="133" y="38"/>
                    <a:pt x="136" y="22"/>
                    <a:pt x="136" y="8"/>
                  </a:cubicBezTo>
                  <a:cubicBezTo>
                    <a:pt x="143" y="26"/>
                    <a:pt x="148" y="47"/>
                    <a:pt x="150" y="72"/>
                  </a:cubicBezTo>
                  <a:cubicBezTo>
                    <a:pt x="154" y="163"/>
                    <a:pt x="69" y="204"/>
                    <a:pt x="69" y="20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58" y="93"/>
                    <a:pt x="51" y="82"/>
                    <a:pt x="43" y="70"/>
                  </a:cubicBezTo>
                  <a:cubicBezTo>
                    <a:pt x="31" y="54"/>
                    <a:pt x="13" y="44"/>
                    <a:pt x="0" y="36"/>
                  </a:cubicBezTo>
                  <a:cubicBezTo>
                    <a:pt x="0" y="36"/>
                    <a:pt x="33" y="43"/>
                    <a:pt x="58" y="36"/>
                  </a:cubicBezTo>
                  <a:close/>
                </a:path>
              </a:pathLst>
            </a:custGeom>
            <a:solidFill>
              <a:srgbClr val="A03F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ṥlíďê">
              <a:extLst>
                <a:ext uri="{FF2B5EF4-FFF2-40B4-BE49-F238E27FC236}">
                  <a16:creationId xmlns:a16="http://schemas.microsoft.com/office/drawing/2014/main" id="{6251163B-EADD-4F33-BC52-98DC61E59808}"/>
                </a:ext>
              </a:extLst>
            </p:cNvPr>
            <p:cNvSpPr/>
            <p:nvPr/>
          </p:nvSpPr>
          <p:spPr bwMode="auto">
            <a:xfrm>
              <a:off x="7110799" y="3938940"/>
              <a:ext cx="913685" cy="2202589"/>
            </a:xfrm>
            <a:custGeom>
              <a:avLst/>
              <a:gdLst>
                <a:gd name="T0" fmla="*/ 15 w 180"/>
                <a:gd name="T1" fmla="*/ 292 h 435"/>
                <a:gd name="T2" fmla="*/ 0 w 180"/>
                <a:gd name="T3" fmla="*/ 435 h 435"/>
                <a:gd name="T4" fmla="*/ 140 w 180"/>
                <a:gd name="T5" fmla="*/ 435 h 435"/>
                <a:gd name="T6" fmla="*/ 126 w 180"/>
                <a:gd name="T7" fmla="*/ 369 h 435"/>
                <a:gd name="T8" fmla="*/ 173 w 180"/>
                <a:gd name="T9" fmla="*/ 127 h 435"/>
                <a:gd name="T10" fmla="*/ 134 w 180"/>
                <a:gd name="T11" fmla="*/ 35 h 435"/>
                <a:gd name="T12" fmla="*/ 79 w 180"/>
                <a:gd name="T13" fmla="*/ 0 h 435"/>
                <a:gd name="T14" fmla="*/ 34 w 180"/>
                <a:gd name="T15" fmla="*/ 114 h 435"/>
                <a:gd name="T16" fmla="*/ 30 w 180"/>
                <a:gd name="T17" fmla="*/ 147 h 435"/>
                <a:gd name="T18" fmla="*/ 11 w 180"/>
                <a:gd name="T19" fmla="*/ 215 h 435"/>
                <a:gd name="T20" fmla="*/ 9 w 180"/>
                <a:gd name="T21" fmla="*/ 251 h 435"/>
                <a:gd name="T22" fmla="*/ 15 w 180"/>
                <a:gd name="T23" fmla="*/ 292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0" h="435">
                  <a:moveTo>
                    <a:pt x="15" y="292"/>
                  </a:moveTo>
                  <a:cubicBezTo>
                    <a:pt x="0" y="435"/>
                    <a:pt x="0" y="435"/>
                    <a:pt x="0" y="435"/>
                  </a:cubicBezTo>
                  <a:cubicBezTo>
                    <a:pt x="140" y="435"/>
                    <a:pt x="140" y="435"/>
                    <a:pt x="140" y="435"/>
                  </a:cubicBezTo>
                  <a:cubicBezTo>
                    <a:pt x="126" y="369"/>
                    <a:pt x="126" y="369"/>
                    <a:pt x="126" y="369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80" y="91"/>
                    <a:pt x="164" y="55"/>
                    <a:pt x="134" y="3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30" y="147"/>
                    <a:pt x="30" y="147"/>
                    <a:pt x="30" y="147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8" y="227"/>
                    <a:pt x="7" y="239"/>
                    <a:pt x="9" y="251"/>
                  </a:cubicBezTo>
                  <a:lnTo>
                    <a:pt x="15" y="292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ṧľídé">
              <a:extLst>
                <a:ext uri="{FF2B5EF4-FFF2-40B4-BE49-F238E27FC236}">
                  <a16:creationId xmlns:a16="http://schemas.microsoft.com/office/drawing/2014/main" id="{FD8E2B50-815F-48EC-86D2-EE186D128947}"/>
                </a:ext>
              </a:extLst>
            </p:cNvPr>
            <p:cNvSpPr/>
            <p:nvPr/>
          </p:nvSpPr>
          <p:spPr bwMode="auto">
            <a:xfrm>
              <a:off x="7110799" y="5103583"/>
              <a:ext cx="679782" cy="1037946"/>
            </a:xfrm>
            <a:custGeom>
              <a:avLst/>
              <a:gdLst>
                <a:gd name="T0" fmla="*/ 134 w 134"/>
                <a:gd name="T1" fmla="*/ 205 h 205"/>
                <a:gd name="T2" fmla="*/ 109 w 134"/>
                <a:gd name="T3" fmla="*/ 128 h 205"/>
                <a:gd name="T4" fmla="*/ 109 w 134"/>
                <a:gd name="T5" fmla="*/ 60 h 205"/>
                <a:gd name="T6" fmla="*/ 74 w 134"/>
                <a:gd name="T7" fmla="*/ 47 h 205"/>
                <a:gd name="T8" fmla="*/ 56 w 134"/>
                <a:gd name="T9" fmla="*/ 40 h 205"/>
                <a:gd name="T10" fmla="*/ 51 w 134"/>
                <a:gd name="T11" fmla="*/ 0 h 205"/>
                <a:gd name="T12" fmla="*/ 28 w 134"/>
                <a:gd name="T13" fmla="*/ 70 h 205"/>
                <a:gd name="T14" fmla="*/ 3 w 134"/>
                <a:gd name="T15" fmla="*/ 180 h 205"/>
                <a:gd name="T16" fmla="*/ 0 w 134"/>
                <a:gd name="T17" fmla="*/ 205 h 205"/>
                <a:gd name="T18" fmla="*/ 134 w 134"/>
                <a:gd name="T1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205">
                  <a:moveTo>
                    <a:pt x="134" y="205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58" y="48"/>
                    <a:pt x="56" y="40"/>
                  </a:cubicBezTo>
                  <a:cubicBezTo>
                    <a:pt x="53" y="33"/>
                    <a:pt x="51" y="0"/>
                    <a:pt x="51" y="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3" y="180"/>
                    <a:pt x="3" y="180"/>
                    <a:pt x="3" y="180"/>
                  </a:cubicBezTo>
                  <a:cubicBezTo>
                    <a:pt x="0" y="205"/>
                    <a:pt x="0" y="205"/>
                    <a:pt x="0" y="205"/>
                  </a:cubicBezTo>
                  <a:lnTo>
                    <a:pt x="134" y="205"/>
                  </a:lnTo>
                  <a:close/>
                </a:path>
              </a:pathLst>
            </a:custGeom>
            <a:solidFill>
              <a:srgbClr val="3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ṩ1îdê">
              <a:extLst>
                <a:ext uri="{FF2B5EF4-FFF2-40B4-BE49-F238E27FC236}">
                  <a16:creationId xmlns:a16="http://schemas.microsoft.com/office/drawing/2014/main" id="{AC486565-6F92-4223-A503-7B7FC8BCFDC1}"/>
                </a:ext>
              </a:extLst>
            </p:cNvPr>
            <p:cNvSpPr/>
            <p:nvPr/>
          </p:nvSpPr>
          <p:spPr bwMode="auto">
            <a:xfrm>
              <a:off x="7127854" y="4606539"/>
              <a:ext cx="302125" cy="1408292"/>
            </a:xfrm>
            <a:custGeom>
              <a:avLst/>
              <a:gdLst>
                <a:gd name="T0" fmla="*/ 5 w 60"/>
                <a:gd name="T1" fmla="*/ 245 h 278"/>
                <a:gd name="T2" fmla="*/ 4 w 60"/>
                <a:gd name="T3" fmla="*/ 243 h 278"/>
                <a:gd name="T4" fmla="*/ 12 w 60"/>
                <a:gd name="T5" fmla="*/ 160 h 278"/>
                <a:gd name="T6" fmla="*/ 6 w 60"/>
                <a:gd name="T7" fmla="*/ 119 h 278"/>
                <a:gd name="T8" fmla="*/ 8 w 60"/>
                <a:gd name="T9" fmla="*/ 83 h 278"/>
                <a:gd name="T10" fmla="*/ 27 w 60"/>
                <a:gd name="T11" fmla="*/ 17 h 278"/>
                <a:gd name="T12" fmla="*/ 52 w 60"/>
                <a:gd name="T13" fmla="*/ 0 h 278"/>
                <a:gd name="T14" fmla="*/ 60 w 60"/>
                <a:gd name="T15" fmla="*/ 52 h 278"/>
                <a:gd name="T16" fmla="*/ 52 w 60"/>
                <a:gd name="T17" fmla="*/ 80 h 278"/>
                <a:gd name="T18" fmla="*/ 40 w 60"/>
                <a:gd name="T19" fmla="*/ 137 h 278"/>
                <a:gd name="T20" fmla="*/ 35 w 60"/>
                <a:gd name="T21" fmla="*/ 209 h 278"/>
                <a:gd name="T22" fmla="*/ 0 w 60"/>
                <a:gd name="T23" fmla="*/ 278 h 278"/>
                <a:gd name="T24" fmla="*/ 5 w 60"/>
                <a:gd name="T25" fmla="*/ 245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278">
                  <a:moveTo>
                    <a:pt x="5" y="245"/>
                  </a:moveTo>
                  <a:cubicBezTo>
                    <a:pt x="5" y="245"/>
                    <a:pt x="4" y="244"/>
                    <a:pt x="4" y="243"/>
                  </a:cubicBezTo>
                  <a:cubicBezTo>
                    <a:pt x="12" y="160"/>
                    <a:pt x="12" y="160"/>
                    <a:pt x="12" y="160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4" y="107"/>
                    <a:pt x="5" y="95"/>
                    <a:pt x="8" y="83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101"/>
                    <a:pt x="39" y="130"/>
                    <a:pt x="40" y="137"/>
                  </a:cubicBezTo>
                  <a:cubicBezTo>
                    <a:pt x="41" y="150"/>
                    <a:pt x="43" y="190"/>
                    <a:pt x="35" y="209"/>
                  </a:cubicBezTo>
                  <a:cubicBezTo>
                    <a:pt x="27" y="227"/>
                    <a:pt x="0" y="278"/>
                    <a:pt x="0" y="278"/>
                  </a:cubicBezTo>
                  <a:lnTo>
                    <a:pt x="5" y="245"/>
                  </a:ln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ŝlïḋe">
              <a:extLst>
                <a:ext uri="{FF2B5EF4-FFF2-40B4-BE49-F238E27FC236}">
                  <a16:creationId xmlns:a16="http://schemas.microsoft.com/office/drawing/2014/main" id="{83F4D849-6391-4532-B58D-E39D6E48B3C7}"/>
                </a:ext>
              </a:extLst>
            </p:cNvPr>
            <p:cNvSpPr/>
            <p:nvPr/>
          </p:nvSpPr>
          <p:spPr bwMode="auto">
            <a:xfrm>
              <a:off x="6299447" y="4019345"/>
              <a:ext cx="609123" cy="2122185"/>
            </a:xfrm>
            <a:custGeom>
              <a:avLst/>
              <a:gdLst>
                <a:gd name="T0" fmla="*/ 62 w 120"/>
                <a:gd name="T1" fmla="*/ 419 h 419"/>
                <a:gd name="T2" fmla="*/ 84 w 120"/>
                <a:gd name="T3" fmla="*/ 263 h 419"/>
                <a:gd name="T4" fmla="*/ 79 w 120"/>
                <a:gd name="T5" fmla="*/ 227 h 419"/>
                <a:gd name="T6" fmla="*/ 81 w 120"/>
                <a:gd name="T7" fmla="*/ 192 h 419"/>
                <a:gd name="T8" fmla="*/ 109 w 120"/>
                <a:gd name="T9" fmla="*/ 94 h 419"/>
                <a:gd name="T10" fmla="*/ 120 w 120"/>
                <a:gd name="T11" fmla="*/ 20 h 419"/>
                <a:gd name="T12" fmla="*/ 118 w 120"/>
                <a:gd name="T13" fmla="*/ 0 h 419"/>
                <a:gd name="T14" fmla="*/ 59 w 120"/>
                <a:gd name="T15" fmla="*/ 43 h 419"/>
                <a:gd name="T16" fmla="*/ 13 w 120"/>
                <a:gd name="T17" fmla="*/ 339 h 419"/>
                <a:gd name="T18" fmla="*/ 0 w 120"/>
                <a:gd name="T19" fmla="*/ 419 h 419"/>
                <a:gd name="T20" fmla="*/ 62 w 120"/>
                <a:gd name="T21" fmla="*/ 4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419">
                  <a:moveTo>
                    <a:pt x="62" y="419"/>
                  </a:moveTo>
                  <a:cubicBezTo>
                    <a:pt x="84" y="263"/>
                    <a:pt x="84" y="263"/>
                    <a:pt x="84" y="263"/>
                  </a:cubicBezTo>
                  <a:cubicBezTo>
                    <a:pt x="79" y="227"/>
                    <a:pt x="79" y="227"/>
                    <a:pt x="79" y="227"/>
                  </a:cubicBezTo>
                  <a:cubicBezTo>
                    <a:pt x="77" y="216"/>
                    <a:pt x="78" y="204"/>
                    <a:pt x="81" y="192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13" y="339"/>
                    <a:pt x="13" y="339"/>
                    <a:pt x="13" y="339"/>
                  </a:cubicBezTo>
                  <a:cubicBezTo>
                    <a:pt x="0" y="419"/>
                    <a:pt x="0" y="419"/>
                    <a:pt x="0" y="419"/>
                  </a:cubicBezTo>
                  <a:lnTo>
                    <a:pt x="62" y="419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Sḷidé">
              <a:extLst>
                <a:ext uri="{FF2B5EF4-FFF2-40B4-BE49-F238E27FC236}">
                  <a16:creationId xmlns:a16="http://schemas.microsoft.com/office/drawing/2014/main" id="{C21CBA67-1E94-4D60-B6B3-BBC8BD52FD45}"/>
                </a:ext>
              </a:extLst>
            </p:cNvPr>
            <p:cNvSpPr/>
            <p:nvPr/>
          </p:nvSpPr>
          <p:spPr bwMode="auto">
            <a:xfrm>
              <a:off x="6360360" y="5052418"/>
              <a:ext cx="309435" cy="799169"/>
            </a:xfrm>
            <a:custGeom>
              <a:avLst/>
              <a:gdLst>
                <a:gd name="T0" fmla="*/ 43 w 61"/>
                <a:gd name="T1" fmla="*/ 3 h 158"/>
                <a:gd name="T2" fmla="*/ 26 w 61"/>
                <a:gd name="T3" fmla="*/ 5 h 158"/>
                <a:gd name="T4" fmla="*/ 11 w 61"/>
                <a:gd name="T5" fmla="*/ 0 h 158"/>
                <a:gd name="T6" fmla="*/ 18 w 61"/>
                <a:gd name="T7" fmla="*/ 46 h 158"/>
                <a:gd name="T8" fmla="*/ 9 w 61"/>
                <a:gd name="T9" fmla="*/ 92 h 158"/>
                <a:gd name="T10" fmla="*/ 0 w 61"/>
                <a:gd name="T11" fmla="*/ 153 h 158"/>
                <a:gd name="T12" fmla="*/ 59 w 61"/>
                <a:gd name="T13" fmla="*/ 158 h 158"/>
                <a:gd name="T14" fmla="*/ 61 w 61"/>
                <a:gd name="T15" fmla="*/ 99 h 158"/>
                <a:gd name="T16" fmla="*/ 43 w 61"/>
                <a:gd name="T17" fmla="*/ 3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58">
                  <a:moveTo>
                    <a:pt x="43" y="3"/>
                  </a:moveTo>
                  <a:cubicBezTo>
                    <a:pt x="43" y="3"/>
                    <a:pt x="36" y="5"/>
                    <a:pt x="26" y="5"/>
                  </a:cubicBezTo>
                  <a:cubicBezTo>
                    <a:pt x="15" y="4"/>
                    <a:pt x="11" y="0"/>
                    <a:pt x="11" y="0"/>
                  </a:cubicBezTo>
                  <a:cubicBezTo>
                    <a:pt x="11" y="0"/>
                    <a:pt x="20" y="37"/>
                    <a:pt x="18" y="46"/>
                  </a:cubicBezTo>
                  <a:cubicBezTo>
                    <a:pt x="17" y="54"/>
                    <a:pt x="9" y="92"/>
                    <a:pt x="9" y="9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59" y="158"/>
                    <a:pt x="59" y="158"/>
                    <a:pt x="59" y="158"/>
                  </a:cubicBezTo>
                  <a:cubicBezTo>
                    <a:pt x="61" y="99"/>
                    <a:pt x="61" y="99"/>
                    <a:pt x="61" y="99"/>
                  </a:cubicBezTo>
                  <a:lnTo>
                    <a:pt x="43" y="3"/>
                  </a:lnTo>
                  <a:close/>
                </a:path>
              </a:pathLst>
            </a:custGeom>
            <a:solidFill>
              <a:srgbClr val="3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şḻidê">
              <a:extLst>
                <a:ext uri="{FF2B5EF4-FFF2-40B4-BE49-F238E27FC236}">
                  <a16:creationId xmlns:a16="http://schemas.microsoft.com/office/drawing/2014/main" id="{F9B7BD9A-625B-48AD-BA59-D260401C32C5}"/>
                </a:ext>
              </a:extLst>
            </p:cNvPr>
            <p:cNvSpPr/>
            <p:nvPr/>
          </p:nvSpPr>
          <p:spPr bwMode="auto">
            <a:xfrm>
              <a:off x="6538223" y="4550501"/>
              <a:ext cx="258268" cy="1115913"/>
            </a:xfrm>
            <a:custGeom>
              <a:avLst/>
              <a:gdLst>
                <a:gd name="T0" fmla="*/ 12 w 51"/>
                <a:gd name="T1" fmla="*/ 50 h 220"/>
                <a:gd name="T2" fmla="*/ 42 w 51"/>
                <a:gd name="T3" fmla="*/ 0 h 220"/>
                <a:gd name="T4" fmla="*/ 51 w 51"/>
                <a:gd name="T5" fmla="*/ 28 h 220"/>
                <a:gd name="T6" fmla="*/ 34 w 51"/>
                <a:gd name="T7" fmla="*/ 87 h 220"/>
                <a:gd name="T8" fmla="*/ 32 w 51"/>
                <a:gd name="T9" fmla="*/ 122 h 220"/>
                <a:gd name="T10" fmla="*/ 37 w 51"/>
                <a:gd name="T11" fmla="*/ 158 h 220"/>
                <a:gd name="T12" fmla="*/ 28 w 51"/>
                <a:gd name="T13" fmla="*/ 220 h 220"/>
                <a:gd name="T14" fmla="*/ 7 w 51"/>
                <a:gd name="T15" fmla="*/ 130 h 220"/>
                <a:gd name="T16" fmla="*/ 12 w 51"/>
                <a:gd name="T17" fmla="*/ 5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220">
                  <a:moveTo>
                    <a:pt x="12" y="5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34" y="87"/>
                    <a:pt x="34" y="87"/>
                    <a:pt x="34" y="87"/>
                  </a:cubicBezTo>
                  <a:cubicBezTo>
                    <a:pt x="31" y="99"/>
                    <a:pt x="30" y="111"/>
                    <a:pt x="32" y="122"/>
                  </a:cubicBezTo>
                  <a:cubicBezTo>
                    <a:pt x="37" y="158"/>
                    <a:pt x="37" y="158"/>
                    <a:pt x="37" y="158"/>
                  </a:cubicBezTo>
                  <a:cubicBezTo>
                    <a:pt x="28" y="220"/>
                    <a:pt x="28" y="220"/>
                    <a:pt x="28" y="220"/>
                  </a:cubicBezTo>
                  <a:cubicBezTo>
                    <a:pt x="28" y="220"/>
                    <a:pt x="14" y="163"/>
                    <a:pt x="7" y="130"/>
                  </a:cubicBezTo>
                  <a:cubicBezTo>
                    <a:pt x="0" y="98"/>
                    <a:pt x="12" y="50"/>
                    <a:pt x="12" y="50"/>
                  </a:cubicBez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îşlïďê">
              <a:extLst>
                <a:ext uri="{FF2B5EF4-FFF2-40B4-BE49-F238E27FC236}">
                  <a16:creationId xmlns:a16="http://schemas.microsoft.com/office/drawing/2014/main" id="{71FDB9F8-2FC6-44F7-A6A0-FFEC0E93650C}"/>
                </a:ext>
              </a:extLst>
            </p:cNvPr>
            <p:cNvSpPr/>
            <p:nvPr/>
          </p:nvSpPr>
          <p:spPr bwMode="auto">
            <a:xfrm>
              <a:off x="7264298" y="3938940"/>
              <a:ext cx="333800" cy="752877"/>
            </a:xfrm>
            <a:custGeom>
              <a:avLst/>
              <a:gdLst>
                <a:gd name="T0" fmla="*/ 137 w 137"/>
                <a:gd name="T1" fmla="*/ 25 h 309"/>
                <a:gd name="T2" fmla="*/ 73 w 137"/>
                <a:gd name="T3" fmla="*/ 259 h 309"/>
                <a:gd name="T4" fmla="*/ 0 w 137"/>
                <a:gd name="T5" fmla="*/ 309 h 309"/>
                <a:gd name="T6" fmla="*/ 8 w 137"/>
                <a:gd name="T7" fmla="*/ 237 h 309"/>
                <a:gd name="T8" fmla="*/ 102 w 137"/>
                <a:gd name="T9" fmla="*/ 0 h 309"/>
                <a:gd name="T10" fmla="*/ 137 w 137"/>
                <a:gd name="T11" fmla="*/ 25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" h="309">
                  <a:moveTo>
                    <a:pt x="137" y="25"/>
                  </a:moveTo>
                  <a:lnTo>
                    <a:pt x="73" y="259"/>
                  </a:lnTo>
                  <a:lnTo>
                    <a:pt x="0" y="309"/>
                  </a:lnTo>
                  <a:lnTo>
                    <a:pt x="8" y="237"/>
                  </a:lnTo>
                  <a:lnTo>
                    <a:pt x="102" y="0"/>
                  </a:lnTo>
                  <a:lnTo>
                    <a:pt x="137" y="25"/>
                  </a:ln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$ḻîdê">
              <a:extLst>
                <a:ext uri="{FF2B5EF4-FFF2-40B4-BE49-F238E27FC236}">
                  <a16:creationId xmlns:a16="http://schemas.microsoft.com/office/drawing/2014/main" id="{E3BBFD2C-E8CC-4251-9AF9-58B65BF2CC70}"/>
                </a:ext>
              </a:extLst>
            </p:cNvPr>
            <p:cNvSpPr/>
            <p:nvPr/>
          </p:nvSpPr>
          <p:spPr bwMode="auto">
            <a:xfrm>
              <a:off x="6735580" y="4019345"/>
              <a:ext cx="172992" cy="672472"/>
            </a:xfrm>
            <a:custGeom>
              <a:avLst/>
              <a:gdLst>
                <a:gd name="T0" fmla="*/ 46 w 71"/>
                <a:gd name="T1" fmla="*/ 17 h 276"/>
                <a:gd name="T2" fmla="*/ 0 w 71"/>
                <a:gd name="T3" fmla="*/ 197 h 276"/>
                <a:gd name="T4" fmla="*/ 25 w 71"/>
                <a:gd name="T5" fmla="*/ 276 h 276"/>
                <a:gd name="T6" fmla="*/ 48 w 71"/>
                <a:gd name="T7" fmla="*/ 195 h 276"/>
                <a:gd name="T8" fmla="*/ 71 w 71"/>
                <a:gd name="T9" fmla="*/ 41 h 276"/>
                <a:gd name="T10" fmla="*/ 67 w 71"/>
                <a:gd name="T11" fmla="*/ 0 h 276"/>
                <a:gd name="T12" fmla="*/ 46 w 71"/>
                <a:gd name="T13" fmla="*/ 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276">
                  <a:moveTo>
                    <a:pt x="46" y="17"/>
                  </a:moveTo>
                  <a:lnTo>
                    <a:pt x="0" y="197"/>
                  </a:lnTo>
                  <a:lnTo>
                    <a:pt x="25" y="276"/>
                  </a:lnTo>
                  <a:lnTo>
                    <a:pt x="48" y="195"/>
                  </a:lnTo>
                  <a:lnTo>
                    <a:pt x="71" y="41"/>
                  </a:lnTo>
                  <a:lnTo>
                    <a:pt x="67" y="0"/>
                  </a:lnTo>
                  <a:lnTo>
                    <a:pt x="46" y="17"/>
                  </a:ln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ṩḻiďè">
              <a:extLst>
                <a:ext uri="{FF2B5EF4-FFF2-40B4-BE49-F238E27FC236}">
                  <a16:creationId xmlns:a16="http://schemas.microsoft.com/office/drawing/2014/main" id="{D4972A7F-09A4-4F5F-9A1A-F4537319E859}"/>
                </a:ext>
              </a:extLst>
            </p:cNvPr>
            <p:cNvSpPr/>
            <p:nvPr/>
          </p:nvSpPr>
          <p:spPr bwMode="auto">
            <a:xfrm>
              <a:off x="7624898" y="2888813"/>
              <a:ext cx="231468" cy="355728"/>
            </a:xfrm>
            <a:custGeom>
              <a:avLst/>
              <a:gdLst>
                <a:gd name="T0" fmla="*/ 2 w 46"/>
                <a:gd name="T1" fmla="*/ 68 h 70"/>
                <a:gd name="T2" fmla="*/ 0 w 46"/>
                <a:gd name="T3" fmla="*/ 1 h 70"/>
                <a:gd name="T4" fmla="*/ 11 w 46"/>
                <a:gd name="T5" fmla="*/ 0 h 70"/>
                <a:gd name="T6" fmla="*/ 46 w 46"/>
                <a:gd name="T7" fmla="*/ 35 h 70"/>
                <a:gd name="T8" fmla="*/ 11 w 46"/>
                <a:gd name="T9" fmla="*/ 70 h 70"/>
                <a:gd name="T10" fmla="*/ 2 w 46"/>
                <a:gd name="T11" fmla="*/ 69 h 70"/>
                <a:gd name="T12" fmla="*/ 2 w 46"/>
                <a:gd name="T13" fmla="*/ 6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70">
                  <a:moveTo>
                    <a:pt x="2" y="68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0"/>
                    <a:pt x="7" y="0"/>
                    <a:pt x="11" y="0"/>
                  </a:cubicBezTo>
                  <a:cubicBezTo>
                    <a:pt x="30" y="0"/>
                    <a:pt x="46" y="15"/>
                    <a:pt x="46" y="35"/>
                  </a:cubicBezTo>
                  <a:cubicBezTo>
                    <a:pt x="46" y="54"/>
                    <a:pt x="30" y="70"/>
                    <a:pt x="11" y="70"/>
                  </a:cubicBezTo>
                  <a:cubicBezTo>
                    <a:pt x="8" y="70"/>
                    <a:pt x="5" y="69"/>
                    <a:pt x="2" y="69"/>
                  </a:cubicBezTo>
                  <a:lnTo>
                    <a:pt x="2" y="68"/>
                  </a:ln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ṣliḍê">
              <a:extLst>
                <a:ext uri="{FF2B5EF4-FFF2-40B4-BE49-F238E27FC236}">
                  <a16:creationId xmlns:a16="http://schemas.microsoft.com/office/drawing/2014/main" id="{77844613-7AA1-4A4C-AA85-A4E8C47100A1}"/>
                </a:ext>
              </a:extLst>
            </p:cNvPr>
            <p:cNvSpPr/>
            <p:nvPr/>
          </p:nvSpPr>
          <p:spPr bwMode="auto">
            <a:xfrm>
              <a:off x="7527439" y="2667091"/>
              <a:ext cx="163246" cy="409331"/>
            </a:xfrm>
            <a:custGeom>
              <a:avLst/>
              <a:gdLst>
                <a:gd name="T0" fmla="*/ 0 w 32"/>
                <a:gd name="T1" fmla="*/ 7 h 81"/>
                <a:gd name="T2" fmla="*/ 0 w 32"/>
                <a:gd name="T3" fmla="*/ 7 h 81"/>
                <a:gd name="T4" fmla="*/ 17 w 32"/>
                <a:gd name="T5" fmla="*/ 66 h 81"/>
                <a:gd name="T6" fmla="*/ 18 w 32"/>
                <a:gd name="T7" fmla="*/ 81 h 81"/>
                <a:gd name="T8" fmla="*/ 32 w 32"/>
                <a:gd name="T9" fmla="*/ 0 h 81"/>
                <a:gd name="T10" fmla="*/ 0 w 32"/>
                <a:gd name="T11" fmla="*/ 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81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10" y="25"/>
                    <a:pt x="16" y="45"/>
                    <a:pt x="17" y="66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A03F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$ļîḋe">
              <a:extLst>
                <a:ext uri="{FF2B5EF4-FFF2-40B4-BE49-F238E27FC236}">
                  <a16:creationId xmlns:a16="http://schemas.microsoft.com/office/drawing/2014/main" id="{E5639B5C-3E70-412E-92BA-E021402A8AF4}"/>
                </a:ext>
              </a:extLst>
            </p:cNvPr>
            <p:cNvSpPr/>
            <p:nvPr/>
          </p:nvSpPr>
          <p:spPr bwMode="auto">
            <a:xfrm>
              <a:off x="7390995" y="2123755"/>
              <a:ext cx="389839" cy="285070"/>
            </a:xfrm>
            <a:custGeom>
              <a:avLst/>
              <a:gdLst>
                <a:gd name="T0" fmla="*/ 4 w 77"/>
                <a:gd name="T1" fmla="*/ 36 h 56"/>
                <a:gd name="T2" fmla="*/ 28 w 77"/>
                <a:gd name="T3" fmla="*/ 11 h 56"/>
                <a:gd name="T4" fmla="*/ 68 w 77"/>
                <a:gd name="T5" fmla="*/ 6 h 56"/>
                <a:gd name="T6" fmla="*/ 33 w 77"/>
                <a:gd name="T7" fmla="*/ 50 h 56"/>
                <a:gd name="T8" fmla="*/ 4 w 77"/>
                <a:gd name="T9" fmla="*/ 3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6">
                  <a:moveTo>
                    <a:pt x="4" y="36"/>
                  </a:moveTo>
                  <a:cubicBezTo>
                    <a:pt x="4" y="36"/>
                    <a:pt x="8" y="21"/>
                    <a:pt x="28" y="11"/>
                  </a:cubicBezTo>
                  <a:cubicBezTo>
                    <a:pt x="47" y="1"/>
                    <a:pt x="60" y="0"/>
                    <a:pt x="68" y="6"/>
                  </a:cubicBezTo>
                  <a:cubicBezTo>
                    <a:pt x="77" y="13"/>
                    <a:pt x="58" y="44"/>
                    <a:pt x="33" y="50"/>
                  </a:cubicBezTo>
                  <a:cubicBezTo>
                    <a:pt x="12" y="56"/>
                    <a:pt x="0" y="49"/>
                    <a:pt x="4" y="36"/>
                  </a:cubicBezTo>
                  <a:close/>
                </a:path>
              </a:pathLst>
            </a:custGeom>
            <a:solidFill>
              <a:srgbClr val="D35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ŝlíde">
              <a:extLst>
                <a:ext uri="{FF2B5EF4-FFF2-40B4-BE49-F238E27FC236}">
                  <a16:creationId xmlns:a16="http://schemas.microsoft.com/office/drawing/2014/main" id="{6AD3E304-DDCB-4DFF-B06D-23EE88731031}"/>
                </a:ext>
              </a:extLst>
            </p:cNvPr>
            <p:cNvSpPr/>
            <p:nvPr/>
          </p:nvSpPr>
          <p:spPr bwMode="auto">
            <a:xfrm>
              <a:off x="6681977" y="1770462"/>
              <a:ext cx="484863" cy="258268"/>
            </a:xfrm>
            <a:custGeom>
              <a:avLst/>
              <a:gdLst>
                <a:gd name="T0" fmla="*/ 11 w 96"/>
                <a:gd name="T1" fmla="*/ 19 h 51"/>
                <a:gd name="T2" fmla="*/ 47 w 96"/>
                <a:gd name="T3" fmla="*/ 3 h 51"/>
                <a:gd name="T4" fmla="*/ 90 w 96"/>
                <a:gd name="T5" fmla="*/ 15 h 51"/>
                <a:gd name="T6" fmla="*/ 33 w 96"/>
                <a:gd name="T7" fmla="*/ 47 h 51"/>
                <a:gd name="T8" fmla="*/ 11 w 96"/>
                <a:gd name="T9" fmla="*/ 1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1">
                  <a:moveTo>
                    <a:pt x="11" y="19"/>
                  </a:moveTo>
                  <a:cubicBezTo>
                    <a:pt x="11" y="19"/>
                    <a:pt x="23" y="5"/>
                    <a:pt x="47" y="3"/>
                  </a:cubicBezTo>
                  <a:cubicBezTo>
                    <a:pt x="72" y="0"/>
                    <a:pt x="85" y="5"/>
                    <a:pt x="90" y="15"/>
                  </a:cubicBezTo>
                  <a:cubicBezTo>
                    <a:pt x="96" y="27"/>
                    <a:pt x="61" y="51"/>
                    <a:pt x="33" y="47"/>
                  </a:cubicBezTo>
                  <a:cubicBezTo>
                    <a:pt x="9" y="44"/>
                    <a:pt x="0" y="32"/>
                    <a:pt x="11" y="19"/>
                  </a:cubicBezTo>
                  <a:close/>
                </a:path>
              </a:pathLst>
            </a:custGeom>
            <a:solidFill>
              <a:srgbClr val="D35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śḷîḑe">
              <a:extLst>
                <a:ext uri="{FF2B5EF4-FFF2-40B4-BE49-F238E27FC236}">
                  <a16:creationId xmlns:a16="http://schemas.microsoft.com/office/drawing/2014/main" id="{C655E38E-D509-43DF-9FE8-E0DDA05A99CF}"/>
                </a:ext>
              </a:extLst>
            </p:cNvPr>
            <p:cNvSpPr/>
            <p:nvPr/>
          </p:nvSpPr>
          <p:spPr bwMode="auto">
            <a:xfrm>
              <a:off x="6331122" y="1789954"/>
              <a:ext cx="1281595" cy="587195"/>
            </a:xfrm>
            <a:custGeom>
              <a:avLst/>
              <a:gdLst>
                <a:gd name="T0" fmla="*/ 7 w 253"/>
                <a:gd name="T1" fmla="*/ 68 h 116"/>
                <a:gd name="T2" fmla="*/ 50 w 253"/>
                <a:gd name="T3" fmla="*/ 26 h 116"/>
                <a:gd name="T4" fmla="*/ 50 w 253"/>
                <a:gd name="T5" fmla="*/ 57 h 116"/>
                <a:gd name="T6" fmla="*/ 180 w 253"/>
                <a:gd name="T7" fmla="*/ 39 h 116"/>
                <a:gd name="T8" fmla="*/ 188 w 253"/>
                <a:gd name="T9" fmla="*/ 0 h 116"/>
                <a:gd name="T10" fmla="*/ 227 w 253"/>
                <a:gd name="T11" fmla="*/ 12 h 116"/>
                <a:gd name="T12" fmla="*/ 253 w 253"/>
                <a:gd name="T13" fmla="*/ 35 h 116"/>
                <a:gd name="T14" fmla="*/ 204 w 253"/>
                <a:gd name="T15" fmla="*/ 64 h 116"/>
                <a:gd name="T16" fmla="*/ 161 w 253"/>
                <a:gd name="T17" fmla="*/ 103 h 116"/>
                <a:gd name="T18" fmla="*/ 76 w 253"/>
                <a:gd name="T19" fmla="*/ 93 h 116"/>
                <a:gd name="T20" fmla="*/ 9 w 253"/>
                <a:gd name="T21" fmla="*/ 116 h 116"/>
                <a:gd name="T22" fmla="*/ 0 w 253"/>
                <a:gd name="T23" fmla="*/ 89 h 116"/>
                <a:gd name="T24" fmla="*/ 7 w 253"/>
                <a:gd name="T25" fmla="*/ 6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3" h="116">
                  <a:moveTo>
                    <a:pt x="7" y="68"/>
                  </a:moveTo>
                  <a:cubicBezTo>
                    <a:pt x="18" y="45"/>
                    <a:pt x="50" y="26"/>
                    <a:pt x="50" y="26"/>
                  </a:cubicBezTo>
                  <a:cubicBezTo>
                    <a:pt x="50" y="26"/>
                    <a:pt x="30" y="51"/>
                    <a:pt x="50" y="57"/>
                  </a:cubicBezTo>
                  <a:cubicBezTo>
                    <a:pt x="70" y="63"/>
                    <a:pt x="154" y="65"/>
                    <a:pt x="180" y="39"/>
                  </a:cubicBezTo>
                  <a:cubicBezTo>
                    <a:pt x="207" y="14"/>
                    <a:pt x="188" y="0"/>
                    <a:pt x="188" y="0"/>
                  </a:cubicBezTo>
                  <a:cubicBezTo>
                    <a:pt x="188" y="0"/>
                    <a:pt x="208" y="2"/>
                    <a:pt x="227" y="12"/>
                  </a:cubicBezTo>
                  <a:cubicBezTo>
                    <a:pt x="240" y="18"/>
                    <a:pt x="249" y="29"/>
                    <a:pt x="253" y="35"/>
                  </a:cubicBezTo>
                  <a:cubicBezTo>
                    <a:pt x="245" y="39"/>
                    <a:pt x="229" y="47"/>
                    <a:pt x="204" y="64"/>
                  </a:cubicBezTo>
                  <a:cubicBezTo>
                    <a:pt x="179" y="81"/>
                    <a:pt x="161" y="103"/>
                    <a:pt x="161" y="103"/>
                  </a:cubicBezTo>
                  <a:cubicBezTo>
                    <a:pt x="161" y="103"/>
                    <a:pt x="116" y="89"/>
                    <a:pt x="76" y="93"/>
                  </a:cubicBezTo>
                  <a:cubicBezTo>
                    <a:pt x="36" y="97"/>
                    <a:pt x="9" y="116"/>
                    <a:pt x="9" y="116"/>
                  </a:cubicBezTo>
                  <a:cubicBezTo>
                    <a:pt x="9" y="116"/>
                    <a:pt x="1" y="105"/>
                    <a:pt x="0" y="89"/>
                  </a:cubicBezTo>
                  <a:cubicBezTo>
                    <a:pt x="1" y="83"/>
                    <a:pt x="3" y="75"/>
                    <a:pt x="7" y="68"/>
                  </a:cubicBezTo>
                  <a:close/>
                </a:path>
              </a:pathLst>
            </a:custGeom>
            <a:solidFill>
              <a:srgbClr val="A03F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$ḻïḋé">
              <a:extLst>
                <a:ext uri="{FF2B5EF4-FFF2-40B4-BE49-F238E27FC236}">
                  <a16:creationId xmlns:a16="http://schemas.microsoft.com/office/drawing/2014/main" id="{8E7DF8D1-CA34-4413-A01A-C97242A7BA18}"/>
                </a:ext>
              </a:extLst>
            </p:cNvPr>
            <p:cNvSpPr/>
            <p:nvPr/>
          </p:nvSpPr>
          <p:spPr bwMode="auto">
            <a:xfrm>
              <a:off x="7320338" y="5944174"/>
              <a:ext cx="343546" cy="155935"/>
            </a:xfrm>
            <a:custGeom>
              <a:avLst/>
              <a:gdLst>
                <a:gd name="T0" fmla="*/ 0 w 141"/>
                <a:gd name="T1" fmla="*/ 23 h 64"/>
                <a:gd name="T2" fmla="*/ 135 w 141"/>
                <a:gd name="T3" fmla="*/ 0 h 64"/>
                <a:gd name="T4" fmla="*/ 141 w 141"/>
                <a:gd name="T5" fmla="*/ 33 h 64"/>
                <a:gd name="T6" fmla="*/ 77 w 141"/>
                <a:gd name="T7" fmla="*/ 64 h 64"/>
                <a:gd name="T8" fmla="*/ 6 w 141"/>
                <a:gd name="T9" fmla="*/ 56 h 64"/>
                <a:gd name="T10" fmla="*/ 0 w 141"/>
                <a:gd name="T11" fmla="*/ 2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64">
                  <a:moveTo>
                    <a:pt x="0" y="23"/>
                  </a:moveTo>
                  <a:lnTo>
                    <a:pt x="135" y="0"/>
                  </a:lnTo>
                  <a:lnTo>
                    <a:pt x="141" y="33"/>
                  </a:lnTo>
                  <a:lnTo>
                    <a:pt x="77" y="64"/>
                  </a:lnTo>
                  <a:lnTo>
                    <a:pt x="6" y="56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ş1îḍè">
              <a:extLst>
                <a:ext uri="{FF2B5EF4-FFF2-40B4-BE49-F238E27FC236}">
                  <a16:creationId xmlns:a16="http://schemas.microsoft.com/office/drawing/2014/main" id="{CCFCD01F-F613-4B2C-835D-E65B8068EF4A}"/>
                </a:ext>
              </a:extLst>
            </p:cNvPr>
            <p:cNvSpPr/>
            <p:nvPr/>
          </p:nvSpPr>
          <p:spPr bwMode="auto">
            <a:xfrm>
              <a:off x="6589390" y="3349309"/>
              <a:ext cx="426387" cy="421514"/>
            </a:xfrm>
            <a:custGeom>
              <a:avLst/>
              <a:gdLst>
                <a:gd name="T0" fmla="*/ 42 w 84"/>
                <a:gd name="T1" fmla="*/ 83 h 83"/>
                <a:gd name="T2" fmla="*/ 42 w 84"/>
                <a:gd name="T3" fmla="*/ 83 h 83"/>
                <a:gd name="T4" fmla="*/ 0 w 84"/>
                <a:gd name="T5" fmla="*/ 41 h 83"/>
                <a:gd name="T6" fmla="*/ 0 w 84"/>
                <a:gd name="T7" fmla="*/ 5 h 83"/>
                <a:gd name="T8" fmla="*/ 5 w 84"/>
                <a:gd name="T9" fmla="*/ 0 h 83"/>
                <a:gd name="T10" fmla="*/ 79 w 84"/>
                <a:gd name="T11" fmla="*/ 0 h 83"/>
                <a:gd name="T12" fmla="*/ 84 w 84"/>
                <a:gd name="T13" fmla="*/ 5 h 83"/>
                <a:gd name="T14" fmla="*/ 84 w 84"/>
                <a:gd name="T15" fmla="*/ 41 h 83"/>
                <a:gd name="T16" fmla="*/ 42 w 84"/>
                <a:gd name="T17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83">
                  <a:moveTo>
                    <a:pt x="42" y="83"/>
                  </a:moveTo>
                  <a:cubicBezTo>
                    <a:pt x="42" y="83"/>
                    <a:pt x="42" y="83"/>
                    <a:pt x="42" y="83"/>
                  </a:cubicBezTo>
                  <a:cubicBezTo>
                    <a:pt x="18" y="83"/>
                    <a:pt x="0" y="64"/>
                    <a:pt x="0" y="4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4" y="2"/>
                    <a:pt x="84" y="5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64"/>
                    <a:pt x="65" y="83"/>
                    <a:pt x="42" y="83"/>
                  </a:cubicBezTo>
                  <a:close/>
                </a:path>
              </a:pathLst>
            </a:custGeom>
            <a:solidFill>
              <a:srgbClr val="E241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îṩļíďé">
              <a:extLst>
                <a:ext uri="{FF2B5EF4-FFF2-40B4-BE49-F238E27FC236}">
                  <a16:creationId xmlns:a16="http://schemas.microsoft.com/office/drawing/2014/main" id="{72D41EA1-BEF3-421B-8D38-89F0B4DB80D0}"/>
                </a:ext>
              </a:extLst>
            </p:cNvPr>
            <p:cNvSpPr/>
            <p:nvPr/>
          </p:nvSpPr>
          <p:spPr bwMode="auto">
            <a:xfrm>
              <a:off x="6599136" y="3361492"/>
              <a:ext cx="406895" cy="95024"/>
            </a:xfrm>
            <a:custGeom>
              <a:avLst/>
              <a:gdLst>
                <a:gd name="T0" fmla="*/ 70 w 80"/>
                <a:gd name="T1" fmla="*/ 19 h 19"/>
                <a:gd name="T2" fmla="*/ 9 w 80"/>
                <a:gd name="T3" fmla="*/ 19 h 19"/>
                <a:gd name="T4" fmla="*/ 0 w 80"/>
                <a:gd name="T5" fmla="*/ 9 h 19"/>
                <a:gd name="T6" fmla="*/ 0 w 80"/>
                <a:gd name="T7" fmla="*/ 6 h 19"/>
                <a:gd name="T8" fmla="*/ 6 w 80"/>
                <a:gd name="T9" fmla="*/ 0 h 19"/>
                <a:gd name="T10" fmla="*/ 74 w 80"/>
                <a:gd name="T11" fmla="*/ 0 h 19"/>
                <a:gd name="T12" fmla="*/ 80 w 80"/>
                <a:gd name="T13" fmla="*/ 6 h 19"/>
                <a:gd name="T14" fmla="*/ 80 w 80"/>
                <a:gd name="T15" fmla="*/ 9 h 19"/>
                <a:gd name="T16" fmla="*/ 70 w 80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19">
                  <a:moveTo>
                    <a:pt x="70" y="19"/>
                  </a:moveTo>
                  <a:cubicBezTo>
                    <a:pt x="9" y="19"/>
                    <a:pt x="9" y="19"/>
                    <a:pt x="9" y="19"/>
                  </a:cubicBezTo>
                  <a:cubicBezTo>
                    <a:pt x="4" y="19"/>
                    <a:pt x="0" y="14"/>
                    <a:pt x="0" y="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7" y="0"/>
                    <a:pt x="80" y="3"/>
                    <a:pt x="80" y="6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0" y="14"/>
                    <a:pt x="75" y="19"/>
                    <a:pt x="70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iṣḻïďè">
              <a:extLst>
                <a:ext uri="{FF2B5EF4-FFF2-40B4-BE49-F238E27FC236}">
                  <a16:creationId xmlns:a16="http://schemas.microsoft.com/office/drawing/2014/main" id="{5EB5A137-6034-4F75-A964-C4B71E81A444}"/>
                </a:ext>
              </a:extLst>
            </p:cNvPr>
            <p:cNvSpPr/>
            <p:nvPr/>
          </p:nvSpPr>
          <p:spPr bwMode="auto">
            <a:xfrm>
              <a:off x="6613755" y="3541793"/>
              <a:ext cx="370347" cy="229030"/>
            </a:xfrm>
            <a:custGeom>
              <a:avLst/>
              <a:gdLst>
                <a:gd name="T0" fmla="*/ 37 w 73"/>
                <a:gd name="T1" fmla="*/ 0 h 45"/>
                <a:gd name="T2" fmla="*/ 37 w 73"/>
                <a:gd name="T3" fmla="*/ 0 h 45"/>
                <a:gd name="T4" fmla="*/ 0 w 73"/>
                <a:gd name="T5" fmla="*/ 24 h 45"/>
                <a:gd name="T6" fmla="*/ 37 w 73"/>
                <a:gd name="T7" fmla="*/ 45 h 45"/>
                <a:gd name="T8" fmla="*/ 73 w 73"/>
                <a:gd name="T9" fmla="*/ 24 h 45"/>
                <a:gd name="T10" fmla="*/ 37 w 73"/>
                <a:gd name="T1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45">
                  <a:moveTo>
                    <a:pt x="37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20" y="0"/>
                    <a:pt x="6" y="10"/>
                    <a:pt x="0" y="24"/>
                  </a:cubicBezTo>
                  <a:cubicBezTo>
                    <a:pt x="7" y="36"/>
                    <a:pt x="21" y="45"/>
                    <a:pt x="37" y="45"/>
                  </a:cubicBezTo>
                  <a:cubicBezTo>
                    <a:pt x="52" y="45"/>
                    <a:pt x="66" y="36"/>
                    <a:pt x="73" y="24"/>
                  </a:cubicBezTo>
                  <a:cubicBezTo>
                    <a:pt x="67" y="10"/>
                    <a:pt x="53" y="0"/>
                    <a:pt x="37" y="0"/>
                  </a:cubicBezTo>
                  <a:close/>
                </a:path>
              </a:pathLst>
            </a:custGeom>
            <a:solidFill>
              <a:srgbClr val="F564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ṩľïḍé">
              <a:extLst>
                <a:ext uri="{FF2B5EF4-FFF2-40B4-BE49-F238E27FC236}">
                  <a16:creationId xmlns:a16="http://schemas.microsoft.com/office/drawing/2014/main" id="{E501F83A-D4F0-4F6D-805D-A0081BFEFE8C}"/>
                </a:ext>
              </a:extLst>
            </p:cNvPr>
            <p:cNvSpPr/>
            <p:nvPr/>
          </p:nvSpPr>
          <p:spPr bwMode="auto">
            <a:xfrm>
              <a:off x="5585555" y="4606539"/>
              <a:ext cx="806480" cy="1074494"/>
            </a:xfrm>
            <a:custGeom>
              <a:avLst/>
              <a:gdLst>
                <a:gd name="T0" fmla="*/ 159 w 159"/>
                <a:gd name="T1" fmla="*/ 161 h 212"/>
                <a:gd name="T2" fmla="*/ 137 w 159"/>
                <a:gd name="T3" fmla="*/ 145 h 212"/>
                <a:gd name="T4" fmla="*/ 108 w 159"/>
                <a:gd name="T5" fmla="*/ 153 h 212"/>
                <a:gd name="T6" fmla="*/ 59 w 159"/>
                <a:gd name="T7" fmla="*/ 141 h 212"/>
                <a:gd name="T8" fmla="*/ 0 w 159"/>
                <a:gd name="T9" fmla="*/ 0 h 212"/>
                <a:gd name="T10" fmla="*/ 56 w 159"/>
                <a:gd name="T11" fmla="*/ 178 h 212"/>
                <a:gd name="T12" fmla="*/ 99 w 159"/>
                <a:gd name="T13" fmla="*/ 212 h 212"/>
                <a:gd name="T14" fmla="*/ 103 w 159"/>
                <a:gd name="T15" fmla="*/ 212 h 212"/>
                <a:gd name="T16" fmla="*/ 147 w 159"/>
                <a:gd name="T17" fmla="*/ 185 h 212"/>
                <a:gd name="T18" fmla="*/ 159 w 159"/>
                <a:gd name="T19" fmla="*/ 161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212">
                  <a:moveTo>
                    <a:pt x="159" y="161"/>
                  </a:moveTo>
                  <a:cubicBezTo>
                    <a:pt x="137" y="145"/>
                    <a:pt x="137" y="145"/>
                    <a:pt x="137" y="145"/>
                  </a:cubicBezTo>
                  <a:cubicBezTo>
                    <a:pt x="131" y="147"/>
                    <a:pt x="121" y="151"/>
                    <a:pt x="108" y="153"/>
                  </a:cubicBezTo>
                  <a:cubicBezTo>
                    <a:pt x="85" y="158"/>
                    <a:pt x="67" y="149"/>
                    <a:pt x="59" y="141"/>
                  </a:cubicBezTo>
                  <a:cubicBezTo>
                    <a:pt x="51" y="133"/>
                    <a:pt x="0" y="0"/>
                    <a:pt x="0" y="0"/>
                  </a:cubicBezTo>
                  <a:cubicBezTo>
                    <a:pt x="56" y="178"/>
                    <a:pt x="56" y="178"/>
                    <a:pt x="56" y="178"/>
                  </a:cubicBezTo>
                  <a:cubicBezTo>
                    <a:pt x="62" y="197"/>
                    <a:pt x="79" y="211"/>
                    <a:pt x="99" y="212"/>
                  </a:cubicBezTo>
                  <a:cubicBezTo>
                    <a:pt x="100" y="212"/>
                    <a:pt x="101" y="212"/>
                    <a:pt x="103" y="212"/>
                  </a:cubicBezTo>
                  <a:cubicBezTo>
                    <a:pt x="121" y="212"/>
                    <a:pt x="139" y="202"/>
                    <a:pt x="147" y="185"/>
                  </a:cubicBezTo>
                  <a:lnTo>
                    <a:pt x="159" y="161"/>
                  </a:lnTo>
                  <a:close/>
                </a:path>
              </a:pathLst>
            </a:custGeom>
            <a:solidFill>
              <a:srgbClr val="DF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ṡ1iḓe">
              <a:extLst>
                <a:ext uri="{FF2B5EF4-FFF2-40B4-BE49-F238E27FC236}">
                  <a16:creationId xmlns:a16="http://schemas.microsoft.com/office/drawing/2014/main" id="{F7190F9E-5B2B-4F6B-97A8-A6B17BE9ABB6}"/>
                </a:ext>
              </a:extLst>
            </p:cNvPr>
            <p:cNvSpPr/>
            <p:nvPr/>
          </p:nvSpPr>
          <p:spPr bwMode="auto">
            <a:xfrm>
              <a:off x="7395868" y="4292232"/>
              <a:ext cx="613996" cy="1230429"/>
            </a:xfrm>
            <a:custGeom>
              <a:avLst/>
              <a:gdLst>
                <a:gd name="T0" fmla="*/ 94 w 121"/>
                <a:gd name="T1" fmla="*/ 5 h 243"/>
                <a:gd name="T2" fmla="*/ 54 w 121"/>
                <a:gd name="T3" fmla="*/ 27 h 243"/>
                <a:gd name="T4" fmla="*/ 0 w 121"/>
                <a:gd name="T5" fmla="*/ 217 h 243"/>
                <a:gd name="T6" fmla="*/ 60 w 121"/>
                <a:gd name="T7" fmla="*/ 243 h 243"/>
                <a:gd name="T8" fmla="*/ 62 w 121"/>
                <a:gd name="T9" fmla="*/ 235 h 243"/>
                <a:gd name="T10" fmla="*/ 117 w 121"/>
                <a:gd name="T11" fmla="*/ 45 h 243"/>
                <a:gd name="T12" fmla="*/ 94 w 121"/>
                <a:gd name="T13" fmla="*/ 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243">
                  <a:moveTo>
                    <a:pt x="94" y="5"/>
                  </a:moveTo>
                  <a:cubicBezTo>
                    <a:pt x="77" y="0"/>
                    <a:pt x="59" y="10"/>
                    <a:pt x="54" y="2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60" y="243"/>
                    <a:pt x="60" y="243"/>
                    <a:pt x="60" y="243"/>
                  </a:cubicBezTo>
                  <a:cubicBezTo>
                    <a:pt x="61" y="240"/>
                    <a:pt x="62" y="238"/>
                    <a:pt x="62" y="235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21" y="27"/>
                    <a:pt x="111" y="9"/>
                    <a:pt x="94" y="5"/>
                  </a:cubicBez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śḻïďè">
              <a:extLst>
                <a:ext uri="{FF2B5EF4-FFF2-40B4-BE49-F238E27FC236}">
                  <a16:creationId xmlns:a16="http://schemas.microsoft.com/office/drawing/2014/main" id="{35B03A26-C1EC-42C7-B149-6578A384775C}"/>
                </a:ext>
              </a:extLst>
            </p:cNvPr>
            <p:cNvSpPr/>
            <p:nvPr/>
          </p:nvSpPr>
          <p:spPr bwMode="auto">
            <a:xfrm>
              <a:off x="5885243" y="5422765"/>
              <a:ext cx="182738" cy="248522"/>
            </a:xfrm>
            <a:custGeom>
              <a:avLst/>
              <a:gdLst>
                <a:gd name="T0" fmla="*/ 10 w 36"/>
                <a:gd name="T1" fmla="*/ 13 h 49"/>
                <a:gd name="T2" fmla="*/ 0 w 36"/>
                <a:gd name="T3" fmla="*/ 25 h 49"/>
                <a:gd name="T4" fmla="*/ 29 w 36"/>
                <a:gd name="T5" fmla="*/ 49 h 49"/>
                <a:gd name="T6" fmla="*/ 31 w 36"/>
                <a:gd name="T7" fmla="*/ 45 h 49"/>
                <a:gd name="T8" fmla="*/ 34 w 36"/>
                <a:gd name="T9" fmla="*/ 0 h 49"/>
                <a:gd name="T10" fmla="*/ 10 w 36"/>
                <a:gd name="T1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49">
                  <a:moveTo>
                    <a:pt x="10" y="13"/>
                  </a:moveTo>
                  <a:cubicBezTo>
                    <a:pt x="5" y="18"/>
                    <a:pt x="2" y="22"/>
                    <a:pt x="0" y="25"/>
                  </a:cubicBezTo>
                  <a:cubicBezTo>
                    <a:pt x="6" y="36"/>
                    <a:pt x="16" y="45"/>
                    <a:pt x="29" y="49"/>
                  </a:cubicBezTo>
                  <a:cubicBezTo>
                    <a:pt x="29" y="48"/>
                    <a:pt x="30" y="47"/>
                    <a:pt x="31" y="45"/>
                  </a:cubicBezTo>
                  <a:cubicBezTo>
                    <a:pt x="36" y="32"/>
                    <a:pt x="34" y="0"/>
                    <a:pt x="34" y="0"/>
                  </a:cubicBezTo>
                  <a:cubicBezTo>
                    <a:pt x="34" y="0"/>
                    <a:pt x="22" y="1"/>
                    <a:pt x="10" y="13"/>
                  </a:cubicBezTo>
                  <a:close/>
                </a:path>
              </a:pathLst>
            </a:custGeom>
            <a:solidFill>
              <a:srgbClr val="CF9E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i$lïḓé">
              <a:extLst>
                <a:ext uri="{FF2B5EF4-FFF2-40B4-BE49-F238E27FC236}">
                  <a16:creationId xmlns:a16="http://schemas.microsoft.com/office/drawing/2014/main" id="{69669F61-19F7-457D-A981-DAC66F336BD6}"/>
                </a:ext>
              </a:extLst>
            </p:cNvPr>
            <p:cNvSpPr/>
            <p:nvPr/>
          </p:nvSpPr>
          <p:spPr bwMode="auto">
            <a:xfrm>
              <a:off x="5941283" y="5391089"/>
              <a:ext cx="1759147" cy="421514"/>
            </a:xfrm>
            <a:custGeom>
              <a:avLst/>
              <a:gdLst>
                <a:gd name="T0" fmla="*/ 261 w 347"/>
                <a:gd name="T1" fmla="*/ 18 h 83"/>
                <a:gd name="T2" fmla="*/ 36 w 347"/>
                <a:gd name="T3" fmla="*/ 4 h 83"/>
                <a:gd name="T4" fmla="*/ 2 w 347"/>
                <a:gd name="T5" fmla="*/ 34 h 83"/>
                <a:gd name="T6" fmla="*/ 32 w 347"/>
                <a:gd name="T7" fmla="*/ 68 h 83"/>
                <a:gd name="T8" fmla="*/ 257 w 347"/>
                <a:gd name="T9" fmla="*/ 83 h 83"/>
                <a:gd name="T10" fmla="*/ 263 w 347"/>
                <a:gd name="T11" fmla="*/ 83 h 83"/>
                <a:gd name="T12" fmla="*/ 347 w 347"/>
                <a:gd name="T13" fmla="*/ 26 h 83"/>
                <a:gd name="T14" fmla="*/ 287 w 347"/>
                <a:gd name="T15" fmla="*/ 0 h 83"/>
                <a:gd name="T16" fmla="*/ 261 w 347"/>
                <a:gd name="T17" fmla="*/ 1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7" h="83">
                  <a:moveTo>
                    <a:pt x="261" y="18"/>
                  </a:moveTo>
                  <a:cubicBezTo>
                    <a:pt x="36" y="4"/>
                    <a:pt x="36" y="4"/>
                    <a:pt x="36" y="4"/>
                  </a:cubicBezTo>
                  <a:cubicBezTo>
                    <a:pt x="18" y="3"/>
                    <a:pt x="3" y="16"/>
                    <a:pt x="2" y="34"/>
                  </a:cubicBezTo>
                  <a:cubicBezTo>
                    <a:pt x="0" y="52"/>
                    <a:pt x="14" y="67"/>
                    <a:pt x="32" y="68"/>
                  </a:cubicBezTo>
                  <a:cubicBezTo>
                    <a:pt x="257" y="83"/>
                    <a:pt x="257" y="83"/>
                    <a:pt x="257" y="83"/>
                  </a:cubicBezTo>
                  <a:cubicBezTo>
                    <a:pt x="259" y="83"/>
                    <a:pt x="261" y="83"/>
                    <a:pt x="263" y="83"/>
                  </a:cubicBezTo>
                  <a:cubicBezTo>
                    <a:pt x="300" y="83"/>
                    <a:pt x="333" y="60"/>
                    <a:pt x="347" y="26"/>
                  </a:cubicBezTo>
                  <a:cubicBezTo>
                    <a:pt x="287" y="0"/>
                    <a:pt x="287" y="0"/>
                    <a:pt x="287" y="0"/>
                  </a:cubicBezTo>
                  <a:cubicBezTo>
                    <a:pt x="284" y="11"/>
                    <a:pt x="273" y="19"/>
                    <a:pt x="261" y="18"/>
                  </a:cubicBez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$ľiḍê">
              <a:extLst>
                <a:ext uri="{FF2B5EF4-FFF2-40B4-BE49-F238E27FC236}">
                  <a16:creationId xmlns:a16="http://schemas.microsoft.com/office/drawing/2014/main" id="{8BA52DA4-D74A-476C-81CE-64D156BD193B}"/>
                </a:ext>
              </a:extLst>
            </p:cNvPr>
            <p:cNvSpPr/>
            <p:nvPr/>
          </p:nvSpPr>
          <p:spPr bwMode="auto">
            <a:xfrm>
              <a:off x="5941283" y="5427638"/>
              <a:ext cx="1759147" cy="384966"/>
            </a:xfrm>
            <a:custGeom>
              <a:avLst/>
              <a:gdLst>
                <a:gd name="T0" fmla="*/ 263 w 347"/>
                <a:gd name="T1" fmla="*/ 76 h 76"/>
                <a:gd name="T2" fmla="*/ 347 w 347"/>
                <a:gd name="T3" fmla="*/ 19 h 76"/>
                <a:gd name="T4" fmla="*/ 302 w 347"/>
                <a:gd name="T5" fmla="*/ 0 h 76"/>
                <a:gd name="T6" fmla="*/ 303 w 347"/>
                <a:gd name="T7" fmla="*/ 22 h 76"/>
                <a:gd name="T8" fmla="*/ 249 w 347"/>
                <a:gd name="T9" fmla="*/ 47 h 76"/>
                <a:gd name="T10" fmla="*/ 11 w 347"/>
                <a:gd name="T11" fmla="*/ 6 h 76"/>
                <a:gd name="T12" fmla="*/ 2 w 347"/>
                <a:gd name="T13" fmla="*/ 27 h 76"/>
                <a:gd name="T14" fmla="*/ 32 w 347"/>
                <a:gd name="T15" fmla="*/ 61 h 76"/>
                <a:gd name="T16" fmla="*/ 257 w 347"/>
                <a:gd name="T17" fmla="*/ 76 h 76"/>
                <a:gd name="T18" fmla="*/ 263 w 347"/>
                <a:gd name="T1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7" h="76">
                  <a:moveTo>
                    <a:pt x="263" y="76"/>
                  </a:moveTo>
                  <a:cubicBezTo>
                    <a:pt x="300" y="76"/>
                    <a:pt x="333" y="53"/>
                    <a:pt x="347" y="19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4" y="3"/>
                    <a:pt x="305" y="11"/>
                    <a:pt x="303" y="22"/>
                  </a:cubicBezTo>
                  <a:cubicBezTo>
                    <a:pt x="299" y="40"/>
                    <a:pt x="274" y="48"/>
                    <a:pt x="249" y="47"/>
                  </a:cubicBezTo>
                  <a:cubicBezTo>
                    <a:pt x="227" y="46"/>
                    <a:pt x="29" y="52"/>
                    <a:pt x="11" y="6"/>
                  </a:cubicBezTo>
                  <a:cubicBezTo>
                    <a:pt x="6" y="12"/>
                    <a:pt x="2" y="19"/>
                    <a:pt x="2" y="27"/>
                  </a:cubicBezTo>
                  <a:cubicBezTo>
                    <a:pt x="0" y="45"/>
                    <a:pt x="14" y="60"/>
                    <a:pt x="32" y="61"/>
                  </a:cubicBezTo>
                  <a:cubicBezTo>
                    <a:pt x="257" y="76"/>
                    <a:pt x="257" y="76"/>
                    <a:pt x="257" y="76"/>
                  </a:cubicBezTo>
                  <a:cubicBezTo>
                    <a:pt x="259" y="76"/>
                    <a:pt x="261" y="76"/>
                    <a:pt x="263" y="76"/>
                  </a:cubicBezTo>
                  <a:close/>
                </a:path>
              </a:pathLst>
            </a:custGeom>
            <a:solidFill>
              <a:srgbClr val="DF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ṥľídê">
              <a:extLst>
                <a:ext uri="{FF2B5EF4-FFF2-40B4-BE49-F238E27FC236}">
                  <a16:creationId xmlns:a16="http://schemas.microsoft.com/office/drawing/2014/main" id="{E258695D-16E5-4765-BF91-1F378C864ABA}"/>
                </a:ext>
              </a:extLst>
            </p:cNvPr>
            <p:cNvSpPr/>
            <p:nvPr/>
          </p:nvSpPr>
          <p:spPr bwMode="auto">
            <a:xfrm>
              <a:off x="7334957" y="5225408"/>
              <a:ext cx="465371" cy="319181"/>
            </a:xfrm>
            <a:custGeom>
              <a:avLst/>
              <a:gdLst>
                <a:gd name="T0" fmla="*/ 17 w 92"/>
                <a:gd name="T1" fmla="*/ 1 h 63"/>
                <a:gd name="T2" fmla="*/ 88 w 92"/>
                <a:gd name="T3" fmla="*/ 30 h 63"/>
                <a:gd name="T4" fmla="*/ 91 w 92"/>
                <a:gd name="T5" fmla="*/ 37 h 63"/>
                <a:gd name="T6" fmla="*/ 83 w 92"/>
                <a:gd name="T7" fmla="*/ 59 h 63"/>
                <a:gd name="T8" fmla="*/ 76 w 92"/>
                <a:gd name="T9" fmla="*/ 62 h 63"/>
                <a:gd name="T10" fmla="*/ 4 w 92"/>
                <a:gd name="T11" fmla="*/ 31 h 63"/>
                <a:gd name="T12" fmla="*/ 1 w 92"/>
                <a:gd name="T13" fmla="*/ 24 h 63"/>
                <a:gd name="T14" fmla="*/ 10 w 92"/>
                <a:gd name="T15" fmla="*/ 4 h 63"/>
                <a:gd name="T16" fmla="*/ 17 w 92"/>
                <a:gd name="T17" fmla="*/ 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3">
                  <a:moveTo>
                    <a:pt x="17" y="1"/>
                  </a:moveTo>
                  <a:cubicBezTo>
                    <a:pt x="88" y="30"/>
                    <a:pt x="88" y="30"/>
                    <a:pt x="88" y="30"/>
                  </a:cubicBezTo>
                  <a:cubicBezTo>
                    <a:pt x="91" y="31"/>
                    <a:pt x="92" y="34"/>
                    <a:pt x="91" y="37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2" y="61"/>
                    <a:pt x="78" y="63"/>
                    <a:pt x="76" y="62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1" y="30"/>
                    <a:pt x="0" y="27"/>
                    <a:pt x="1" y="2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1"/>
                    <a:pt x="14" y="0"/>
                    <a:pt x="1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şļíde">
              <a:extLst>
                <a:ext uri="{FF2B5EF4-FFF2-40B4-BE49-F238E27FC236}">
                  <a16:creationId xmlns:a16="http://schemas.microsoft.com/office/drawing/2014/main" id="{E0F0FACA-9265-4972-B927-F2749E774E8F}"/>
                </a:ext>
              </a:extLst>
            </p:cNvPr>
            <p:cNvSpPr/>
            <p:nvPr/>
          </p:nvSpPr>
          <p:spPr bwMode="auto">
            <a:xfrm>
              <a:off x="5743926" y="4202081"/>
              <a:ext cx="192484" cy="263141"/>
            </a:xfrm>
            <a:custGeom>
              <a:avLst/>
              <a:gdLst>
                <a:gd name="T0" fmla="*/ 6 w 38"/>
                <a:gd name="T1" fmla="*/ 50 h 52"/>
                <a:gd name="T2" fmla="*/ 6 w 38"/>
                <a:gd name="T3" fmla="*/ 50 h 52"/>
                <a:gd name="T4" fmla="*/ 2 w 38"/>
                <a:gd name="T5" fmla="*/ 37 h 52"/>
                <a:gd name="T6" fmla="*/ 18 w 38"/>
                <a:gd name="T7" fmla="*/ 7 h 52"/>
                <a:gd name="T8" fmla="*/ 31 w 38"/>
                <a:gd name="T9" fmla="*/ 3 h 52"/>
                <a:gd name="T10" fmla="*/ 35 w 38"/>
                <a:gd name="T11" fmla="*/ 16 h 52"/>
                <a:gd name="T12" fmla="*/ 19 w 38"/>
                <a:gd name="T13" fmla="*/ 46 h 52"/>
                <a:gd name="T14" fmla="*/ 6 w 38"/>
                <a:gd name="T15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52">
                  <a:moveTo>
                    <a:pt x="6" y="50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2" y="47"/>
                    <a:pt x="0" y="41"/>
                    <a:pt x="2" y="3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1" y="2"/>
                    <a:pt x="27" y="0"/>
                    <a:pt x="31" y="3"/>
                  </a:cubicBezTo>
                  <a:cubicBezTo>
                    <a:pt x="36" y="5"/>
                    <a:pt x="38" y="11"/>
                    <a:pt x="35" y="1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50"/>
                    <a:pt x="11" y="52"/>
                    <a:pt x="6" y="50"/>
                  </a:cubicBez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ṩḷíḍé">
              <a:extLst>
                <a:ext uri="{FF2B5EF4-FFF2-40B4-BE49-F238E27FC236}">
                  <a16:creationId xmlns:a16="http://schemas.microsoft.com/office/drawing/2014/main" id="{7CBCBB3D-83A9-48DD-B207-EA04F4C49E86}"/>
                </a:ext>
              </a:extLst>
            </p:cNvPr>
            <p:cNvSpPr/>
            <p:nvPr/>
          </p:nvSpPr>
          <p:spPr bwMode="auto">
            <a:xfrm>
              <a:off x="5605047" y="4019345"/>
              <a:ext cx="148627" cy="358165"/>
            </a:xfrm>
            <a:custGeom>
              <a:avLst/>
              <a:gdLst>
                <a:gd name="T0" fmla="*/ 24 w 29"/>
                <a:gd name="T1" fmla="*/ 59 h 71"/>
                <a:gd name="T2" fmla="*/ 26 w 29"/>
                <a:gd name="T3" fmla="*/ 24 h 71"/>
                <a:gd name="T4" fmla="*/ 5 w 29"/>
                <a:gd name="T5" fmla="*/ 9 h 71"/>
                <a:gd name="T6" fmla="*/ 11 w 29"/>
                <a:gd name="T7" fmla="*/ 34 h 71"/>
                <a:gd name="T8" fmla="*/ 4 w 29"/>
                <a:gd name="T9" fmla="*/ 71 h 71"/>
                <a:gd name="T10" fmla="*/ 24 w 29"/>
                <a:gd name="T11" fmla="*/ 5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71">
                  <a:moveTo>
                    <a:pt x="24" y="59"/>
                  </a:moveTo>
                  <a:cubicBezTo>
                    <a:pt x="24" y="59"/>
                    <a:pt x="29" y="37"/>
                    <a:pt x="26" y="24"/>
                  </a:cubicBezTo>
                  <a:cubicBezTo>
                    <a:pt x="24" y="10"/>
                    <a:pt x="11" y="0"/>
                    <a:pt x="5" y="9"/>
                  </a:cubicBezTo>
                  <a:cubicBezTo>
                    <a:pt x="0" y="18"/>
                    <a:pt x="10" y="21"/>
                    <a:pt x="11" y="34"/>
                  </a:cubicBezTo>
                  <a:cubicBezTo>
                    <a:pt x="11" y="46"/>
                    <a:pt x="4" y="71"/>
                    <a:pt x="4" y="71"/>
                  </a:cubicBezTo>
                  <a:lnTo>
                    <a:pt x="24" y="59"/>
                  </a:ln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$ḷîḓé">
              <a:extLst>
                <a:ext uri="{FF2B5EF4-FFF2-40B4-BE49-F238E27FC236}">
                  <a16:creationId xmlns:a16="http://schemas.microsoft.com/office/drawing/2014/main" id="{266EB87C-4D69-4058-A03B-2CE38CC7E95D}"/>
                </a:ext>
              </a:extLst>
            </p:cNvPr>
            <p:cNvSpPr/>
            <p:nvPr/>
          </p:nvSpPr>
          <p:spPr bwMode="auto">
            <a:xfrm>
              <a:off x="5059273" y="5671287"/>
              <a:ext cx="1362000" cy="151062"/>
            </a:xfrm>
            <a:custGeom>
              <a:avLst/>
              <a:gdLst>
                <a:gd name="T0" fmla="*/ 251 w 269"/>
                <a:gd name="T1" fmla="*/ 0 h 30"/>
                <a:gd name="T2" fmla="*/ 0 w 269"/>
                <a:gd name="T3" fmla="*/ 0 h 30"/>
                <a:gd name="T4" fmla="*/ 0 w 269"/>
                <a:gd name="T5" fmla="*/ 30 h 30"/>
                <a:gd name="T6" fmla="*/ 269 w 269"/>
                <a:gd name="T7" fmla="*/ 30 h 30"/>
                <a:gd name="T8" fmla="*/ 269 w 269"/>
                <a:gd name="T9" fmla="*/ 18 h 30"/>
                <a:gd name="T10" fmla="*/ 251 w 26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9" h="30">
                  <a:moveTo>
                    <a:pt x="25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69" y="30"/>
                    <a:pt x="269" y="30"/>
                    <a:pt x="269" y="30"/>
                  </a:cubicBezTo>
                  <a:cubicBezTo>
                    <a:pt x="269" y="18"/>
                    <a:pt x="269" y="18"/>
                    <a:pt x="269" y="18"/>
                  </a:cubicBezTo>
                  <a:cubicBezTo>
                    <a:pt x="269" y="8"/>
                    <a:pt x="261" y="0"/>
                    <a:pt x="251" y="0"/>
                  </a:cubicBezTo>
                  <a:close/>
                </a:path>
              </a:pathLst>
            </a:custGeom>
            <a:solidFill>
              <a:srgbClr val="888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šḷïḋe">
              <a:extLst>
                <a:ext uri="{FF2B5EF4-FFF2-40B4-BE49-F238E27FC236}">
                  <a16:creationId xmlns:a16="http://schemas.microsoft.com/office/drawing/2014/main" id="{EA3DD5A8-9186-469E-B662-0FD00ADAE4A2}"/>
                </a:ext>
              </a:extLst>
            </p:cNvPr>
            <p:cNvSpPr/>
            <p:nvPr/>
          </p:nvSpPr>
          <p:spPr bwMode="auto">
            <a:xfrm>
              <a:off x="3248959" y="4282486"/>
              <a:ext cx="2543698" cy="1539863"/>
            </a:xfrm>
            <a:custGeom>
              <a:avLst/>
              <a:gdLst>
                <a:gd name="T0" fmla="*/ 502 w 502"/>
                <a:gd name="T1" fmla="*/ 304 h 304"/>
                <a:gd name="T2" fmla="*/ 107 w 502"/>
                <a:gd name="T3" fmla="*/ 304 h 304"/>
                <a:gd name="T4" fmla="*/ 0 w 502"/>
                <a:gd name="T5" fmla="*/ 0 h 304"/>
                <a:gd name="T6" fmla="*/ 377 w 502"/>
                <a:gd name="T7" fmla="*/ 0 h 304"/>
                <a:gd name="T8" fmla="*/ 400 w 502"/>
                <a:gd name="T9" fmla="*/ 16 h 304"/>
                <a:gd name="T10" fmla="*/ 502 w 502"/>
                <a:gd name="T11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2" h="304">
                  <a:moveTo>
                    <a:pt x="502" y="304"/>
                  </a:moveTo>
                  <a:cubicBezTo>
                    <a:pt x="107" y="304"/>
                    <a:pt x="107" y="304"/>
                    <a:pt x="107" y="30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7" y="0"/>
                    <a:pt x="377" y="0"/>
                    <a:pt x="377" y="0"/>
                  </a:cubicBezTo>
                  <a:cubicBezTo>
                    <a:pt x="387" y="0"/>
                    <a:pt x="396" y="6"/>
                    <a:pt x="400" y="16"/>
                  </a:cubicBezTo>
                  <a:lnTo>
                    <a:pt x="502" y="304"/>
                  </a:lnTo>
                  <a:close/>
                </a:path>
              </a:pathLst>
            </a:custGeom>
            <a:solidFill>
              <a:srgbClr val="888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ṡ1iďe">
              <a:extLst>
                <a:ext uri="{FF2B5EF4-FFF2-40B4-BE49-F238E27FC236}">
                  <a16:creationId xmlns:a16="http://schemas.microsoft.com/office/drawing/2014/main" id="{CA174B90-D644-4718-8029-CF8FB84E28E7}"/>
                </a:ext>
              </a:extLst>
            </p:cNvPr>
            <p:cNvSpPr/>
            <p:nvPr/>
          </p:nvSpPr>
          <p:spPr bwMode="auto">
            <a:xfrm>
              <a:off x="3102769" y="4282486"/>
              <a:ext cx="2519333" cy="1539863"/>
            </a:xfrm>
            <a:custGeom>
              <a:avLst/>
              <a:gdLst>
                <a:gd name="T0" fmla="*/ 497 w 497"/>
                <a:gd name="T1" fmla="*/ 304 h 304"/>
                <a:gd name="T2" fmla="*/ 103 w 497"/>
                <a:gd name="T3" fmla="*/ 304 h 304"/>
                <a:gd name="T4" fmla="*/ 5 w 497"/>
                <a:gd name="T5" fmla="*/ 27 h 304"/>
                <a:gd name="T6" fmla="*/ 24 w 497"/>
                <a:gd name="T7" fmla="*/ 0 h 304"/>
                <a:gd name="T8" fmla="*/ 372 w 497"/>
                <a:gd name="T9" fmla="*/ 0 h 304"/>
                <a:gd name="T10" fmla="*/ 396 w 497"/>
                <a:gd name="T11" fmla="*/ 16 h 304"/>
                <a:gd name="T12" fmla="*/ 497 w 497"/>
                <a:gd name="T13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7" h="304">
                  <a:moveTo>
                    <a:pt x="497" y="304"/>
                  </a:moveTo>
                  <a:cubicBezTo>
                    <a:pt x="103" y="304"/>
                    <a:pt x="103" y="304"/>
                    <a:pt x="103" y="304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0" y="14"/>
                    <a:pt x="10" y="0"/>
                    <a:pt x="24" y="0"/>
                  </a:cubicBezTo>
                  <a:cubicBezTo>
                    <a:pt x="372" y="0"/>
                    <a:pt x="372" y="0"/>
                    <a:pt x="372" y="0"/>
                  </a:cubicBezTo>
                  <a:cubicBezTo>
                    <a:pt x="383" y="0"/>
                    <a:pt x="392" y="6"/>
                    <a:pt x="396" y="16"/>
                  </a:cubicBezTo>
                  <a:lnTo>
                    <a:pt x="497" y="304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ïṣ1ïḑê">
              <a:extLst>
                <a:ext uri="{FF2B5EF4-FFF2-40B4-BE49-F238E27FC236}">
                  <a16:creationId xmlns:a16="http://schemas.microsoft.com/office/drawing/2014/main" id="{29669A9D-7056-44B0-AA51-2FE080C5477D}"/>
                </a:ext>
              </a:extLst>
            </p:cNvPr>
            <p:cNvSpPr/>
            <p:nvPr/>
          </p:nvSpPr>
          <p:spPr bwMode="auto">
            <a:xfrm>
              <a:off x="7710176" y="4338525"/>
              <a:ext cx="268014" cy="238776"/>
            </a:xfrm>
            <a:custGeom>
              <a:avLst/>
              <a:gdLst>
                <a:gd name="T0" fmla="*/ 50 w 53"/>
                <a:gd name="T1" fmla="*/ 31 h 47"/>
                <a:gd name="T2" fmla="*/ 21 w 53"/>
                <a:gd name="T3" fmla="*/ 44 h 47"/>
                <a:gd name="T4" fmla="*/ 3 w 53"/>
                <a:gd name="T5" fmla="*/ 17 h 47"/>
                <a:gd name="T6" fmla="*/ 32 w 53"/>
                <a:gd name="T7" fmla="*/ 4 h 47"/>
                <a:gd name="T8" fmla="*/ 50 w 53"/>
                <a:gd name="T9" fmla="*/ 3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47">
                  <a:moveTo>
                    <a:pt x="50" y="31"/>
                  </a:moveTo>
                  <a:cubicBezTo>
                    <a:pt x="47" y="42"/>
                    <a:pt x="34" y="47"/>
                    <a:pt x="21" y="44"/>
                  </a:cubicBezTo>
                  <a:cubicBezTo>
                    <a:pt x="8" y="40"/>
                    <a:pt x="0" y="28"/>
                    <a:pt x="3" y="17"/>
                  </a:cubicBezTo>
                  <a:cubicBezTo>
                    <a:pt x="6" y="6"/>
                    <a:pt x="19" y="0"/>
                    <a:pt x="32" y="4"/>
                  </a:cubicBezTo>
                  <a:cubicBezTo>
                    <a:pt x="45" y="8"/>
                    <a:pt x="53" y="20"/>
                    <a:pt x="50" y="31"/>
                  </a:cubicBezTo>
                  <a:close/>
                </a:path>
              </a:pathLst>
            </a:custGeom>
            <a:solidFill>
              <a:srgbClr val="5D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îṣ1íḍe">
              <a:extLst>
                <a:ext uri="{FF2B5EF4-FFF2-40B4-BE49-F238E27FC236}">
                  <a16:creationId xmlns:a16="http://schemas.microsoft.com/office/drawing/2014/main" id="{82A59990-5766-4173-8A2D-0AB08DC2E344}"/>
                </a:ext>
              </a:extLst>
            </p:cNvPr>
            <p:cNvSpPr/>
            <p:nvPr/>
          </p:nvSpPr>
          <p:spPr bwMode="auto">
            <a:xfrm>
              <a:off x="5570936" y="4377509"/>
              <a:ext cx="243649" cy="309435"/>
            </a:xfrm>
            <a:custGeom>
              <a:avLst/>
              <a:gdLst>
                <a:gd name="T0" fmla="*/ 32 w 48"/>
                <a:gd name="T1" fmla="*/ 58 h 61"/>
                <a:gd name="T2" fmla="*/ 5 w 48"/>
                <a:gd name="T3" fmla="*/ 36 h 61"/>
                <a:gd name="T4" fmla="*/ 17 w 48"/>
                <a:gd name="T5" fmla="*/ 3 h 61"/>
                <a:gd name="T6" fmla="*/ 44 w 48"/>
                <a:gd name="T7" fmla="*/ 25 h 61"/>
                <a:gd name="T8" fmla="*/ 32 w 48"/>
                <a:gd name="T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1">
                  <a:moveTo>
                    <a:pt x="32" y="58"/>
                  </a:moveTo>
                  <a:cubicBezTo>
                    <a:pt x="21" y="61"/>
                    <a:pt x="9" y="51"/>
                    <a:pt x="5" y="36"/>
                  </a:cubicBezTo>
                  <a:cubicBezTo>
                    <a:pt x="0" y="21"/>
                    <a:pt x="6" y="7"/>
                    <a:pt x="17" y="3"/>
                  </a:cubicBezTo>
                  <a:cubicBezTo>
                    <a:pt x="28" y="0"/>
                    <a:pt x="40" y="10"/>
                    <a:pt x="44" y="25"/>
                  </a:cubicBezTo>
                  <a:cubicBezTo>
                    <a:pt x="48" y="40"/>
                    <a:pt x="43" y="55"/>
                    <a:pt x="32" y="58"/>
                  </a:cubicBezTo>
                  <a:close/>
                </a:path>
              </a:pathLst>
            </a:custGeom>
            <a:solidFill>
              <a:srgbClr val="F0D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śḷïḋe">
              <a:extLst>
                <a:ext uri="{FF2B5EF4-FFF2-40B4-BE49-F238E27FC236}">
                  <a16:creationId xmlns:a16="http://schemas.microsoft.com/office/drawing/2014/main" id="{7D851722-85FF-4B6D-B1AD-313061751BA4}"/>
                </a:ext>
              </a:extLst>
            </p:cNvPr>
            <p:cNvSpPr/>
            <p:nvPr/>
          </p:nvSpPr>
          <p:spPr bwMode="auto">
            <a:xfrm>
              <a:off x="6119146" y="5432511"/>
              <a:ext cx="596941" cy="141317"/>
            </a:xfrm>
            <a:custGeom>
              <a:avLst/>
              <a:gdLst>
                <a:gd name="T0" fmla="*/ 118 w 118"/>
                <a:gd name="T1" fmla="*/ 19 h 28"/>
                <a:gd name="T2" fmla="*/ 58 w 118"/>
                <a:gd name="T3" fmla="*/ 25 h 28"/>
                <a:gd name="T4" fmla="*/ 0 w 118"/>
                <a:gd name="T5" fmla="*/ 9 h 28"/>
                <a:gd name="T6" fmla="*/ 60 w 118"/>
                <a:gd name="T7" fmla="*/ 3 h 28"/>
                <a:gd name="T8" fmla="*/ 118 w 118"/>
                <a:gd name="T9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28">
                  <a:moveTo>
                    <a:pt x="118" y="19"/>
                  </a:moveTo>
                  <a:cubicBezTo>
                    <a:pt x="117" y="25"/>
                    <a:pt x="91" y="28"/>
                    <a:pt x="58" y="25"/>
                  </a:cubicBezTo>
                  <a:cubicBezTo>
                    <a:pt x="26" y="22"/>
                    <a:pt x="0" y="15"/>
                    <a:pt x="0" y="9"/>
                  </a:cubicBezTo>
                  <a:cubicBezTo>
                    <a:pt x="1" y="3"/>
                    <a:pt x="28" y="0"/>
                    <a:pt x="60" y="3"/>
                  </a:cubicBezTo>
                  <a:cubicBezTo>
                    <a:pt x="92" y="5"/>
                    <a:pt x="118" y="12"/>
                    <a:pt x="118" y="19"/>
                  </a:cubicBezTo>
                  <a:close/>
                </a:path>
              </a:pathLst>
            </a:custGeom>
            <a:solidFill>
              <a:srgbClr val="F0D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íṩḻîḋè">
              <a:extLst>
                <a:ext uri="{FF2B5EF4-FFF2-40B4-BE49-F238E27FC236}">
                  <a16:creationId xmlns:a16="http://schemas.microsoft.com/office/drawing/2014/main" id="{6CE15FF6-204C-47C1-8390-5420D56BF0D7}"/>
                </a:ext>
              </a:extLst>
            </p:cNvPr>
            <p:cNvSpPr/>
            <p:nvPr/>
          </p:nvSpPr>
          <p:spPr bwMode="auto">
            <a:xfrm>
              <a:off x="3862955" y="4377509"/>
              <a:ext cx="1089113" cy="82841"/>
            </a:xfrm>
            <a:custGeom>
              <a:avLst/>
              <a:gdLst>
                <a:gd name="T0" fmla="*/ 207 w 215"/>
                <a:gd name="T1" fmla="*/ 16 h 16"/>
                <a:gd name="T2" fmla="*/ 8 w 215"/>
                <a:gd name="T3" fmla="*/ 16 h 16"/>
                <a:gd name="T4" fmla="*/ 0 w 215"/>
                <a:gd name="T5" fmla="*/ 8 h 16"/>
                <a:gd name="T6" fmla="*/ 8 w 215"/>
                <a:gd name="T7" fmla="*/ 0 h 16"/>
                <a:gd name="T8" fmla="*/ 207 w 215"/>
                <a:gd name="T9" fmla="*/ 0 h 16"/>
                <a:gd name="T10" fmla="*/ 215 w 215"/>
                <a:gd name="T11" fmla="*/ 8 h 16"/>
                <a:gd name="T12" fmla="*/ 207 w 21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6">
                  <a:moveTo>
                    <a:pt x="207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2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12" y="0"/>
                    <a:pt x="215" y="3"/>
                    <a:pt x="215" y="8"/>
                  </a:cubicBezTo>
                  <a:cubicBezTo>
                    <a:pt x="215" y="12"/>
                    <a:pt x="212" y="16"/>
                    <a:pt x="207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ṥḷíḋé">
              <a:extLst>
                <a:ext uri="{FF2B5EF4-FFF2-40B4-BE49-F238E27FC236}">
                  <a16:creationId xmlns:a16="http://schemas.microsoft.com/office/drawing/2014/main" id="{751BD83F-D2FA-4108-ADCC-691312065ED1}"/>
                </a:ext>
              </a:extLst>
            </p:cNvPr>
            <p:cNvSpPr/>
            <p:nvPr/>
          </p:nvSpPr>
          <p:spPr bwMode="auto">
            <a:xfrm>
              <a:off x="3290380" y="4377509"/>
              <a:ext cx="470244" cy="82841"/>
            </a:xfrm>
            <a:custGeom>
              <a:avLst/>
              <a:gdLst>
                <a:gd name="T0" fmla="*/ 85 w 93"/>
                <a:gd name="T1" fmla="*/ 16 h 16"/>
                <a:gd name="T2" fmla="*/ 8 w 93"/>
                <a:gd name="T3" fmla="*/ 16 h 16"/>
                <a:gd name="T4" fmla="*/ 0 w 93"/>
                <a:gd name="T5" fmla="*/ 8 h 16"/>
                <a:gd name="T6" fmla="*/ 8 w 93"/>
                <a:gd name="T7" fmla="*/ 0 h 16"/>
                <a:gd name="T8" fmla="*/ 85 w 93"/>
                <a:gd name="T9" fmla="*/ 0 h 16"/>
                <a:gd name="T10" fmla="*/ 93 w 93"/>
                <a:gd name="T11" fmla="*/ 8 h 16"/>
                <a:gd name="T12" fmla="*/ 85 w 93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16">
                  <a:moveTo>
                    <a:pt x="85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2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9" y="0"/>
                    <a:pt x="93" y="3"/>
                    <a:pt x="93" y="8"/>
                  </a:cubicBezTo>
                  <a:cubicBezTo>
                    <a:pt x="93" y="12"/>
                    <a:pt x="89" y="16"/>
                    <a:pt x="8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iṡľîḍê">
              <a:extLst>
                <a:ext uri="{FF2B5EF4-FFF2-40B4-BE49-F238E27FC236}">
                  <a16:creationId xmlns:a16="http://schemas.microsoft.com/office/drawing/2014/main" id="{E8DC16BB-B2B5-494C-B9D8-B32062BE31B6}"/>
                </a:ext>
              </a:extLst>
            </p:cNvPr>
            <p:cNvSpPr/>
            <p:nvPr/>
          </p:nvSpPr>
          <p:spPr bwMode="auto">
            <a:xfrm>
              <a:off x="3258704" y="4789277"/>
              <a:ext cx="2363397" cy="1033073"/>
            </a:xfrm>
            <a:custGeom>
              <a:avLst/>
              <a:gdLst>
                <a:gd name="T0" fmla="*/ 444 w 466"/>
                <a:gd name="T1" fmla="*/ 141 h 204"/>
                <a:gd name="T2" fmla="*/ 183 w 466"/>
                <a:gd name="T3" fmla="*/ 117 h 204"/>
                <a:gd name="T4" fmla="*/ 0 w 466"/>
                <a:gd name="T5" fmla="*/ 0 h 204"/>
                <a:gd name="T6" fmla="*/ 72 w 466"/>
                <a:gd name="T7" fmla="*/ 204 h 204"/>
                <a:gd name="T8" fmla="*/ 466 w 466"/>
                <a:gd name="T9" fmla="*/ 204 h 204"/>
                <a:gd name="T10" fmla="*/ 444 w 466"/>
                <a:gd name="T11" fmla="*/ 14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204">
                  <a:moveTo>
                    <a:pt x="444" y="141"/>
                  </a:moveTo>
                  <a:cubicBezTo>
                    <a:pt x="444" y="141"/>
                    <a:pt x="298" y="156"/>
                    <a:pt x="183" y="117"/>
                  </a:cubicBezTo>
                  <a:cubicBezTo>
                    <a:pt x="68" y="78"/>
                    <a:pt x="0" y="0"/>
                    <a:pt x="0" y="0"/>
                  </a:cubicBezTo>
                  <a:cubicBezTo>
                    <a:pt x="72" y="204"/>
                    <a:pt x="72" y="204"/>
                    <a:pt x="72" y="204"/>
                  </a:cubicBezTo>
                  <a:cubicBezTo>
                    <a:pt x="466" y="204"/>
                    <a:pt x="466" y="204"/>
                    <a:pt x="466" y="204"/>
                  </a:cubicBezTo>
                  <a:lnTo>
                    <a:pt x="444" y="141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ṧļïďe">
              <a:extLst>
                <a:ext uri="{FF2B5EF4-FFF2-40B4-BE49-F238E27FC236}">
                  <a16:creationId xmlns:a16="http://schemas.microsoft.com/office/drawing/2014/main" id="{C647DBB5-053B-4881-8362-B031B6DF6EF8}"/>
                </a:ext>
              </a:extLst>
            </p:cNvPr>
            <p:cNvSpPr/>
            <p:nvPr/>
          </p:nvSpPr>
          <p:spPr bwMode="auto">
            <a:xfrm>
              <a:off x="3324491" y="5822349"/>
              <a:ext cx="4851057" cy="319181"/>
            </a:xfrm>
            <a:custGeom>
              <a:avLst/>
              <a:gdLst>
                <a:gd name="T0" fmla="*/ 946 w 957"/>
                <a:gd name="T1" fmla="*/ 63 h 63"/>
                <a:gd name="T2" fmla="*/ 10 w 957"/>
                <a:gd name="T3" fmla="*/ 63 h 63"/>
                <a:gd name="T4" fmla="*/ 0 w 957"/>
                <a:gd name="T5" fmla="*/ 52 h 63"/>
                <a:gd name="T6" fmla="*/ 0 w 957"/>
                <a:gd name="T7" fmla="*/ 10 h 63"/>
                <a:gd name="T8" fmla="*/ 10 w 957"/>
                <a:gd name="T9" fmla="*/ 0 h 63"/>
                <a:gd name="T10" fmla="*/ 946 w 957"/>
                <a:gd name="T11" fmla="*/ 0 h 63"/>
                <a:gd name="T12" fmla="*/ 957 w 957"/>
                <a:gd name="T13" fmla="*/ 10 h 63"/>
                <a:gd name="T14" fmla="*/ 957 w 957"/>
                <a:gd name="T15" fmla="*/ 52 h 63"/>
                <a:gd name="T16" fmla="*/ 946 w 957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7" h="63">
                  <a:moveTo>
                    <a:pt x="946" y="63"/>
                  </a:moveTo>
                  <a:cubicBezTo>
                    <a:pt x="10" y="63"/>
                    <a:pt x="10" y="63"/>
                    <a:pt x="10" y="63"/>
                  </a:cubicBezTo>
                  <a:cubicBezTo>
                    <a:pt x="4" y="63"/>
                    <a:pt x="0" y="58"/>
                    <a:pt x="0" y="5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946" y="0"/>
                    <a:pt x="946" y="0"/>
                    <a:pt x="946" y="0"/>
                  </a:cubicBezTo>
                  <a:cubicBezTo>
                    <a:pt x="952" y="0"/>
                    <a:pt x="957" y="4"/>
                    <a:pt x="957" y="10"/>
                  </a:cubicBezTo>
                  <a:cubicBezTo>
                    <a:pt x="957" y="52"/>
                    <a:pt x="957" y="52"/>
                    <a:pt x="957" y="52"/>
                  </a:cubicBezTo>
                  <a:cubicBezTo>
                    <a:pt x="957" y="58"/>
                    <a:pt x="952" y="63"/>
                    <a:pt x="946" y="63"/>
                  </a:cubicBezTo>
                  <a:close/>
                </a:path>
              </a:pathLst>
            </a:custGeom>
            <a:solidFill>
              <a:srgbClr val="A644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şļîďê">
              <a:extLst>
                <a:ext uri="{FF2B5EF4-FFF2-40B4-BE49-F238E27FC236}">
                  <a16:creationId xmlns:a16="http://schemas.microsoft.com/office/drawing/2014/main" id="{A6FD292B-4777-442C-83D8-36C9C1C8EC91}"/>
                </a:ext>
              </a:extLst>
            </p:cNvPr>
            <p:cNvSpPr/>
            <p:nvPr/>
          </p:nvSpPr>
          <p:spPr bwMode="auto">
            <a:xfrm>
              <a:off x="5748799" y="3658744"/>
              <a:ext cx="75532" cy="294816"/>
            </a:xfrm>
            <a:custGeom>
              <a:avLst/>
              <a:gdLst>
                <a:gd name="T0" fmla="*/ 8 w 15"/>
                <a:gd name="T1" fmla="*/ 58 h 58"/>
                <a:gd name="T2" fmla="*/ 8 w 15"/>
                <a:gd name="T3" fmla="*/ 58 h 58"/>
                <a:gd name="T4" fmla="*/ 1 w 15"/>
                <a:gd name="T5" fmla="*/ 51 h 58"/>
                <a:gd name="T6" fmla="*/ 0 w 15"/>
                <a:gd name="T7" fmla="*/ 7 h 58"/>
                <a:gd name="T8" fmla="*/ 6 w 15"/>
                <a:gd name="T9" fmla="*/ 0 h 58"/>
                <a:gd name="T10" fmla="*/ 13 w 15"/>
                <a:gd name="T11" fmla="*/ 7 h 58"/>
                <a:gd name="T12" fmla="*/ 15 w 15"/>
                <a:gd name="T13" fmla="*/ 51 h 58"/>
                <a:gd name="T14" fmla="*/ 8 w 15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8">
                  <a:moveTo>
                    <a:pt x="8" y="58"/>
                  </a:moveTo>
                  <a:cubicBezTo>
                    <a:pt x="8" y="58"/>
                    <a:pt x="8" y="58"/>
                    <a:pt x="8" y="58"/>
                  </a:cubicBezTo>
                  <a:cubicBezTo>
                    <a:pt x="4" y="58"/>
                    <a:pt x="1" y="55"/>
                    <a:pt x="1" y="5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4"/>
                    <a:pt x="12" y="58"/>
                    <a:pt x="8" y="58"/>
                  </a:cubicBezTo>
                  <a:close/>
                </a:path>
              </a:pathLst>
            </a:custGeom>
            <a:solidFill>
              <a:srgbClr val="F7E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$1ïḓé">
              <a:extLst>
                <a:ext uri="{FF2B5EF4-FFF2-40B4-BE49-F238E27FC236}">
                  <a16:creationId xmlns:a16="http://schemas.microsoft.com/office/drawing/2014/main" id="{BCEA1FAF-10D0-4639-9948-EA20EAB86F4B}"/>
                </a:ext>
              </a:extLst>
            </p:cNvPr>
            <p:cNvSpPr/>
            <p:nvPr/>
          </p:nvSpPr>
          <p:spPr bwMode="auto">
            <a:xfrm>
              <a:off x="5965648" y="3856100"/>
              <a:ext cx="258268" cy="209538"/>
            </a:xfrm>
            <a:custGeom>
              <a:avLst/>
              <a:gdLst>
                <a:gd name="T0" fmla="*/ 2 w 51"/>
                <a:gd name="T1" fmla="*/ 37 h 41"/>
                <a:gd name="T2" fmla="*/ 2 w 51"/>
                <a:gd name="T3" fmla="*/ 37 h 41"/>
                <a:gd name="T4" fmla="*/ 12 w 51"/>
                <a:gd name="T5" fmla="*/ 39 h 41"/>
                <a:gd name="T6" fmla="*/ 47 w 51"/>
                <a:gd name="T7" fmla="*/ 13 h 41"/>
                <a:gd name="T8" fmla="*/ 49 w 51"/>
                <a:gd name="T9" fmla="*/ 4 h 41"/>
                <a:gd name="T10" fmla="*/ 40 w 51"/>
                <a:gd name="T11" fmla="*/ 2 h 41"/>
                <a:gd name="T12" fmla="*/ 4 w 51"/>
                <a:gd name="T13" fmla="*/ 28 h 41"/>
                <a:gd name="T14" fmla="*/ 2 w 51"/>
                <a:gd name="T15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41">
                  <a:moveTo>
                    <a:pt x="2" y="37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4" y="40"/>
                    <a:pt x="9" y="41"/>
                    <a:pt x="12" y="39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50" y="11"/>
                    <a:pt x="51" y="7"/>
                    <a:pt x="49" y="4"/>
                  </a:cubicBezTo>
                  <a:cubicBezTo>
                    <a:pt x="47" y="1"/>
                    <a:pt x="43" y="0"/>
                    <a:pt x="40" y="2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30"/>
                    <a:pt x="0" y="34"/>
                    <a:pt x="2" y="37"/>
                  </a:cubicBezTo>
                  <a:close/>
                </a:path>
              </a:pathLst>
            </a:custGeom>
            <a:solidFill>
              <a:srgbClr val="F7E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ísľïḓe">
              <a:extLst>
                <a:ext uri="{FF2B5EF4-FFF2-40B4-BE49-F238E27FC236}">
                  <a16:creationId xmlns:a16="http://schemas.microsoft.com/office/drawing/2014/main" id="{B38436D5-2BDC-4A9F-A961-4E4110A48A4D}"/>
                </a:ext>
              </a:extLst>
            </p:cNvPr>
            <p:cNvSpPr/>
            <p:nvPr/>
          </p:nvSpPr>
          <p:spPr bwMode="auto">
            <a:xfrm>
              <a:off x="5885243" y="3680672"/>
              <a:ext cx="177865" cy="277760"/>
            </a:xfrm>
            <a:custGeom>
              <a:avLst/>
              <a:gdLst>
                <a:gd name="T0" fmla="*/ 5 w 35"/>
                <a:gd name="T1" fmla="*/ 54 h 55"/>
                <a:gd name="T2" fmla="*/ 5 w 35"/>
                <a:gd name="T3" fmla="*/ 54 h 55"/>
                <a:gd name="T4" fmla="*/ 2 w 35"/>
                <a:gd name="T5" fmla="*/ 44 h 55"/>
                <a:gd name="T6" fmla="*/ 21 w 35"/>
                <a:gd name="T7" fmla="*/ 5 h 55"/>
                <a:gd name="T8" fmla="*/ 31 w 35"/>
                <a:gd name="T9" fmla="*/ 2 h 55"/>
                <a:gd name="T10" fmla="*/ 34 w 35"/>
                <a:gd name="T11" fmla="*/ 11 h 55"/>
                <a:gd name="T12" fmla="*/ 14 w 35"/>
                <a:gd name="T13" fmla="*/ 51 h 55"/>
                <a:gd name="T14" fmla="*/ 5 w 35"/>
                <a:gd name="T15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55">
                  <a:moveTo>
                    <a:pt x="5" y="54"/>
                  </a:moveTo>
                  <a:cubicBezTo>
                    <a:pt x="5" y="54"/>
                    <a:pt x="5" y="54"/>
                    <a:pt x="5" y="54"/>
                  </a:cubicBezTo>
                  <a:cubicBezTo>
                    <a:pt x="1" y="52"/>
                    <a:pt x="0" y="48"/>
                    <a:pt x="2" y="44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3" y="2"/>
                    <a:pt x="27" y="0"/>
                    <a:pt x="31" y="2"/>
                  </a:cubicBezTo>
                  <a:cubicBezTo>
                    <a:pt x="34" y="4"/>
                    <a:pt x="35" y="8"/>
                    <a:pt x="34" y="1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2" y="54"/>
                    <a:pt x="8" y="55"/>
                    <a:pt x="5" y="54"/>
                  </a:cubicBezTo>
                  <a:close/>
                </a:path>
              </a:pathLst>
            </a:custGeom>
            <a:solidFill>
              <a:srgbClr val="F7E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ślíḋê">
              <a:extLst>
                <a:ext uri="{FF2B5EF4-FFF2-40B4-BE49-F238E27FC236}">
                  <a16:creationId xmlns:a16="http://schemas.microsoft.com/office/drawing/2014/main" id="{50C18FEB-C4EB-44E9-8FDE-051722011993}"/>
                </a:ext>
              </a:extLst>
            </p:cNvPr>
            <p:cNvSpPr/>
            <p:nvPr/>
          </p:nvSpPr>
          <p:spPr bwMode="auto">
            <a:xfrm>
              <a:off x="3365910" y="2333293"/>
              <a:ext cx="1215810" cy="1220683"/>
            </a:xfrm>
            <a:prstGeom prst="ellipse">
              <a:avLst/>
            </a:prstGeom>
            <a:solidFill>
              <a:srgbClr val="F78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îśḷïḑè">
              <a:extLst>
                <a:ext uri="{FF2B5EF4-FFF2-40B4-BE49-F238E27FC236}">
                  <a16:creationId xmlns:a16="http://schemas.microsoft.com/office/drawing/2014/main" id="{042B3C04-AEE0-48A5-866B-687F6267E771}"/>
                </a:ext>
              </a:extLst>
            </p:cNvPr>
            <p:cNvSpPr/>
            <p:nvPr/>
          </p:nvSpPr>
          <p:spPr bwMode="auto">
            <a:xfrm>
              <a:off x="4684053" y="1132102"/>
              <a:ext cx="540901" cy="536028"/>
            </a:xfrm>
            <a:prstGeom prst="ellipse">
              <a:avLst/>
            </a:prstGeom>
            <a:solidFill>
              <a:srgbClr val="F78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îṩļïḋe">
              <a:extLst>
                <a:ext uri="{FF2B5EF4-FFF2-40B4-BE49-F238E27FC236}">
                  <a16:creationId xmlns:a16="http://schemas.microsoft.com/office/drawing/2014/main" id="{5113C562-1AA7-426B-8E23-5A5F5FD5D954}"/>
                </a:ext>
              </a:extLst>
            </p:cNvPr>
            <p:cNvSpPr/>
            <p:nvPr/>
          </p:nvSpPr>
          <p:spPr bwMode="auto">
            <a:xfrm>
              <a:off x="4014017" y="1982438"/>
              <a:ext cx="1308397" cy="238776"/>
            </a:xfrm>
            <a:custGeom>
              <a:avLst/>
              <a:gdLst>
                <a:gd name="T0" fmla="*/ 234 w 258"/>
                <a:gd name="T1" fmla="*/ 47 h 47"/>
                <a:gd name="T2" fmla="*/ 23 w 258"/>
                <a:gd name="T3" fmla="*/ 47 h 47"/>
                <a:gd name="T4" fmla="*/ 0 w 258"/>
                <a:gd name="T5" fmla="*/ 24 h 47"/>
                <a:gd name="T6" fmla="*/ 23 w 258"/>
                <a:gd name="T7" fmla="*/ 0 h 47"/>
                <a:gd name="T8" fmla="*/ 234 w 258"/>
                <a:gd name="T9" fmla="*/ 0 h 47"/>
                <a:gd name="T10" fmla="*/ 258 w 258"/>
                <a:gd name="T11" fmla="*/ 24 h 47"/>
                <a:gd name="T12" fmla="*/ 234 w 258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" h="47">
                  <a:moveTo>
                    <a:pt x="234" y="47"/>
                  </a:moveTo>
                  <a:cubicBezTo>
                    <a:pt x="23" y="47"/>
                    <a:pt x="23" y="47"/>
                    <a:pt x="23" y="47"/>
                  </a:cubicBezTo>
                  <a:cubicBezTo>
                    <a:pt x="10" y="47"/>
                    <a:pt x="0" y="36"/>
                    <a:pt x="0" y="24"/>
                  </a:cubicBezTo>
                  <a:cubicBezTo>
                    <a:pt x="0" y="11"/>
                    <a:pt x="10" y="0"/>
                    <a:pt x="23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47" y="0"/>
                    <a:pt x="258" y="11"/>
                    <a:pt x="258" y="24"/>
                  </a:cubicBezTo>
                  <a:cubicBezTo>
                    <a:pt x="258" y="36"/>
                    <a:pt x="247" y="47"/>
                    <a:pt x="234" y="47"/>
                  </a:cubicBezTo>
                  <a:close/>
                </a:path>
              </a:pathLst>
            </a:custGeom>
            <a:solidFill>
              <a:srgbClr val="F78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182123" y="4853213"/>
            <a:ext cx="5357061" cy="296271"/>
          </a:xfrm>
          <a:ln w="19050">
            <a:noFill/>
          </a:ln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182124" y="3101862"/>
            <a:ext cx="5357061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182124" y="1843931"/>
            <a:ext cx="5357061" cy="1257932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183403" y="4404922"/>
            <a:ext cx="2277347" cy="296271"/>
          </a:xfrm>
          <a:solidFill>
            <a:schemeClr val="accent2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lang="en-US" altLang="zh-CN" dirty="0"/>
            </a:lvl1pPr>
            <a:lvl2pPr>
              <a:defRPr lang="en-US" altLang="zh-CN" dirty="0"/>
            </a:lvl2pPr>
            <a:lvl3pPr>
              <a:defRPr lang="en-US" altLang="zh-CN" dirty="0"/>
            </a:lvl3pPr>
            <a:lvl4pPr>
              <a:defRPr lang="en-US" altLang="zh-CN" dirty="0"/>
            </a:lvl4pPr>
            <a:lvl5pPr>
              <a:defRPr lang="en-US" altLang="zh-CN" dirty="0"/>
            </a:lvl5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6DECD67-EF7B-4225-9DCD-E9A1FB000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5/2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1BE31C9-EEB9-478B-9042-EAA8EC2684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5CE021F-56B6-40B0-88C1-2D7CFC553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78326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B3E319C1-15C8-4783-B5BE-4031742E106B}"/>
              </a:ext>
            </a:extLst>
          </p:cNvPr>
          <p:cNvSpPr/>
          <p:nvPr userDrawn="1"/>
        </p:nvSpPr>
        <p:spPr>
          <a:xfrm flipH="1">
            <a:off x="-1" y="0"/>
            <a:ext cx="12196845" cy="6858000"/>
          </a:xfrm>
          <a:custGeom>
            <a:avLst/>
            <a:gdLst>
              <a:gd name="connsiteX0" fmla="*/ 0 w 12192000"/>
              <a:gd name="connsiteY0" fmla="*/ 0 h 6858000"/>
              <a:gd name="connsiteX1" fmla="*/ 7334249 w 12192000"/>
              <a:gd name="connsiteY1" fmla="*/ 0 h 6858000"/>
              <a:gd name="connsiteX2" fmla="*/ 12192000 w 12192000"/>
              <a:gd name="connsiteY2" fmla="*/ 6844332 h 6858000"/>
              <a:gd name="connsiteX3" fmla="*/ 12192000 w 12192000"/>
              <a:gd name="connsiteY3" fmla="*/ 6858000 h 6858000"/>
              <a:gd name="connsiteX4" fmla="*/ 2104595 w 12192000"/>
              <a:gd name="connsiteY4" fmla="*/ 6858000 h 6858000"/>
              <a:gd name="connsiteX5" fmla="*/ 0 w 12192000"/>
              <a:gd name="connsiteY5" fmla="*/ 389272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7334249" y="0"/>
                </a:lnTo>
                <a:lnTo>
                  <a:pt x="12192000" y="6844332"/>
                </a:lnTo>
                <a:lnTo>
                  <a:pt x="12192000" y="6858000"/>
                </a:lnTo>
                <a:lnTo>
                  <a:pt x="2104595" y="6858000"/>
                </a:lnTo>
                <a:lnTo>
                  <a:pt x="0" y="38927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直角三角形 6">
            <a:extLst>
              <a:ext uri="{FF2B5EF4-FFF2-40B4-BE49-F238E27FC236}">
                <a16:creationId xmlns:a16="http://schemas.microsoft.com/office/drawing/2014/main" id="{31983B9F-572D-4561-90E3-236B451051CA}"/>
              </a:ext>
            </a:extLst>
          </p:cNvPr>
          <p:cNvSpPr/>
          <p:nvPr userDrawn="1"/>
        </p:nvSpPr>
        <p:spPr>
          <a:xfrm flipH="1">
            <a:off x="10088683" y="3887705"/>
            <a:ext cx="2108161" cy="2970295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直角三角形 7">
            <a:extLst>
              <a:ext uri="{FF2B5EF4-FFF2-40B4-BE49-F238E27FC236}">
                <a16:creationId xmlns:a16="http://schemas.microsoft.com/office/drawing/2014/main" id="{D5168ED7-2E35-4A1C-8BC9-4E76842749AB}"/>
              </a:ext>
            </a:extLst>
          </p:cNvPr>
          <p:cNvSpPr/>
          <p:nvPr userDrawn="1"/>
        </p:nvSpPr>
        <p:spPr>
          <a:xfrm flipV="1">
            <a:off x="1278" y="0"/>
            <a:ext cx="4867452" cy="68580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FDBED634-F17C-4C86-A291-2BCC47C4DE84}"/>
              </a:ext>
            </a:extLst>
          </p:cNvPr>
          <p:cNvSpPr/>
          <p:nvPr userDrawn="1"/>
        </p:nvSpPr>
        <p:spPr>
          <a:xfrm flipH="1">
            <a:off x="9755584" y="4666470"/>
            <a:ext cx="1555434" cy="2191530"/>
          </a:xfrm>
          <a:custGeom>
            <a:avLst/>
            <a:gdLst>
              <a:gd name="connsiteX0" fmla="*/ 0 w 2008466"/>
              <a:gd name="connsiteY0" fmla="*/ 0 h 2829830"/>
              <a:gd name="connsiteX1" fmla="*/ 2008466 w 2008466"/>
              <a:gd name="connsiteY1" fmla="*/ 2829830 h 2829830"/>
              <a:gd name="connsiteX2" fmla="*/ 1193760 w 2008466"/>
              <a:gd name="connsiteY2" fmla="*/ 2829830 h 2829830"/>
              <a:gd name="connsiteX3" fmla="*/ 0 w 2008466"/>
              <a:gd name="connsiteY3" fmla="*/ 1115330 h 2829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08466" h="2829830">
                <a:moveTo>
                  <a:pt x="0" y="0"/>
                </a:moveTo>
                <a:lnTo>
                  <a:pt x="2008466" y="2829830"/>
                </a:lnTo>
                <a:lnTo>
                  <a:pt x="1193760" y="2829830"/>
                </a:lnTo>
                <a:lnTo>
                  <a:pt x="0" y="11153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56406AA-C932-4BA5-8C4B-9BCD7A668ECB}"/>
              </a:ext>
            </a:extLst>
          </p:cNvPr>
          <p:cNvSpPr/>
          <p:nvPr userDrawn="1"/>
        </p:nvSpPr>
        <p:spPr>
          <a:xfrm>
            <a:off x="765784" y="827314"/>
            <a:ext cx="10660432" cy="54429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228642" y="2047549"/>
            <a:ext cx="4937026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228642" y="4353785"/>
            <a:ext cx="493702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228643" y="4057514"/>
            <a:ext cx="493702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11" name="组合 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57C49E6-8D0F-465D-A4C7-CFC6DEC2F4AA}"/>
              </a:ext>
            </a:extLst>
          </p:cNvPr>
          <p:cNvGrpSpPr/>
          <p:nvPr userDrawn="1"/>
        </p:nvGrpSpPr>
        <p:grpSpPr>
          <a:xfrm flipH="1">
            <a:off x="833154" y="1349518"/>
            <a:ext cx="4772804" cy="4158964"/>
            <a:chOff x="3102769" y="1080936"/>
            <a:chExt cx="5986462" cy="5216530"/>
          </a:xfrm>
        </p:grpSpPr>
        <p:sp>
          <p:nvSpPr>
            <p:cNvPr id="12" name="iŝlïḍé">
              <a:extLst>
                <a:ext uri="{FF2B5EF4-FFF2-40B4-BE49-F238E27FC236}">
                  <a16:creationId xmlns:a16="http://schemas.microsoft.com/office/drawing/2014/main" id="{A4A69353-3652-4D8E-AE87-193BD90893D7}"/>
                </a:ext>
              </a:extLst>
            </p:cNvPr>
            <p:cNvSpPr/>
            <p:nvPr/>
          </p:nvSpPr>
          <p:spPr bwMode="auto">
            <a:xfrm>
              <a:off x="3536465" y="1080936"/>
              <a:ext cx="5552766" cy="5216530"/>
            </a:xfrm>
            <a:custGeom>
              <a:avLst/>
              <a:gdLst>
                <a:gd name="T0" fmla="*/ 1050 w 1095"/>
                <a:gd name="T1" fmla="*/ 413 h 1030"/>
                <a:gd name="T2" fmla="*/ 516 w 1095"/>
                <a:gd name="T3" fmla="*/ 39 h 1030"/>
                <a:gd name="T4" fmla="*/ 1025 w 1095"/>
                <a:gd name="T5" fmla="*/ 416 h 1030"/>
                <a:gd name="T6" fmla="*/ 1034 w 1095"/>
                <a:gd name="T7" fmla="*/ 521 h 1030"/>
                <a:gd name="T8" fmla="*/ 993 w 1095"/>
                <a:gd name="T9" fmla="*/ 653 h 1030"/>
                <a:gd name="T10" fmla="*/ 997 w 1095"/>
                <a:gd name="T11" fmla="*/ 462 h 1030"/>
                <a:gd name="T12" fmla="*/ 445 w 1095"/>
                <a:gd name="T13" fmla="*/ 88 h 1030"/>
                <a:gd name="T14" fmla="*/ 440 w 1095"/>
                <a:gd name="T15" fmla="*/ 89 h 1030"/>
                <a:gd name="T16" fmla="*/ 325 w 1095"/>
                <a:gd name="T17" fmla="*/ 132 h 1030"/>
                <a:gd name="T18" fmla="*/ 432 w 1095"/>
                <a:gd name="T19" fmla="*/ 132 h 1030"/>
                <a:gd name="T20" fmla="*/ 455 w 1095"/>
                <a:gd name="T21" fmla="*/ 155 h 1030"/>
                <a:gd name="T22" fmla="*/ 432 w 1095"/>
                <a:gd name="T23" fmla="*/ 178 h 1030"/>
                <a:gd name="T24" fmla="*/ 260 w 1095"/>
                <a:gd name="T25" fmla="*/ 178 h 1030"/>
                <a:gd name="T26" fmla="*/ 153 w 1095"/>
                <a:gd name="T27" fmla="*/ 327 h 1030"/>
                <a:gd name="T28" fmla="*/ 128 w 1095"/>
                <a:gd name="T29" fmla="*/ 593 h 1030"/>
                <a:gd name="T30" fmla="*/ 455 w 1095"/>
                <a:gd name="T31" fmla="*/ 954 h 1030"/>
                <a:gd name="T32" fmla="*/ 182 w 1095"/>
                <a:gd name="T33" fmla="*/ 835 h 1030"/>
                <a:gd name="T34" fmla="*/ 0 w 1095"/>
                <a:gd name="T35" fmla="*/ 499 h 1030"/>
                <a:gd name="T36" fmla="*/ 185 w 1095"/>
                <a:gd name="T37" fmla="*/ 873 h 1030"/>
                <a:gd name="T38" fmla="*/ 745 w 1095"/>
                <a:gd name="T39" fmla="*/ 946 h 1030"/>
                <a:gd name="T40" fmla="*/ 1050 w 1095"/>
                <a:gd name="T41" fmla="*/ 413 h 1030"/>
                <a:gd name="T42" fmla="*/ 939 w 1095"/>
                <a:gd name="T43" fmla="*/ 790 h 1030"/>
                <a:gd name="T44" fmla="*/ 943 w 1095"/>
                <a:gd name="T45" fmla="*/ 783 h 1030"/>
                <a:gd name="T46" fmla="*/ 982 w 1095"/>
                <a:gd name="T47" fmla="*/ 721 h 1030"/>
                <a:gd name="T48" fmla="*/ 939 w 1095"/>
                <a:gd name="T49" fmla="*/ 79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5" h="1030">
                  <a:moveTo>
                    <a:pt x="1050" y="413"/>
                  </a:moveTo>
                  <a:cubicBezTo>
                    <a:pt x="1001" y="164"/>
                    <a:pt x="765" y="0"/>
                    <a:pt x="516" y="39"/>
                  </a:cubicBezTo>
                  <a:cubicBezTo>
                    <a:pt x="756" y="14"/>
                    <a:pt x="978" y="176"/>
                    <a:pt x="1025" y="416"/>
                  </a:cubicBezTo>
                  <a:cubicBezTo>
                    <a:pt x="1032" y="451"/>
                    <a:pt x="1035" y="486"/>
                    <a:pt x="1034" y="521"/>
                  </a:cubicBezTo>
                  <a:cubicBezTo>
                    <a:pt x="1026" y="566"/>
                    <a:pt x="1013" y="610"/>
                    <a:pt x="993" y="653"/>
                  </a:cubicBezTo>
                  <a:cubicBezTo>
                    <a:pt x="1007" y="592"/>
                    <a:pt x="1009" y="527"/>
                    <a:pt x="997" y="462"/>
                  </a:cubicBezTo>
                  <a:cubicBezTo>
                    <a:pt x="948" y="207"/>
                    <a:pt x="700" y="39"/>
                    <a:pt x="445" y="88"/>
                  </a:cubicBezTo>
                  <a:cubicBezTo>
                    <a:pt x="443" y="89"/>
                    <a:pt x="441" y="89"/>
                    <a:pt x="440" y="89"/>
                  </a:cubicBezTo>
                  <a:cubicBezTo>
                    <a:pt x="399" y="98"/>
                    <a:pt x="361" y="112"/>
                    <a:pt x="325" y="132"/>
                  </a:cubicBezTo>
                  <a:cubicBezTo>
                    <a:pt x="432" y="132"/>
                    <a:pt x="432" y="132"/>
                    <a:pt x="432" y="132"/>
                  </a:cubicBezTo>
                  <a:cubicBezTo>
                    <a:pt x="445" y="132"/>
                    <a:pt x="455" y="143"/>
                    <a:pt x="455" y="155"/>
                  </a:cubicBezTo>
                  <a:cubicBezTo>
                    <a:pt x="455" y="168"/>
                    <a:pt x="445" y="178"/>
                    <a:pt x="432" y="178"/>
                  </a:cubicBezTo>
                  <a:cubicBezTo>
                    <a:pt x="260" y="178"/>
                    <a:pt x="260" y="178"/>
                    <a:pt x="260" y="178"/>
                  </a:cubicBezTo>
                  <a:cubicBezTo>
                    <a:pt x="213" y="218"/>
                    <a:pt x="177" y="269"/>
                    <a:pt x="153" y="327"/>
                  </a:cubicBezTo>
                  <a:cubicBezTo>
                    <a:pt x="120" y="409"/>
                    <a:pt x="109" y="500"/>
                    <a:pt x="128" y="593"/>
                  </a:cubicBezTo>
                  <a:cubicBezTo>
                    <a:pt x="162" y="771"/>
                    <a:pt x="293" y="905"/>
                    <a:pt x="455" y="954"/>
                  </a:cubicBezTo>
                  <a:cubicBezTo>
                    <a:pt x="358" y="942"/>
                    <a:pt x="263" y="903"/>
                    <a:pt x="182" y="835"/>
                  </a:cubicBezTo>
                  <a:cubicBezTo>
                    <a:pt x="77" y="746"/>
                    <a:pt x="16" y="625"/>
                    <a:pt x="0" y="499"/>
                  </a:cubicBezTo>
                  <a:cubicBezTo>
                    <a:pt x="7" y="639"/>
                    <a:pt x="70" y="776"/>
                    <a:pt x="185" y="873"/>
                  </a:cubicBezTo>
                  <a:cubicBezTo>
                    <a:pt x="347" y="1009"/>
                    <a:pt x="566" y="1030"/>
                    <a:pt x="745" y="946"/>
                  </a:cubicBezTo>
                  <a:cubicBezTo>
                    <a:pt x="960" y="870"/>
                    <a:pt x="1095" y="643"/>
                    <a:pt x="1050" y="413"/>
                  </a:cubicBezTo>
                  <a:moveTo>
                    <a:pt x="939" y="790"/>
                  </a:moveTo>
                  <a:cubicBezTo>
                    <a:pt x="940" y="788"/>
                    <a:pt x="941" y="785"/>
                    <a:pt x="943" y="783"/>
                  </a:cubicBezTo>
                  <a:cubicBezTo>
                    <a:pt x="957" y="763"/>
                    <a:pt x="971" y="742"/>
                    <a:pt x="982" y="721"/>
                  </a:cubicBezTo>
                  <a:cubicBezTo>
                    <a:pt x="970" y="745"/>
                    <a:pt x="955" y="768"/>
                    <a:pt x="939" y="790"/>
                  </a:cubicBezTo>
                </a:path>
              </a:pathLst>
            </a:custGeom>
            <a:solidFill>
              <a:srgbClr val="F78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şḷïḍè">
              <a:extLst>
                <a:ext uri="{FF2B5EF4-FFF2-40B4-BE49-F238E27FC236}">
                  <a16:creationId xmlns:a16="http://schemas.microsoft.com/office/drawing/2014/main" id="{DC01F7DC-0553-420E-9D3C-9DC955A99E2A}"/>
                </a:ext>
              </a:extLst>
            </p:cNvPr>
            <p:cNvSpPr/>
            <p:nvPr/>
          </p:nvSpPr>
          <p:spPr bwMode="auto">
            <a:xfrm>
              <a:off x="8109761" y="1967819"/>
              <a:ext cx="375220" cy="526282"/>
            </a:xfrm>
            <a:custGeom>
              <a:avLst/>
              <a:gdLst>
                <a:gd name="T0" fmla="*/ 45 w 74"/>
                <a:gd name="T1" fmla="*/ 23 h 104"/>
                <a:gd name="T2" fmla="*/ 45 w 74"/>
                <a:gd name="T3" fmla="*/ 23 h 104"/>
                <a:gd name="T4" fmla="*/ 45 w 74"/>
                <a:gd name="T5" fmla="*/ 23 h 104"/>
                <a:gd name="T6" fmla="*/ 44 w 74"/>
                <a:gd name="T7" fmla="*/ 23 h 104"/>
                <a:gd name="T8" fmla="*/ 44 w 74"/>
                <a:gd name="T9" fmla="*/ 23 h 104"/>
                <a:gd name="T10" fmla="*/ 44 w 74"/>
                <a:gd name="T11" fmla="*/ 23 h 104"/>
                <a:gd name="T12" fmla="*/ 0 w 74"/>
                <a:gd name="T13" fmla="*/ 4 h 104"/>
                <a:gd name="T14" fmla="*/ 0 w 74"/>
                <a:gd name="T15" fmla="*/ 4 h 104"/>
                <a:gd name="T16" fmla="*/ 74 w 74"/>
                <a:gd name="T17" fmla="*/ 104 h 104"/>
                <a:gd name="T18" fmla="*/ 74 w 74"/>
                <a:gd name="T19" fmla="*/ 104 h 104"/>
                <a:gd name="T20" fmla="*/ 0 w 74"/>
                <a:gd name="T21" fmla="*/ 4 h 104"/>
                <a:gd name="T22" fmla="*/ 23 w 74"/>
                <a:gd name="T23" fmla="*/ 0 h 104"/>
                <a:gd name="T24" fmla="*/ 44 w 74"/>
                <a:gd name="T25" fmla="*/ 22 h 104"/>
                <a:gd name="T26" fmla="*/ 23 w 74"/>
                <a:gd name="T27" fmla="*/ 0 h 104"/>
                <a:gd name="T28" fmla="*/ 23 w 74"/>
                <a:gd name="T2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104">
                  <a:moveTo>
                    <a:pt x="45" y="23"/>
                  </a:move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9" y="34"/>
                    <a:pt x="53" y="67"/>
                    <a:pt x="74" y="104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53" y="67"/>
                    <a:pt x="29" y="34"/>
                    <a:pt x="0" y="4"/>
                  </a:cubicBezTo>
                  <a:moveTo>
                    <a:pt x="23" y="0"/>
                  </a:moveTo>
                  <a:cubicBezTo>
                    <a:pt x="30" y="7"/>
                    <a:pt x="37" y="15"/>
                    <a:pt x="44" y="22"/>
                  </a:cubicBezTo>
                  <a:cubicBezTo>
                    <a:pt x="37" y="15"/>
                    <a:pt x="30" y="7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ïSlïḍé">
              <a:extLst>
                <a:ext uri="{FF2B5EF4-FFF2-40B4-BE49-F238E27FC236}">
                  <a16:creationId xmlns:a16="http://schemas.microsoft.com/office/drawing/2014/main" id="{F0E24FD0-3099-4669-9900-C9C9D4A0AFA0}"/>
                </a:ext>
              </a:extLst>
            </p:cNvPr>
            <p:cNvSpPr/>
            <p:nvPr/>
          </p:nvSpPr>
          <p:spPr bwMode="auto">
            <a:xfrm>
              <a:off x="8109761" y="1967819"/>
              <a:ext cx="436133" cy="526282"/>
            </a:xfrm>
            <a:custGeom>
              <a:avLst/>
              <a:gdLst>
                <a:gd name="T0" fmla="*/ 23 w 86"/>
                <a:gd name="T1" fmla="*/ 0 h 104"/>
                <a:gd name="T2" fmla="*/ 22 w 86"/>
                <a:gd name="T3" fmla="*/ 0 h 104"/>
                <a:gd name="T4" fmla="*/ 19 w 86"/>
                <a:gd name="T5" fmla="*/ 0 h 104"/>
                <a:gd name="T6" fmla="*/ 16 w 86"/>
                <a:gd name="T7" fmla="*/ 1 h 104"/>
                <a:gd name="T8" fmla="*/ 13 w 86"/>
                <a:gd name="T9" fmla="*/ 1 h 104"/>
                <a:gd name="T10" fmla="*/ 10 w 86"/>
                <a:gd name="T11" fmla="*/ 1 h 104"/>
                <a:gd name="T12" fmla="*/ 7 w 86"/>
                <a:gd name="T13" fmla="*/ 2 h 104"/>
                <a:gd name="T14" fmla="*/ 4 w 86"/>
                <a:gd name="T15" fmla="*/ 3 h 104"/>
                <a:gd name="T16" fmla="*/ 1 w 86"/>
                <a:gd name="T17" fmla="*/ 4 h 104"/>
                <a:gd name="T18" fmla="*/ 0 w 86"/>
                <a:gd name="T19" fmla="*/ 4 h 104"/>
                <a:gd name="T20" fmla="*/ 74 w 86"/>
                <a:gd name="T21" fmla="*/ 104 h 104"/>
                <a:gd name="T22" fmla="*/ 74 w 86"/>
                <a:gd name="T23" fmla="*/ 104 h 104"/>
                <a:gd name="T24" fmla="*/ 76 w 86"/>
                <a:gd name="T25" fmla="*/ 100 h 104"/>
                <a:gd name="T26" fmla="*/ 77 w 86"/>
                <a:gd name="T27" fmla="*/ 99 h 104"/>
                <a:gd name="T28" fmla="*/ 80 w 86"/>
                <a:gd name="T29" fmla="*/ 94 h 104"/>
                <a:gd name="T30" fmla="*/ 81 w 86"/>
                <a:gd name="T31" fmla="*/ 93 h 104"/>
                <a:gd name="T32" fmla="*/ 82 w 86"/>
                <a:gd name="T33" fmla="*/ 89 h 104"/>
                <a:gd name="T34" fmla="*/ 83 w 86"/>
                <a:gd name="T35" fmla="*/ 87 h 104"/>
                <a:gd name="T36" fmla="*/ 85 w 86"/>
                <a:gd name="T37" fmla="*/ 83 h 104"/>
                <a:gd name="T38" fmla="*/ 85 w 86"/>
                <a:gd name="T39" fmla="*/ 81 h 104"/>
                <a:gd name="T40" fmla="*/ 86 w 86"/>
                <a:gd name="T41" fmla="*/ 79 h 104"/>
                <a:gd name="T42" fmla="*/ 45 w 86"/>
                <a:gd name="T43" fmla="*/ 23 h 104"/>
                <a:gd name="T44" fmla="*/ 45 w 86"/>
                <a:gd name="T45" fmla="*/ 23 h 104"/>
                <a:gd name="T46" fmla="*/ 44 w 86"/>
                <a:gd name="T47" fmla="*/ 23 h 104"/>
                <a:gd name="T48" fmla="*/ 44 w 86"/>
                <a:gd name="T49" fmla="*/ 23 h 104"/>
                <a:gd name="T50" fmla="*/ 44 w 86"/>
                <a:gd name="T51" fmla="*/ 22 h 104"/>
                <a:gd name="T52" fmla="*/ 23 w 86"/>
                <a:gd name="T53" fmla="*/ 0 h 104"/>
                <a:gd name="T54" fmla="*/ 23 w 86"/>
                <a:gd name="T5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6" h="104">
                  <a:moveTo>
                    <a:pt x="23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18" y="0"/>
                    <a:pt x="17" y="0"/>
                    <a:pt x="16" y="1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2" y="1"/>
                    <a:pt x="11" y="1"/>
                    <a:pt x="10" y="1"/>
                  </a:cubicBezTo>
                  <a:cubicBezTo>
                    <a:pt x="9" y="2"/>
                    <a:pt x="8" y="2"/>
                    <a:pt x="7" y="2"/>
                  </a:cubicBezTo>
                  <a:cubicBezTo>
                    <a:pt x="6" y="3"/>
                    <a:pt x="5" y="3"/>
                    <a:pt x="4" y="3"/>
                  </a:cubicBezTo>
                  <a:cubicBezTo>
                    <a:pt x="3" y="3"/>
                    <a:pt x="2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9" y="34"/>
                    <a:pt x="53" y="67"/>
                    <a:pt x="74" y="104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75" y="103"/>
                    <a:pt x="76" y="101"/>
                    <a:pt x="76" y="100"/>
                  </a:cubicBezTo>
                  <a:cubicBezTo>
                    <a:pt x="77" y="100"/>
                    <a:pt x="77" y="99"/>
                    <a:pt x="77" y="99"/>
                  </a:cubicBezTo>
                  <a:cubicBezTo>
                    <a:pt x="78" y="98"/>
                    <a:pt x="79" y="96"/>
                    <a:pt x="80" y="94"/>
                  </a:cubicBezTo>
                  <a:cubicBezTo>
                    <a:pt x="80" y="94"/>
                    <a:pt x="81" y="93"/>
                    <a:pt x="81" y="93"/>
                  </a:cubicBezTo>
                  <a:cubicBezTo>
                    <a:pt x="81" y="92"/>
                    <a:pt x="82" y="90"/>
                    <a:pt x="82" y="89"/>
                  </a:cubicBezTo>
                  <a:cubicBezTo>
                    <a:pt x="83" y="89"/>
                    <a:pt x="83" y="88"/>
                    <a:pt x="83" y="87"/>
                  </a:cubicBezTo>
                  <a:cubicBezTo>
                    <a:pt x="84" y="86"/>
                    <a:pt x="84" y="85"/>
                    <a:pt x="85" y="83"/>
                  </a:cubicBezTo>
                  <a:cubicBezTo>
                    <a:pt x="85" y="82"/>
                    <a:pt x="85" y="81"/>
                    <a:pt x="85" y="81"/>
                  </a:cubicBezTo>
                  <a:cubicBezTo>
                    <a:pt x="85" y="80"/>
                    <a:pt x="86" y="80"/>
                    <a:pt x="86" y="79"/>
                  </a:cubicBezTo>
                  <a:cubicBezTo>
                    <a:pt x="73" y="60"/>
                    <a:pt x="60" y="41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2"/>
                    <a:pt x="44" y="22"/>
                  </a:cubicBezTo>
                  <a:cubicBezTo>
                    <a:pt x="37" y="15"/>
                    <a:pt x="30" y="7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CB6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ï$ľîḍê">
              <a:extLst>
                <a:ext uri="{FF2B5EF4-FFF2-40B4-BE49-F238E27FC236}">
                  <a16:creationId xmlns:a16="http://schemas.microsoft.com/office/drawing/2014/main" id="{28988A13-993C-4C87-8529-455FF849DE72}"/>
                </a:ext>
              </a:extLst>
            </p:cNvPr>
            <p:cNvSpPr/>
            <p:nvPr/>
          </p:nvSpPr>
          <p:spPr bwMode="auto">
            <a:xfrm>
              <a:off x="8502036" y="2520902"/>
              <a:ext cx="9746" cy="24365"/>
            </a:xfrm>
            <a:custGeom>
              <a:avLst/>
              <a:gdLst>
                <a:gd name="T0" fmla="*/ 0 w 2"/>
                <a:gd name="T1" fmla="*/ 0 h 5"/>
                <a:gd name="T2" fmla="*/ 0 w 2"/>
                <a:gd name="T3" fmla="*/ 0 h 5"/>
                <a:gd name="T4" fmla="*/ 2 w 2"/>
                <a:gd name="T5" fmla="*/ 5 h 5"/>
                <a:gd name="T6" fmla="*/ 2 w 2"/>
                <a:gd name="T7" fmla="*/ 5 h 5"/>
                <a:gd name="T8" fmla="*/ 0 w 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4"/>
                    <a:pt x="0" y="2"/>
                    <a:pt x="0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ṧľïḓè">
              <a:extLst>
                <a:ext uri="{FF2B5EF4-FFF2-40B4-BE49-F238E27FC236}">
                  <a16:creationId xmlns:a16="http://schemas.microsoft.com/office/drawing/2014/main" id="{E63DF2E2-64DB-44B7-9021-436D0807B0C3}"/>
                </a:ext>
              </a:extLst>
            </p:cNvPr>
            <p:cNvSpPr/>
            <p:nvPr/>
          </p:nvSpPr>
          <p:spPr bwMode="auto">
            <a:xfrm>
              <a:off x="8502036" y="2474609"/>
              <a:ext cx="48730" cy="70659"/>
            </a:xfrm>
            <a:custGeom>
              <a:avLst/>
              <a:gdLst>
                <a:gd name="T0" fmla="*/ 10 w 10"/>
                <a:gd name="T1" fmla="*/ 0 h 14"/>
                <a:gd name="T2" fmla="*/ 0 w 10"/>
                <a:gd name="T3" fmla="*/ 9 h 14"/>
                <a:gd name="T4" fmla="*/ 2 w 10"/>
                <a:gd name="T5" fmla="*/ 14 h 14"/>
                <a:gd name="T6" fmla="*/ 10 w 10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4">
                  <a:moveTo>
                    <a:pt x="10" y="0"/>
                  </a:moveTo>
                  <a:cubicBezTo>
                    <a:pt x="10" y="0"/>
                    <a:pt x="6" y="5"/>
                    <a:pt x="0" y="9"/>
                  </a:cubicBezTo>
                  <a:cubicBezTo>
                    <a:pt x="0" y="11"/>
                    <a:pt x="1" y="13"/>
                    <a:pt x="2" y="14"/>
                  </a:cubicBezTo>
                  <a:cubicBezTo>
                    <a:pt x="7" y="7"/>
                    <a:pt x="10" y="0"/>
                    <a:pt x="10" y="0"/>
                  </a:cubicBezTo>
                </a:path>
              </a:pathLst>
            </a:custGeom>
            <a:solidFill>
              <a:srgbClr val="CB6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ŝľîďê">
              <a:extLst>
                <a:ext uri="{FF2B5EF4-FFF2-40B4-BE49-F238E27FC236}">
                  <a16:creationId xmlns:a16="http://schemas.microsoft.com/office/drawing/2014/main" id="{93BB2F06-7E46-4848-AE42-1100726F660F}"/>
                </a:ext>
              </a:extLst>
            </p:cNvPr>
            <p:cNvSpPr/>
            <p:nvPr/>
          </p:nvSpPr>
          <p:spPr bwMode="auto">
            <a:xfrm>
              <a:off x="3836154" y="4545628"/>
              <a:ext cx="4536748" cy="1366873"/>
            </a:xfrm>
            <a:custGeom>
              <a:avLst/>
              <a:gdLst>
                <a:gd name="T0" fmla="*/ 396 w 895"/>
                <a:gd name="T1" fmla="*/ 269 h 270"/>
                <a:gd name="T2" fmla="*/ 395 w 895"/>
                <a:gd name="T3" fmla="*/ 269 h 270"/>
                <a:gd name="T4" fmla="*/ 395 w 895"/>
                <a:gd name="T5" fmla="*/ 269 h 270"/>
                <a:gd name="T6" fmla="*/ 393 w 895"/>
                <a:gd name="T7" fmla="*/ 269 h 270"/>
                <a:gd name="T8" fmla="*/ 392 w 895"/>
                <a:gd name="T9" fmla="*/ 268 h 270"/>
                <a:gd name="T10" fmla="*/ 392 w 895"/>
                <a:gd name="T11" fmla="*/ 268 h 270"/>
                <a:gd name="T12" fmla="*/ 390 w 895"/>
                <a:gd name="T13" fmla="*/ 268 h 270"/>
                <a:gd name="T14" fmla="*/ 389 w 895"/>
                <a:gd name="T15" fmla="*/ 267 h 270"/>
                <a:gd name="T16" fmla="*/ 389 w 895"/>
                <a:gd name="T17" fmla="*/ 267 h 270"/>
                <a:gd name="T18" fmla="*/ 387 w 895"/>
                <a:gd name="T19" fmla="*/ 267 h 270"/>
                <a:gd name="T20" fmla="*/ 386 w 895"/>
                <a:gd name="T21" fmla="*/ 267 h 270"/>
                <a:gd name="T22" fmla="*/ 386 w 895"/>
                <a:gd name="T23" fmla="*/ 266 h 270"/>
                <a:gd name="T24" fmla="*/ 385 w 895"/>
                <a:gd name="T25" fmla="*/ 266 h 270"/>
                <a:gd name="T26" fmla="*/ 384 w 895"/>
                <a:gd name="T27" fmla="*/ 266 h 270"/>
                <a:gd name="T28" fmla="*/ 384 w 895"/>
                <a:gd name="T29" fmla="*/ 266 h 270"/>
                <a:gd name="T30" fmla="*/ 383 w 895"/>
                <a:gd name="T31" fmla="*/ 265 h 270"/>
                <a:gd name="T32" fmla="*/ 382 w 895"/>
                <a:gd name="T33" fmla="*/ 265 h 270"/>
                <a:gd name="T34" fmla="*/ 382 w 895"/>
                <a:gd name="T35" fmla="*/ 265 h 270"/>
                <a:gd name="T36" fmla="*/ 381 w 895"/>
                <a:gd name="T37" fmla="*/ 265 h 270"/>
                <a:gd name="T38" fmla="*/ 380 w 895"/>
                <a:gd name="T39" fmla="*/ 264 h 270"/>
                <a:gd name="T40" fmla="*/ 686 w 895"/>
                <a:gd name="T41" fmla="*/ 262 h 270"/>
                <a:gd name="T42" fmla="*/ 687 w 895"/>
                <a:gd name="T43" fmla="*/ 262 h 270"/>
                <a:gd name="T44" fmla="*/ 687 w 895"/>
                <a:gd name="T45" fmla="*/ 262 h 270"/>
                <a:gd name="T46" fmla="*/ 688 w 895"/>
                <a:gd name="T47" fmla="*/ 261 h 270"/>
                <a:gd name="T48" fmla="*/ 688 w 895"/>
                <a:gd name="T49" fmla="*/ 261 h 270"/>
                <a:gd name="T50" fmla="*/ 689 w 895"/>
                <a:gd name="T51" fmla="*/ 261 h 270"/>
                <a:gd name="T52" fmla="*/ 689 w 895"/>
                <a:gd name="T53" fmla="*/ 261 h 270"/>
                <a:gd name="T54" fmla="*/ 689 w 895"/>
                <a:gd name="T55" fmla="*/ 261 h 270"/>
                <a:gd name="T56" fmla="*/ 689 w 895"/>
                <a:gd name="T57" fmla="*/ 261 h 270"/>
                <a:gd name="T58" fmla="*/ 691 w 895"/>
                <a:gd name="T59" fmla="*/ 260 h 270"/>
                <a:gd name="T60" fmla="*/ 692 w 895"/>
                <a:gd name="T61" fmla="*/ 260 h 270"/>
                <a:gd name="T62" fmla="*/ 691 w 895"/>
                <a:gd name="T63" fmla="*/ 260 h 270"/>
                <a:gd name="T64" fmla="*/ 692 w 895"/>
                <a:gd name="T65" fmla="*/ 260 h 270"/>
                <a:gd name="T66" fmla="*/ 694 w 895"/>
                <a:gd name="T67" fmla="*/ 259 h 270"/>
                <a:gd name="T68" fmla="*/ 693 w 895"/>
                <a:gd name="T69" fmla="*/ 260 h 270"/>
                <a:gd name="T70" fmla="*/ 694 w 895"/>
                <a:gd name="T71" fmla="*/ 259 h 270"/>
                <a:gd name="T72" fmla="*/ 696 w 895"/>
                <a:gd name="T73" fmla="*/ 258 h 270"/>
                <a:gd name="T74" fmla="*/ 697 w 895"/>
                <a:gd name="T75" fmla="*/ 258 h 270"/>
                <a:gd name="T76" fmla="*/ 698 w 895"/>
                <a:gd name="T77" fmla="*/ 258 h 270"/>
                <a:gd name="T78" fmla="*/ 698 w 895"/>
                <a:gd name="T79" fmla="*/ 257 h 270"/>
                <a:gd name="T80" fmla="*/ 698 w 895"/>
                <a:gd name="T81" fmla="*/ 257 h 270"/>
                <a:gd name="T82" fmla="*/ 698 w 895"/>
                <a:gd name="T83" fmla="*/ 257 h 270"/>
                <a:gd name="T84" fmla="*/ 699 w 895"/>
                <a:gd name="T85" fmla="*/ 257 h 270"/>
                <a:gd name="T86" fmla="*/ 700 w 895"/>
                <a:gd name="T87" fmla="*/ 257 h 270"/>
                <a:gd name="T88" fmla="*/ 701 w 895"/>
                <a:gd name="T89" fmla="*/ 257 h 270"/>
                <a:gd name="T90" fmla="*/ 701 w 895"/>
                <a:gd name="T91" fmla="*/ 256 h 270"/>
                <a:gd name="T92" fmla="*/ 702 w 895"/>
                <a:gd name="T93" fmla="*/ 256 h 270"/>
                <a:gd name="T94" fmla="*/ 703 w 895"/>
                <a:gd name="T95" fmla="*/ 256 h 270"/>
                <a:gd name="T96" fmla="*/ 703 w 895"/>
                <a:gd name="T97" fmla="*/ 255 h 270"/>
                <a:gd name="T98" fmla="*/ 704 w 895"/>
                <a:gd name="T99" fmla="*/ 255 h 270"/>
                <a:gd name="T100" fmla="*/ 705 w 895"/>
                <a:gd name="T101" fmla="*/ 255 h 270"/>
                <a:gd name="T102" fmla="*/ 706 w 895"/>
                <a:gd name="T103" fmla="*/ 254 h 270"/>
                <a:gd name="T104" fmla="*/ 707 w 895"/>
                <a:gd name="T105" fmla="*/ 254 h 270"/>
                <a:gd name="T106" fmla="*/ 126 w 895"/>
                <a:gd name="T107" fmla="*/ 189 h 270"/>
                <a:gd name="T108" fmla="*/ 126 w 895"/>
                <a:gd name="T109" fmla="*/ 189 h 270"/>
                <a:gd name="T110" fmla="*/ 125 w 895"/>
                <a:gd name="T111" fmla="*/ 188 h 270"/>
                <a:gd name="T112" fmla="*/ 125 w 895"/>
                <a:gd name="T113" fmla="*/ 188 h 270"/>
                <a:gd name="T114" fmla="*/ 124 w 895"/>
                <a:gd name="T115" fmla="*/ 187 h 270"/>
                <a:gd name="T116" fmla="*/ 124 w 895"/>
                <a:gd name="T117" fmla="*/ 187 h 270"/>
                <a:gd name="T118" fmla="*/ 895 w 895"/>
                <a:gd name="T119" fmla="*/ 85 h 270"/>
                <a:gd name="T120" fmla="*/ 0 w 895"/>
                <a:gd name="T121" fmla="*/ 0 h 270"/>
                <a:gd name="T122" fmla="*/ 376 w 895"/>
                <a:gd name="T123" fmla="*/ 26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95" h="270">
                  <a:moveTo>
                    <a:pt x="396" y="269"/>
                  </a:moveTo>
                  <a:cubicBezTo>
                    <a:pt x="396" y="269"/>
                    <a:pt x="396" y="270"/>
                    <a:pt x="396" y="270"/>
                  </a:cubicBezTo>
                  <a:cubicBezTo>
                    <a:pt x="396" y="270"/>
                    <a:pt x="396" y="270"/>
                    <a:pt x="396" y="270"/>
                  </a:cubicBezTo>
                  <a:cubicBezTo>
                    <a:pt x="396" y="270"/>
                    <a:pt x="396" y="269"/>
                    <a:pt x="396" y="269"/>
                  </a:cubicBezTo>
                  <a:moveTo>
                    <a:pt x="395" y="269"/>
                  </a:moveTo>
                  <a:cubicBezTo>
                    <a:pt x="395" y="269"/>
                    <a:pt x="395" y="269"/>
                    <a:pt x="396" y="269"/>
                  </a:cubicBezTo>
                  <a:cubicBezTo>
                    <a:pt x="395" y="269"/>
                    <a:pt x="395" y="269"/>
                    <a:pt x="395" y="269"/>
                  </a:cubicBezTo>
                  <a:moveTo>
                    <a:pt x="395" y="269"/>
                  </a:moveTo>
                  <a:cubicBezTo>
                    <a:pt x="395" y="269"/>
                    <a:pt x="395" y="269"/>
                    <a:pt x="395" y="269"/>
                  </a:cubicBezTo>
                  <a:cubicBezTo>
                    <a:pt x="395" y="269"/>
                    <a:pt x="395" y="269"/>
                    <a:pt x="395" y="269"/>
                  </a:cubicBezTo>
                  <a:moveTo>
                    <a:pt x="394" y="269"/>
                  </a:moveTo>
                  <a:cubicBezTo>
                    <a:pt x="394" y="269"/>
                    <a:pt x="395" y="269"/>
                    <a:pt x="395" y="269"/>
                  </a:cubicBezTo>
                  <a:cubicBezTo>
                    <a:pt x="395" y="269"/>
                    <a:pt x="394" y="269"/>
                    <a:pt x="394" y="269"/>
                  </a:cubicBezTo>
                  <a:moveTo>
                    <a:pt x="393" y="269"/>
                  </a:moveTo>
                  <a:cubicBezTo>
                    <a:pt x="394" y="269"/>
                    <a:pt x="394" y="269"/>
                    <a:pt x="394" y="269"/>
                  </a:cubicBezTo>
                  <a:cubicBezTo>
                    <a:pt x="394" y="269"/>
                    <a:pt x="394" y="269"/>
                    <a:pt x="393" y="269"/>
                  </a:cubicBezTo>
                  <a:moveTo>
                    <a:pt x="393" y="269"/>
                  </a:moveTo>
                  <a:cubicBezTo>
                    <a:pt x="393" y="269"/>
                    <a:pt x="393" y="269"/>
                    <a:pt x="393" y="269"/>
                  </a:cubicBezTo>
                  <a:cubicBezTo>
                    <a:pt x="393" y="269"/>
                    <a:pt x="393" y="269"/>
                    <a:pt x="393" y="269"/>
                  </a:cubicBezTo>
                  <a:moveTo>
                    <a:pt x="392" y="268"/>
                  </a:moveTo>
                  <a:cubicBezTo>
                    <a:pt x="393" y="268"/>
                    <a:pt x="393" y="269"/>
                    <a:pt x="393" y="269"/>
                  </a:cubicBezTo>
                  <a:cubicBezTo>
                    <a:pt x="393" y="269"/>
                    <a:pt x="393" y="268"/>
                    <a:pt x="392" y="268"/>
                  </a:cubicBezTo>
                  <a:moveTo>
                    <a:pt x="391" y="268"/>
                  </a:moveTo>
                  <a:cubicBezTo>
                    <a:pt x="391" y="268"/>
                    <a:pt x="392" y="268"/>
                    <a:pt x="392" y="268"/>
                  </a:cubicBezTo>
                  <a:cubicBezTo>
                    <a:pt x="392" y="268"/>
                    <a:pt x="391" y="268"/>
                    <a:pt x="391" y="268"/>
                  </a:cubicBezTo>
                  <a:moveTo>
                    <a:pt x="390" y="268"/>
                  </a:moveTo>
                  <a:cubicBezTo>
                    <a:pt x="391" y="268"/>
                    <a:pt x="391" y="268"/>
                    <a:pt x="391" y="268"/>
                  </a:cubicBezTo>
                  <a:cubicBezTo>
                    <a:pt x="391" y="268"/>
                    <a:pt x="391" y="268"/>
                    <a:pt x="390" y="268"/>
                  </a:cubicBezTo>
                  <a:moveTo>
                    <a:pt x="389" y="267"/>
                  </a:moveTo>
                  <a:cubicBezTo>
                    <a:pt x="390" y="268"/>
                    <a:pt x="390" y="268"/>
                    <a:pt x="390" y="268"/>
                  </a:cubicBezTo>
                  <a:cubicBezTo>
                    <a:pt x="390" y="268"/>
                    <a:pt x="390" y="268"/>
                    <a:pt x="389" y="267"/>
                  </a:cubicBezTo>
                  <a:moveTo>
                    <a:pt x="389" y="267"/>
                  </a:moveTo>
                  <a:cubicBezTo>
                    <a:pt x="389" y="267"/>
                    <a:pt x="389" y="267"/>
                    <a:pt x="389" y="267"/>
                  </a:cubicBezTo>
                  <a:cubicBezTo>
                    <a:pt x="389" y="267"/>
                    <a:pt x="389" y="267"/>
                    <a:pt x="389" y="267"/>
                  </a:cubicBezTo>
                  <a:moveTo>
                    <a:pt x="388" y="267"/>
                  </a:moveTo>
                  <a:cubicBezTo>
                    <a:pt x="388" y="267"/>
                    <a:pt x="388" y="267"/>
                    <a:pt x="389" y="267"/>
                  </a:cubicBezTo>
                  <a:cubicBezTo>
                    <a:pt x="388" y="267"/>
                    <a:pt x="388" y="267"/>
                    <a:pt x="388" y="267"/>
                  </a:cubicBezTo>
                  <a:moveTo>
                    <a:pt x="387" y="267"/>
                  </a:moveTo>
                  <a:cubicBezTo>
                    <a:pt x="387" y="267"/>
                    <a:pt x="388" y="267"/>
                    <a:pt x="388" y="267"/>
                  </a:cubicBezTo>
                  <a:cubicBezTo>
                    <a:pt x="388" y="267"/>
                    <a:pt x="387" y="267"/>
                    <a:pt x="387" y="267"/>
                  </a:cubicBezTo>
                  <a:moveTo>
                    <a:pt x="387" y="267"/>
                  </a:moveTo>
                  <a:cubicBezTo>
                    <a:pt x="387" y="267"/>
                    <a:pt x="387" y="267"/>
                    <a:pt x="387" y="267"/>
                  </a:cubicBezTo>
                  <a:cubicBezTo>
                    <a:pt x="387" y="267"/>
                    <a:pt x="387" y="267"/>
                    <a:pt x="387" y="267"/>
                  </a:cubicBezTo>
                  <a:moveTo>
                    <a:pt x="386" y="267"/>
                  </a:moveTo>
                  <a:cubicBezTo>
                    <a:pt x="386" y="267"/>
                    <a:pt x="387" y="267"/>
                    <a:pt x="387" y="267"/>
                  </a:cubicBezTo>
                  <a:cubicBezTo>
                    <a:pt x="387" y="267"/>
                    <a:pt x="386" y="267"/>
                    <a:pt x="386" y="267"/>
                  </a:cubicBezTo>
                  <a:moveTo>
                    <a:pt x="386" y="266"/>
                  </a:moveTo>
                  <a:cubicBezTo>
                    <a:pt x="386" y="266"/>
                    <a:pt x="386" y="266"/>
                    <a:pt x="386" y="266"/>
                  </a:cubicBezTo>
                  <a:cubicBezTo>
                    <a:pt x="386" y="266"/>
                    <a:pt x="386" y="266"/>
                    <a:pt x="386" y="266"/>
                  </a:cubicBezTo>
                  <a:moveTo>
                    <a:pt x="385" y="266"/>
                  </a:moveTo>
                  <a:cubicBezTo>
                    <a:pt x="385" y="266"/>
                    <a:pt x="385" y="266"/>
                    <a:pt x="386" y="266"/>
                  </a:cubicBezTo>
                  <a:cubicBezTo>
                    <a:pt x="385" y="266"/>
                    <a:pt x="385" y="266"/>
                    <a:pt x="385" y="266"/>
                  </a:cubicBezTo>
                  <a:moveTo>
                    <a:pt x="384" y="266"/>
                  </a:moveTo>
                  <a:cubicBezTo>
                    <a:pt x="384" y="266"/>
                    <a:pt x="385" y="266"/>
                    <a:pt x="385" y="266"/>
                  </a:cubicBezTo>
                  <a:cubicBezTo>
                    <a:pt x="385" y="266"/>
                    <a:pt x="385" y="266"/>
                    <a:pt x="384" y="266"/>
                  </a:cubicBezTo>
                  <a:moveTo>
                    <a:pt x="384" y="266"/>
                  </a:moveTo>
                  <a:cubicBezTo>
                    <a:pt x="384" y="266"/>
                    <a:pt x="384" y="266"/>
                    <a:pt x="384" y="266"/>
                  </a:cubicBezTo>
                  <a:cubicBezTo>
                    <a:pt x="384" y="266"/>
                    <a:pt x="384" y="266"/>
                    <a:pt x="384" y="266"/>
                  </a:cubicBezTo>
                  <a:moveTo>
                    <a:pt x="383" y="266"/>
                  </a:moveTo>
                  <a:cubicBezTo>
                    <a:pt x="384" y="266"/>
                    <a:pt x="384" y="266"/>
                    <a:pt x="384" y="266"/>
                  </a:cubicBezTo>
                  <a:cubicBezTo>
                    <a:pt x="384" y="266"/>
                    <a:pt x="384" y="266"/>
                    <a:pt x="383" y="266"/>
                  </a:cubicBezTo>
                  <a:moveTo>
                    <a:pt x="383" y="265"/>
                  </a:moveTo>
                  <a:cubicBezTo>
                    <a:pt x="383" y="265"/>
                    <a:pt x="383" y="266"/>
                    <a:pt x="383" y="266"/>
                  </a:cubicBezTo>
                  <a:cubicBezTo>
                    <a:pt x="383" y="266"/>
                    <a:pt x="383" y="265"/>
                    <a:pt x="383" y="265"/>
                  </a:cubicBezTo>
                  <a:moveTo>
                    <a:pt x="383" y="265"/>
                  </a:moveTo>
                  <a:cubicBezTo>
                    <a:pt x="383" y="265"/>
                    <a:pt x="383" y="265"/>
                    <a:pt x="383" y="265"/>
                  </a:cubicBezTo>
                  <a:cubicBezTo>
                    <a:pt x="383" y="265"/>
                    <a:pt x="383" y="265"/>
                    <a:pt x="383" y="265"/>
                  </a:cubicBezTo>
                  <a:moveTo>
                    <a:pt x="382" y="265"/>
                  </a:moveTo>
                  <a:cubicBezTo>
                    <a:pt x="382" y="265"/>
                    <a:pt x="382" y="265"/>
                    <a:pt x="382" y="265"/>
                  </a:cubicBezTo>
                  <a:cubicBezTo>
                    <a:pt x="382" y="265"/>
                    <a:pt x="382" y="265"/>
                    <a:pt x="382" y="265"/>
                  </a:cubicBezTo>
                  <a:moveTo>
                    <a:pt x="382" y="265"/>
                  </a:moveTo>
                  <a:cubicBezTo>
                    <a:pt x="382" y="265"/>
                    <a:pt x="382" y="265"/>
                    <a:pt x="382" y="265"/>
                  </a:cubicBezTo>
                  <a:cubicBezTo>
                    <a:pt x="382" y="265"/>
                    <a:pt x="382" y="265"/>
                    <a:pt x="382" y="265"/>
                  </a:cubicBezTo>
                  <a:moveTo>
                    <a:pt x="381" y="265"/>
                  </a:moveTo>
                  <a:cubicBezTo>
                    <a:pt x="381" y="265"/>
                    <a:pt x="381" y="265"/>
                    <a:pt x="381" y="265"/>
                  </a:cubicBezTo>
                  <a:cubicBezTo>
                    <a:pt x="381" y="265"/>
                    <a:pt x="381" y="265"/>
                    <a:pt x="381" y="265"/>
                  </a:cubicBezTo>
                  <a:moveTo>
                    <a:pt x="380" y="265"/>
                  </a:moveTo>
                  <a:cubicBezTo>
                    <a:pt x="380" y="265"/>
                    <a:pt x="380" y="265"/>
                    <a:pt x="380" y="265"/>
                  </a:cubicBezTo>
                  <a:cubicBezTo>
                    <a:pt x="380" y="265"/>
                    <a:pt x="380" y="265"/>
                    <a:pt x="380" y="265"/>
                  </a:cubicBezTo>
                  <a:moveTo>
                    <a:pt x="380" y="264"/>
                  </a:moveTo>
                  <a:cubicBezTo>
                    <a:pt x="380" y="264"/>
                    <a:pt x="380" y="264"/>
                    <a:pt x="380" y="264"/>
                  </a:cubicBezTo>
                  <a:cubicBezTo>
                    <a:pt x="380" y="264"/>
                    <a:pt x="380" y="264"/>
                    <a:pt x="380" y="264"/>
                  </a:cubicBezTo>
                  <a:moveTo>
                    <a:pt x="686" y="262"/>
                  </a:moveTo>
                  <a:cubicBezTo>
                    <a:pt x="686" y="262"/>
                    <a:pt x="686" y="262"/>
                    <a:pt x="686" y="262"/>
                  </a:cubicBezTo>
                  <a:cubicBezTo>
                    <a:pt x="686" y="262"/>
                    <a:pt x="686" y="262"/>
                    <a:pt x="686" y="262"/>
                  </a:cubicBezTo>
                  <a:cubicBezTo>
                    <a:pt x="686" y="262"/>
                    <a:pt x="686" y="262"/>
                    <a:pt x="686" y="262"/>
                  </a:cubicBezTo>
                  <a:moveTo>
                    <a:pt x="687" y="262"/>
                  </a:moveTo>
                  <a:cubicBezTo>
                    <a:pt x="687" y="262"/>
                    <a:pt x="687" y="262"/>
                    <a:pt x="687" y="262"/>
                  </a:cubicBezTo>
                  <a:cubicBezTo>
                    <a:pt x="687" y="262"/>
                    <a:pt x="687" y="262"/>
                    <a:pt x="687" y="262"/>
                  </a:cubicBezTo>
                  <a:cubicBezTo>
                    <a:pt x="687" y="262"/>
                    <a:pt x="687" y="262"/>
                    <a:pt x="687" y="262"/>
                  </a:cubicBezTo>
                  <a:moveTo>
                    <a:pt x="688" y="261"/>
                  </a:moveTo>
                  <a:cubicBezTo>
                    <a:pt x="688" y="262"/>
                    <a:pt x="687" y="262"/>
                    <a:pt x="687" y="262"/>
                  </a:cubicBezTo>
                  <a:cubicBezTo>
                    <a:pt x="687" y="262"/>
                    <a:pt x="687" y="262"/>
                    <a:pt x="687" y="262"/>
                  </a:cubicBezTo>
                  <a:cubicBezTo>
                    <a:pt x="687" y="262"/>
                    <a:pt x="687" y="262"/>
                    <a:pt x="688" y="261"/>
                  </a:cubicBezTo>
                  <a:moveTo>
                    <a:pt x="688" y="261"/>
                  </a:moveTo>
                  <a:cubicBezTo>
                    <a:pt x="688" y="261"/>
                    <a:pt x="688" y="261"/>
                    <a:pt x="688" y="261"/>
                  </a:cubicBezTo>
                  <a:cubicBezTo>
                    <a:pt x="688" y="261"/>
                    <a:pt x="688" y="261"/>
                    <a:pt x="688" y="261"/>
                  </a:cubicBezTo>
                  <a:cubicBezTo>
                    <a:pt x="688" y="261"/>
                    <a:pt x="688" y="261"/>
                    <a:pt x="688" y="261"/>
                  </a:cubicBezTo>
                  <a:cubicBezTo>
                    <a:pt x="688" y="261"/>
                    <a:pt x="688" y="261"/>
                    <a:pt x="688" y="261"/>
                  </a:cubicBezTo>
                  <a:cubicBezTo>
                    <a:pt x="688" y="261"/>
                    <a:pt x="688" y="261"/>
                    <a:pt x="688" y="261"/>
                  </a:cubicBezTo>
                  <a:moveTo>
                    <a:pt x="689" y="261"/>
                  </a:move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8" y="261"/>
                  </a:cubicBezTo>
                  <a:cubicBezTo>
                    <a:pt x="689" y="261"/>
                    <a:pt x="689" y="261"/>
                    <a:pt x="689" y="261"/>
                  </a:cubicBezTo>
                  <a:moveTo>
                    <a:pt x="689" y="261"/>
                  </a:move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moveTo>
                    <a:pt x="689" y="261"/>
                  </a:move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moveTo>
                    <a:pt x="690" y="261"/>
                  </a:moveTo>
                  <a:cubicBezTo>
                    <a:pt x="690" y="261"/>
                    <a:pt x="690" y="261"/>
                    <a:pt x="690" y="261"/>
                  </a:cubicBezTo>
                  <a:cubicBezTo>
                    <a:pt x="690" y="261"/>
                    <a:pt x="690" y="261"/>
                    <a:pt x="690" y="261"/>
                  </a:cubicBezTo>
                  <a:cubicBezTo>
                    <a:pt x="690" y="261"/>
                    <a:pt x="690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cubicBezTo>
                    <a:pt x="690" y="261"/>
                    <a:pt x="690" y="261"/>
                    <a:pt x="690" y="261"/>
                  </a:cubicBezTo>
                  <a:moveTo>
                    <a:pt x="691" y="260"/>
                  </a:moveTo>
                  <a:cubicBezTo>
                    <a:pt x="691" y="260"/>
                    <a:pt x="691" y="260"/>
                    <a:pt x="691" y="260"/>
                  </a:cubicBezTo>
                  <a:cubicBezTo>
                    <a:pt x="691" y="260"/>
                    <a:pt x="691" y="260"/>
                    <a:pt x="690" y="260"/>
                  </a:cubicBezTo>
                  <a:cubicBezTo>
                    <a:pt x="690" y="260"/>
                    <a:pt x="690" y="260"/>
                    <a:pt x="690" y="260"/>
                  </a:cubicBezTo>
                  <a:cubicBezTo>
                    <a:pt x="690" y="260"/>
                    <a:pt x="691" y="260"/>
                    <a:pt x="691" y="260"/>
                  </a:cubicBezTo>
                  <a:moveTo>
                    <a:pt x="692" y="260"/>
                  </a:moveTo>
                  <a:cubicBezTo>
                    <a:pt x="692" y="260"/>
                    <a:pt x="692" y="260"/>
                    <a:pt x="692" y="260"/>
                  </a:cubicBezTo>
                  <a:cubicBezTo>
                    <a:pt x="692" y="260"/>
                    <a:pt x="692" y="260"/>
                    <a:pt x="692" y="260"/>
                  </a:cubicBezTo>
                  <a:cubicBezTo>
                    <a:pt x="692" y="260"/>
                    <a:pt x="691" y="260"/>
                    <a:pt x="691" y="260"/>
                  </a:cubicBezTo>
                  <a:cubicBezTo>
                    <a:pt x="691" y="260"/>
                    <a:pt x="691" y="260"/>
                    <a:pt x="691" y="260"/>
                  </a:cubicBezTo>
                  <a:cubicBezTo>
                    <a:pt x="691" y="260"/>
                    <a:pt x="691" y="260"/>
                    <a:pt x="691" y="260"/>
                  </a:cubicBezTo>
                  <a:cubicBezTo>
                    <a:pt x="691" y="260"/>
                    <a:pt x="692" y="260"/>
                    <a:pt x="692" y="260"/>
                  </a:cubicBezTo>
                  <a:moveTo>
                    <a:pt x="693" y="260"/>
                  </a:moveTo>
                  <a:cubicBezTo>
                    <a:pt x="693" y="260"/>
                    <a:pt x="693" y="260"/>
                    <a:pt x="692" y="260"/>
                  </a:cubicBezTo>
                  <a:cubicBezTo>
                    <a:pt x="692" y="260"/>
                    <a:pt x="692" y="260"/>
                    <a:pt x="692" y="260"/>
                  </a:cubicBezTo>
                  <a:cubicBezTo>
                    <a:pt x="692" y="260"/>
                    <a:pt x="692" y="260"/>
                    <a:pt x="692" y="260"/>
                  </a:cubicBezTo>
                  <a:cubicBezTo>
                    <a:pt x="692" y="260"/>
                    <a:pt x="693" y="260"/>
                    <a:pt x="693" y="260"/>
                  </a:cubicBezTo>
                  <a:moveTo>
                    <a:pt x="694" y="259"/>
                  </a:moveTo>
                  <a:cubicBezTo>
                    <a:pt x="694" y="259"/>
                    <a:pt x="694" y="259"/>
                    <a:pt x="694" y="259"/>
                  </a:cubicBezTo>
                  <a:cubicBezTo>
                    <a:pt x="694" y="259"/>
                    <a:pt x="693" y="259"/>
                    <a:pt x="693" y="259"/>
                  </a:cubicBezTo>
                  <a:cubicBezTo>
                    <a:pt x="693" y="259"/>
                    <a:pt x="693" y="259"/>
                    <a:pt x="693" y="259"/>
                  </a:cubicBezTo>
                  <a:cubicBezTo>
                    <a:pt x="693" y="260"/>
                    <a:pt x="693" y="260"/>
                    <a:pt x="693" y="260"/>
                  </a:cubicBezTo>
                  <a:cubicBezTo>
                    <a:pt x="693" y="260"/>
                    <a:pt x="693" y="260"/>
                    <a:pt x="693" y="260"/>
                  </a:cubicBezTo>
                  <a:cubicBezTo>
                    <a:pt x="693" y="259"/>
                    <a:pt x="694" y="259"/>
                    <a:pt x="694" y="259"/>
                  </a:cubicBezTo>
                  <a:moveTo>
                    <a:pt x="695" y="259"/>
                  </a:moveTo>
                  <a:cubicBezTo>
                    <a:pt x="694" y="259"/>
                    <a:pt x="694" y="259"/>
                    <a:pt x="694" y="259"/>
                  </a:cubicBezTo>
                  <a:cubicBezTo>
                    <a:pt x="694" y="259"/>
                    <a:pt x="694" y="259"/>
                    <a:pt x="695" y="259"/>
                  </a:cubicBezTo>
                  <a:moveTo>
                    <a:pt x="696" y="258"/>
                  </a:moveTo>
                  <a:cubicBezTo>
                    <a:pt x="695" y="259"/>
                    <a:pt x="695" y="259"/>
                    <a:pt x="695" y="259"/>
                  </a:cubicBezTo>
                  <a:cubicBezTo>
                    <a:pt x="695" y="259"/>
                    <a:pt x="695" y="259"/>
                    <a:pt x="696" y="258"/>
                  </a:cubicBezTo>
                  <a:moveTo>
                    <a:pt x="696" y="258"/>
                  </a:moveTo>
                  <a:cubicBezTo>
                    <a:pt x="696" y="258"/>
                    <a:pt x="696" y="258"/>
                    <a:pt x="696" y="258"/>
                  </a:cubicBezTo>
                  <a:cubicBezTo>
                    <a:pt x="696" y="258"/>
                    <a:pt x="696" y="258"/>
                    <a:pt x="696" y="258"/>
                  </a:cubicBezTo>
                  <a:moveTo>
                    <a:pt x="697" y="258"/>
                  </a:moveTo>
                  <a:cubicBezTo>
                    <a:pt x="697" y="258"/>
                    <a:pt x="697" y="258"/>
                    <a:pt x="697" y="258"/>
                  </a:cubicBezTo>
                  <a:cubicBezTo>
                    <a:pt x="697" y="258"/>
                    <a:pt x="697" y="258"/>
                    <a:pt x="697" y="258"/>
                  </a:cubicBezTo>
                  <a:moveTo>
                    <a:pt x="698" y="258"/>
                  </a:moveTo>
                  <a:cubicBezTo>
                    <a:pt x="698" y="258"/>
                    <a:pt x="698" y="258"/>
                    <a:pt x="698" y="258"/>
                  </a:cubicBezTo>
                  <a:cubicBezTo>
                    <a:pt x="698" y="258"/>
                    <a:pt x="698" y="258"/>
                    <a:pt x="698" y="258"/>
                  </a:cubicBezTo>
                  <a:cubicBezTo>
                    <a:pt x="697" y="258"/>
                    <a:pt x="697" y="258"/>
                    <a:pt x="697" y="258"/>
                  </a:cubicBezTo>
                  <a:cubicBezTo>
                    <a:pt x="697" y="258"/>
                    <a:pt x="697" y="258"/>
                    <a:pt x="698" y="258"/>
                  </a:cubicBezTo>
                  <a:moveTo>
                    <a:pt x="698" y="257"/>
                  </a:moveTo>
                  <a:cubicBezTo>
                    <a:pt x="698" y="257"/>
                    <a:pt x="698" y="258"/>
                    <a:pt x="698" y="258"/>
                  </a:cubicBezTo>
                  <a:cubicBezTo>
                    <a:pt x="698" y="258"/>
                    <a:pt x="698" y="258"/>
                    <a:pt x="698" y="258"/>
                  </a:cubicBezTo>
                  <a:cubicBezTo>
                    <a:pt x="698" y="258"/>
                    <a:pt x="698" y="258"/>
                    <a:pt x="698" y="258"/>
                  </a:cubicBezTo>
                  <a:cubicBezTo>
                    <a:pt x="698" y="258"/>
                    <a:pt x="698" y="258"/>
                    <a:pt x="698" y="257"/>
                  </a:cubicBezTo>
                  <a:moveTo>
                    <a:pt x="699" y="257"/>
                  </a:move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8" y="257"/>
                    <a:pt x="698" y="257"/>
                  </a:cubicBezTo>
                  <a:cubicBezTo>
                    <a:pt x="699" y="257"/>
                    <a:pt x="699" y="257"/>
                    <a:pt x="699" y="257"/>
                  </a:cubicBezTo>
                  <a:moveTo>
                    <a:pt x="700" y="257"/>
                  </a:move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9" y="257"/>
                    <a:pt x="700" y="257"/>
                  </a:cubicBezTo>
                  <a:moveTo>
                    <a:pt x="700" y="257"/>
                  </a:moveTo>
                  <a:cubicBezTo>
                    <a:pt x="700" y="257"/>
                    <a:pt x="700" y="257"/>
                    <a:pt x="700" y="257"/>
                  </a:cubicBezTo>
                  <a:cubicBezTo>
                    <a:pt x="700" y="257"/>
                    <a:pt x="700" y="257"/>
                    <a:pt x="700" y="257"/>
                  </a:cubicBezTo>
                  <a:cubicBezTo>
                    <a:pt x="700" y="257"/>
                    <a:pt x="700" y="257"/>
                    <a:pt x="700" y="257"/>
                  </a:cubicBezTo>
                  <a:cubicBezTo>
                    <a:pt x="700" y="257"/>
                    <a:pt x="700" y="257"/>
                    <a:pt x="700" y="257"/>
                  </a:cubicBezTo>
                  <a:moveTo>
                    <a:pt x="701" y="257"/>
                  </a:moveTo>
                  <a:cubicBezTo>
                    <a:pt x="701" y="257"/>
                    <a:pt x="700" y="257"/>
                    <a:pt x="700" y="257"/>
                  </a:cubicBezTo>
                  <a:cubicBezTo>
                    <a:pt x="700" y="257"/>
                    <a:pt x="701" y="257"/>
                    <a:pt x="701" y="257"/>
                  </a:cubicBezTo>
                  <a:moveTo>
                    <a:pt x="701" y="256"/>
                  </a:moveTo>
                  <a:cubicBezTo>
                    <a:pt x="701" y="256"/>
                    <a:pt x="701" y="256"/>
                    <a:pt x="701" y="256"/>
                  </a:cubicBezTo>
                  <a:cubicBezTo>
                    <a:pt x="701" y="256"/>
                    <a:pt x="701" y="256"/>
                    <a:pt x="701" y="256"/>
                  </a:cubicBezTo>
                  <a:moveTo>
                    <a:pt x="702" y="256"/>
                  </a:moveTo>
                  <a:cubicBezTo>
                    <a:pt x="702" y="256"/>
                    <a:pt x="702" y="256"/>
                    <a:pt x="702" y="256"/>
                  </a:cubicBezTo>
                  <a:cubicBezTo>
                    <a:pt x="702" y="256"/>
                    <a:pt x="702" y="256"/>
                    <a:pt x="702" y="256"/>
                  </a:cubicBezTo>
                  <a:moveTo>
                    <a:pt x="703" y="256"/>
                  </a:moveTo>
                  <a:cubicBezTo>
                    <a:pt x="702" y="256"/>
                    <a:pt x="702" y="256"/>
                    <a:pt x="702" y="256"/>
                  </a:cubicBezTo>
                  <a:cubicBezTo>
                    <a:pt x="702" y="256"/>
                    <a:pt x="702" y="256"/>
                    <a:pt x="703" y="256"/>
                  </a:cubicBezTo>
                  <a:moveTo>
                    <a:pt x="703" y="256"/>
                  </a:moveTo>
                  <a:cubicBezTo>
                    <a:pt x="703" y="256"/>
                    <a:pt x="703" y="256"/>
                    <a:pt x="703" y="256"/>
                  </a:cubicBezTo>
                  <a:cubicBezTo>
                    <a:pt x="703" y="256"/>
                    <a:pt x="703" y="256"/>
                    <a:pt x="703" y="256"/>
                  </a:cubicBezTo>
                  <a:moveTo>
                    <a:pt x="704" y="255"/>
                  </a:moveTo>
                  <a:cubicBezTo>
                    <a:pt x="704" y="255"/>
                    <a:pt x="704" y="255"/>
                    <a:pt x="703" y="255"/>
                  </a:cubicBezTo>
                  <a:cubicBezTo>
                    <a:pt x="704" y="255"/>
                    <a:pt x="704" y="255"/>
                    <a:pt x="704" y="255"/>
                  </a:cubicBezTo>
                  <a:moveTo>
                    <a:pt x="704" y="255"/>
                  </a:moveTo>
                  <a:cubicBezTo>
                    <a:pt x="704" y="255"/>
                    <a:pt x="704" y="255"/>
                    <a:pt x="704" y="255"/>
                  </a:cubicBezTo>
                  <a:cubicBezTo>
                    <a:pt x="704" y="255"/>
                    <a:pt x="704" y="255"/>
                    <a:pt x="704" y="255"/>
                  </a:cubicBezTo>
                  <a:moveTo>
                    <a:pt x="705" y="255"/>
                  </a:moveTo>
                  <a:cubicBezTo>
                    <a:pt x="705" y="255"/>
                    <a:pt x="705" y="255"/>
                    <a:pt x="705" y="255"/>
                  </a:cubicBezTo>
                  <a:cubicBezTo>
                    <a:pt x="705" y="255"/>
                    <a:pt x="705" y="255"/>
                    <a:pt x="705" y="255"/>
                  </a:cubicBezTo>
                  <a:moveTo>
                    <a:pt x="705" y="255"/>
                  </a:moveTo>
                  <a:cubicBezTo>
                    <a:pt x="705" y="255"/>
                    <a:pt x="705" y="255"/>
                    <a:pt x="705" y="255"/>
                  </a:cubicBezTo>
                  <a:cubicBezTo>
                    <a:pt x="705" y="255"/>
                    <a:pt x="705" y="255"/>
                    <a:pt x="705" y="255"/>
                  </a:cubicBezTo>
                  <a:moveTo>
                    <a:pt x="706" y="254"/>
                  </a:moveTo>
                  <a:cubicBezTo>
                    <a:pt x="706" y="254"/>
                    <a:pt x="706" y="254"/>
                    <a:pt x="706" y="254"/>
                  </a:cubicBezTo>
                  <a:cubicBezTo>
                    <a:pt x="706" y="254"/>
                    <a:pt x="706" y="254"/>
                    <a:pt x="706" y="254"/>
                  </a:cubicBezTo>
                  <a:moveTo>
                    <a:pt x="707" y="254"/>
                  </a:moveTo>
                  <a:cubicBezTo>
                    <a:pt x="707" y="254"/>
                    <a:pt x="707" y="254"/>
                    <a:pt x="707" y="254"/>
                  </a:cubicBezTo>
                  <a:cubicBezTo>
                    <a:pt x="707" y="254"/>
                    <a:pt x="707" y="254"/>
                    <a:pt x="707" y="254"/>
                  </a:cubicBezTo>
                  <a:moveTo>
                    <a:pt x="707" y="254"/>
                  </a:moveTo>
                  <a:cubicBezTo>
                    <a:pt x="707" y="254"/>
                    <a:pt x="707" y="254"/>
                    <a:pt x="707" y="254"/>
                  </a:cubicBezTo>
                  <a:cubicBezTo>
                    <a:pt x="707" y="254"/>
                    <a:pt x="707" y="254"/>
                    <a:pt x="707" y="254"/>
                  </a:cubicBezTo>
                  <a:moveTo>
                    <a:pt x="126" y="189"/>
                  </a:moveTo>
                  <a:cubicBezTo>
                    <a:pt x="126" y="189"/>
                    <a:pt x="126" y="189"/>
                    <a:pt x="126" y="189"/>
                  </a:cubicBezTo>
                  <a:cubicBezTo>
                    <a:pt x="126" y="189"/>
                    <a:pt x="126" y="189"/>
                    <a:pt x="126" y="189"/>
                  </a:cubicBezTo>
                  <a:moveTo>
                    <a:pt x="126" y="189"/>
                  </a:moveTo>
                  <a:cubicBezTo>
                    <a:pt x="126" y="189"/>
                    <a:pt x="126" y="189"/>
                    <a:pt x="126" y="189"/>
                  </a:cubicBezTo>
                  <a:cubicBezTo>
                    <a:pt x="126" y="189"/>
                    <a:pt x="126" y="189"/>
                    <a:pt x="126" y="189"/>
                  </a:cubicBezTo>
                  <a:moveTo>
                    <a:pt x="125" y="188"/>
                  </a:moveTo>
                  <a:cubicBezTo>
                    <a:pt x="125" y="188"/>
                    <a:pt x="125" y="188"/>
                    <a:pt x="125" y="188"/>
                  </a:cubicBezTo>
                  <a:cubicBezTo>
                    <a:pt x="125" y="188"/>
                    <a:pt x="125" y="188"/>
                    <a:pt x="125" y="188"/>
                  </a:cubicBezTo>
                  <a:moveTo>
                    <a:pt x="125" y="188"/>
                  </a:moveTo>
                  <a:cubicBezTo>
                    <a:pt x="125" y="188"/>
                    <a:pt x="125" y="188"/>
                    <a:pt x="125" y="188"/>
                  </a:cubicBezTo>
                  <a:cubicBezTo>
                    <a:pt x="125" y="188"/>
                    <a:pt x="125" y="188"/>
                    <a:pt x="125" y="188"/>
                  </a:cubicBezTo>
                  <a:moveTo>
                    <a:pt x="125" y="188"/>
                  </a:moveTo>
                  <a:cubicBezTo>
                    <a:pt x="125" y="188"/>
                    <a:pt x="125" y="188"/>
                    <a:pt x="125" y="188"/>
                  </a:cubicBezTo>
                  <a:cubicBezTo>
                    <a:pt x="125" y="188"/>
                    <a:pt x="125" y="188"/>
                    <a:pt x="125" y="188"/>
                  </a:cubicBezTo>
                  <a:moveTo>
                    <a:pt x="124" y="187"/>
                  </a:moveTo>
                  <a:cubicBezTo>
                    <a:pt x="124" y="187"/>
                    <a:pt x="124" y="187"/>
                    <a:pt x="124" y="187"/>
                  </a:cubicBezTo>
                  <a:cubicBezTo>
                    <a:pt x="124" y="187"/>
                    <a:pt x="124" y="187"/>
                    <a:pt x="124" y="187"/>
                  </a:cubicBezTo>
                  <a:moveTo>
                    <a:pt x="124" y="187"/>
                  </a:moveTo>
                  <a:cubicBezTo>
                    <a:pt x="124" y="187"/>
                    <a:pt x="124" y="187"/>
                    <a:pt x="124" y="187"/>
                  </a:cubicBezTo>
                  <a:cubicBezTo>
                    <a:pt x="124" y="187"/>
                    <a:pt x="124" y="187"/>
                    <a:pt x="124" y="187"/>
                  </a:cubicBezTo>
                  <a:moveTo>
                    <a:pt x="123" y="187"/>
                  </a:move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3" y="187"/>
                    <a:pt x="123" y="187"/>
                  </a:cubicBezTo>
                  <a:moveTo>
                    <a:pt x="895" y="85"/>
                  </a:moveTo>
                  <a:cubicBezTo>
                    <a:pt x="890" y="92"/>
                    <a:pt x="885" y="99"/>
                    <a:pt x="880" y="106"/>
                  </a:cubicBezTo>
                  <a:cubicBezTo>
                    <a:pt x="885" y="99"/>
                    <a:pt x="890" y="92"/>
                    <a:pt x="895" y="85"/>
                  </a:cubicBezTo>
                  <a:cubicBezTo>
                    <a:pt x="895" y="85"/>
                    <a:pt x="895" y="85"/>
                    <a:pt x="895" y="85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0" y="56"/>
                    <a:pt x="71" y="107"/>
                    <a:pt x="123" y="151"/>
                  </a:cubicBezTo>
                  <a:cubicBezTo>
                    <a:pt x="198" y="214"/>
                    <a:pt x="286" y="252"/>
                    <a:pt x="376" y="267"/>
                  </a:cubicBezTo>
                  <a:cubicBezTo>
                    <a:pt x="376" y="267"/>
                    <a:pt x="376" y="267"/>
                    <a:pt x="376" y="267"/>
                  </a:cubicBezTo>
                  <a:cubicBezTo>
                    <a:pt x="286" y="252"/>
                    <a:pt x="198" y="214"/>
                    <a:pt x="123" y="151"/>
                  </a:cubicBezTo>
                  <a:cubicBezTo>
                    <a:pt x="71" y="107"/>
                    <a:pt x="30" y="56"/>
                    <a:pt x="0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iṣ1idè">
              <a:extLst>
                <a:ext uri="{FF2B5EF4-FFF2-40B4-BE49-F238E27FC236}">
                  <a16:creationId xmlns:a16="http://schemas.microsoft.com/office/drawing/2014/main" id="{DE4B98F4-36AB-41B3-BCAE-7528BBAEAF87}"/>
                </a:ext>
              </a:extLst>
            </p:cNvPr>
            <p:cNvSpPr/>
            <p:nvPr/>
          </p:nvSpPr>
          <p:spPr bwMode="auto">
            <a:xfrm>
              <a:off x="3760622" y="1987311"/>
              <a:ext cx="4695121" cy="4139601"/>
            </a:xfrm>
            <a:custGeom>
              <a:avLst/>
              <a:gdLst>
                <a:gd name="T0" fmla="*/ 702 w 926"/>
                <a:gd name="T1" fmla="*/ 767 h 817"/>
                <a:gd name="T2" fmla="*/ 703 w 926"/>
                <a:gd name="T3" fmla="*/ 766 h 817"/>
                <a:gd name="T4" fmla="*/ 703 w 926"/>
                <a:gd name="T5" fmla="*/ 766 h 817"/>
                <a:gd name="T6" fmla="*/ 704 w 926"/>
                <a:gd name="T7" fmla="*/ 766 h 817"/>
                <a:gd name="T8" fmla="*/ 705 w 926"/>
                <a:gd name="T9" fmla="*/ 765 h 817"/>
                <a:gd name="T10" fmla="*/ 706 w 926"/>
                <a:gd name="T11" fmla="*/ 765 h 817"/>
                <a:gd name="T12" fmla="*/ 707 w 926"/>
                <a:gd name="T13" fmla="*/ 765 h 817"/>
                <a:gd name="T14" fmla="*/ 707 w 926"/>
                <a:gd name="T15" fmla="*/ 765 h 817"/>
                <a:gd name="T16" fmla="*/ 708 w 926"/>
                <a:gd name="T17" fmla="*/ 765 h 817"/>
                <a:gd name="T18" fmla="*/ 708 w 926"/>
                <a:gd name="T19" fmla="*/ 764 h 817"/>
                <a:gd name="T20" fmla="*/ 710 w 926"/>
                <a:gd name="T21" fmla="*/ 764 h 817"/>
                <a:gd name="T22" fmla="*/ 712 w 926"/>
                <a:gd name="T23" fmla="*/ 763 h 817"/>
                <a:gd name="T24" fmla="*/ 713 w 926"/>
                <a:gd name="T25" fmla="*/ 763 h 817"/>
                <a:gd name="T26" fmla="*/ 713 w 926"/>
                <a:gd name="T27" fmla="*/ 763 h 817"/>
                <a:gd name="T28" fmla="*/ 714 w 926"/>
                <a:gd name="T29" fmla="*/ 762 h 817"/>
                <a:gd name="T30" fmla="*/ 714 w 926"/>
                <a:gd name="T31" fmla="*/ 762 h 817"/>
                <a:gd name="T32" fmla="*/ 715 w 926"/>
                <a:gd name="T33" fmla="*/ 762 h 817"/>
                <a:gd name="T34" fmla="*/ 716 w 926"/>
                <a:gd name="T35" fmla="*/ 761 h 817"/>
                <a:gd name="T36" fmla="*/ 718 w 926"/>
                <a:gd name="T37" fmla="*/ 761 h 817"/>
                <a:gd name="T38" fmla="*/ 719 w 926"/>
                <a:gd name="T39" fmla="*/ 760 h 817"/>
                <a:gd name="T40" fmla="*/ 721 w 926"/>
                <a:gd name="T41" fmla="*/ 759 h 817"/>
                <a:gd name="T42" fmla="*/ 722 w 926"/>
                <a:gd name="T43" fmla="*/ 759 h 817"/>
                <a:gd name="T44" fmla="*/ 725 w 926"/>
                <a:gd name="T45" fmla="*/ 758 h 817"/>
                <a:gd name="T46" fmla="*/ 726 w 926"/>
                <a:gd name="T47" fmla="*/ 757 h 817"/>
                <a:gd name="T48" fmla="*/ 727 w 926"/>
                <a:gd name="T49" fmla="*/ 757 h 817"/>
                <a:gd name="T50" fmla="*/ 729 w 926"/>
                <a:gd name="T51" fmla="*/ 756 h 817"/>
                <a:gd name="T52" fmla="*/ 729 w 926"/>
                <a:gd name="T53" fmla="*/ 756 h 817"/>
                <a:gd name="T54" fmla="*/ 730 w 926"/>
                <a:gd name="T55" fmla="*/ 756 h 817"/>
                <a:gd name="T56" fmla="*/ 731 w 926"/>
                <a:gd name="T57" fmla="*/ 755 h 817"/>
                <a:gd name="T58" fmla="*/ 732 w 926"/>
                <a:gd name="T59" fmla="*/ 755 h 817"/>
                <a:gd name="T60" fmla="*/ 139 w 926"/>
                <a:gd name="T61" fmla="*/ 692 h 817"/>
                <a:gd name="T62" fmla="*/ 140 w 926"/>
                <a:gd name="T63" fmla="*/ 693 h 817"/>
                <a:gd name="T64" fmla="*/ 141 w 926"/>
                <a:gd name="T65" fmla="*/ 694 h 817"/>
                <a:gd name="T66" fmla="*/ 478 w 926"/>
                <a:gd name="T67" fmla="*/ 817 h 817"/>
                <a:gd name="T68" fmla="*/ 478 w 926"/>
                <a:gd name="T69" fmla="*/ 817 h 817"/>
                <a:gd name="T70" fmla="*/ 194 w 926"/>
                <a:gd name="T71" fmla="*/ 505 h 817"/>
                <a:gd name="T72" fmla="*/ 395 w 926"/>
                <a:gd name="T73" fmla="*/ 770 h 817"/>
                <a:gd name="T74" fmla="*/ 397 w 926"/>
                <a:gd name="T75" fmla="*/ 770 h 817"/>
                <a:gd name="T76" fmla="*/ 398 w 926"/>
                <a:gd name="T77" fmla="*/ 771 h 817"/>
                <a:gd name="T78" fmla="*/ 399 w 926"/>
                <a:gd name="T79" fmla="*/ 771 h 817"/>
                <a:gd name="T80" fmla="*/ 401 w 926"/>
                <a:gd name="T81" fmla="*/ 771 h 817"/>
                <a:gd name="T82" fmla="*/ 402 w 926"/>
                <a:gd name="T83" fmla="*/ 772 h 817"/>
                <a:gd name="T84" fmla="*/ 404 w 926"/>
                <a:gd name="T85" fmla="*/ 772 h 817"/>
                <a:gd name="T86" fmla="*/ 406 w 926"/>
                <a:gd name="T87" fmla="*/ 773 h 817"/>
                <a:gd name="T88" fmla="*/ 408 w 926"/>
                <a:gd name="T89" fmla="*/ 774 h 817"/>
                <a:gd name="T90" fmla="*/ 410 w 926"/>
                <a:gd name="T91" fmla="*/ 774 h 817"/>
                <a:gd name="T92" fmla="*/ 411 w 926"/>
                <a:gd name="T93" fmla="*/ 775 h 817"/>
                <a:gd name="T94" fmla="*/ 194 w 926"/>
                <a:gd name="T95" fmla="*/ 505 h 817"/>
                <a:gd name="T96" fmla="*/ 587 w 926"/>
                <a:gd name="T97" fmla="*/ 102 h 817"/>
                <a:gd name="T98" fmla="*/ 588 w 926"/>
                <a:gd name="T99" fmla="*/ 110 h 817"/>
                <a:gd name="T100" fmla="*/ 590 w 926"/>
                <a:gd name="T101" fmla="*/ 116 h 817"/>
                <a:gd name="T102" fmla="*/ 592 w 926"/>
                <a:gd name="T103" fmla="*/ 122 h 817"/>
                <a:gd name="T104" fmla="*/ 594 w 926"/>
                <a:gd name="T105" fmla="*/ 125 h 817"/>
                <a:gd name="T106" fmla="*/ 596 w 926"/>
                <a:gd name="T107" fmla="*/ 128 h 817"/>
                <a:gd name="T108" fmla="*/ 596 w 926"/>
                <a:gd name="T109" fmla="*/ 129 h 817"/>
                <a:gd name="T110" fmla="*/ 926 w 926"/>
                <a:gd name="T111" fmla="*/ 206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26" h="817">
                  <a:moveTo>
                    <a:pt x="702" y="767"/>
                  </a:moveTo>
                  <a:cubicBezTo>
                    <a:pt x="702" y="767"/>
                    <a:pt x="702" y="767"/>
                    <a:pt x="702" y="767"/>
                  </a:cubicBezTo>
                  <a:cubicBezTo>
                    <a:pt x="702" y="767"/>
                    <a:pt x="702" y="767"/>
                    <a:pt x="702" y="767"/>
                  </a:cubicBezTo>
                  <a:cubicBezTo>
                    <a:pt x="702" y="767"/>
                    <a:pt x="702" y="767"/>
                    <a:pt x="702" y="767"/>
                  </a:cubicBezTo>
                  <a:moveTo>
                    <a:pt x="702" y="767"/>
                  </a:moveTo>
                  <a:cubicBezTo>
                    <a:pt x="702" y="767"/>
                    <a:pt x="702" y="767"/>
                    <a:pt x="702" y="767"/>
                  </a:cubicBezTo>
                  <a:cubicBezTo>
                    <a:pt x="702" y="767"/>
                    <a:pt x="702" y="767"/>
                    <a:pt x="702" y="767"/>
                  </a:cubicBezTo>
                  <a:cubicBezTo>
                    <a:pt x="702" y="767"/>
                    <a:pt x="702" y="767"/>
                    <a:pt x="702" y="767"/>
                  </a:cubicBezTo>
                  <a:moveTo>
                    <a:pt x="703" y="766"/>
                  </a:moveTo>
                  <a:cubicBezTo>
                    <a:pt x="703" y="766"/>
                    <a:pt x="703" y="766"/>
                    <a:pt x="703" y="766"/>
                  </a:cubicBezTo>
                  <a:cubicBezTo>
                    <a:pt x="703" y="766"/>
                    <a:pt x="703" y="766"/>
                    <a:pt x="703" y="766"/>
                  </a:cubicBezTo>
                  <a:moveTo>
                    <a:pt x="704" y="766"/>
                  </a:moveTo>
                  <a:cubicBezTo>
                    <a:pt x="704" y="766"/>
                    <a:pt x="703" y="766"/>
                    <a:pt x="703" y="766"/>
                  </a:cubicBezTo>
                  <a:cubicBezTo>
                    <a:pt x="703" y="766"/>
                    <a:pt x="703" y="766"/>
                    <a:pt x="703" y="766"/>
                  </a:cubicBezTo>
                  <a:cubicBezTo>
                    <a:pt x="703" y="766"/>
                    <a:pt x="703" y="766"/>
                    <a:pt x="703" y="766"/>
                  </a:cubicBezTo>
                  <a:cubicBezTo>
                    <a:pt x="704" y="766"/>
                    <a:pt x="704" y="766"/>
                    <a:pt x="704" y="766"/>
                  </a:cubicBezTo>
                  <a:moveTo>
                    <a:pt x="704" y="766"/>
                  </a:moveTo>
                  <a:cubicBezTo>
                    <a:pt x="704" y="766"/>
                    <a:pt x="704" y="766"/>
                    <a:pt x="704" y="766"/>
                  </a:cubicBezTo>
                  <a:cubicBezTo>
                    <a:pt x="704" y="766"/>
                    <a:pt x="704" y="766"/>
                    <a:pt x="704" y="766"/>
                  </a:cubicBezTo>
                  <a:cubicBezTo>
                    <a:pt x="704" y="766"/>
                    <a:pt x="704" y="766"/>
                    <a:pt x="704" y="766"/>
                  </a:cubicBezTo>
                  <a:cubicBezTo>
                    <a:pt x="704" y="766"/>
                    <a:pt x="704" y="766"/>
                    <a:pt x="704" y="766"/>
                  </a:cubicBezTo>
                  <a:moveTo>
                    <a:pt x="705" y="766"/>
                  </a:moveTo>
                  <a:cubicBezTo>
                    <a:pt x="705" y="766"/>
                    <a:pt x="705" y="766"/>
                    <a:pt x="704" y="766"/>
                  </a:cubicBezTo>
                  <a:cubicBezTo>
                    <a:pt x="705" y="766"/>
                    <a:pt x="705" y="766"/>
                    <a:pt x="705" y="766"/>
                  </a:cubicBezTo>
                  <a:moveTo>
                    <a:pt x="705" y="765"/>
                  </a:moveTo>
                  <a:cubicBezTo>
                    <a:pt x="705" y="765"/>
                    <a:pt x="705" y="766"/>
                    <a:pt x="705" y="766"/>
                  </a:cubicBezTo>
                  <a:cubicBezTo>
                    <a:pt x="705" y="766"/>
                    <a:pt x="705" y="766"/>
                    <a:pt x="705" y="766"/>
                  </a:cubicBezTo>
                  <a:cubicBezTo>
                    <a:pt x="705" y="766"/>
                    <a:pt x="705" y="765"/>
                    <a:pt x="705" y="765"/>
                  </a:cubicBezTo>
                  <a:cubicBezTo>
                    <a:pt x="705" y="765"/>
                    <a:pt x="705" y="765"/>
                    <a:pt x="705" y="765"/>
                  </a:cubicBezTo>
                  <a:moveTo>
                    <a:pt x="706" y="765"/>
                  </a:moveTo>
                  <a:cubicBezTo>
                    <a:pt x="706" y="765"/>
                    <a:pt x="706" y="765"/>
                    <a:pt x="706" y="765"/>
                  </a:cubicBezTo>
                  <a:cubicBezTo>
                    <a:pt x="706" y="765"/>
                    <a:pt x="706" y="765"/>
                    <a:pt x="706" y="765"/>
                  </a:cubicBezTo>
                  <a:cubicBezTo>
                    <a:pt x="706" y="765"/>
                    <a:pt x="706" y="765"/>
                    <a:pt x="706" y="765"/>
                  </a:cubicBezTo>
                  <a:cubicBezTo>
                    <a:pt x="706" y="765"/>
                    <a:pt x="706" y="765"/>
                    <a:pt x="706" y="765"/>
                  </a:cubicBezTo>
                  <a:moveTo>
                    <a:pt x="707" y="765"/>
                  </a:moveTo>
                  <a:cubicBezTo>
                    <a:pt x="707" y="765"/>
                    <a:pt x="706" y="765"/>
                    <a:pt x="706" y="765"/>
                  </a:cubicBezTo>
                  <a:cubicBezTo>
                    <a:pt x="706" y="765"/>
                    <a:pt x="707" y="765"/>
                    <a:pt x="707" y="765"/>
                  </a:cubicBezTo>
                  <a:moveTo>
                    <a:pt x="707" y="765"/>
                  </a:move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07" y="765"/>
                    <a:pt x="707" y="765"/>
                  </a:cubicBezTo>
                  <a:moveTo>
                    <a:pt x="708" y="765"/>
                  </a:moveTo>
                  <a:cubicBezTo>
                    <a:pt x="708" y="765"/>
                    <a:pt x="708" y="765"/>
                    <a:pt x="707" y="765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5"/>
                    <a:pt x="708" y="765"/>
                    <a:pt x="708" y="765"/>
                  </a:cubicBezTo>
                  <a:moveTo>
                    <a:pt x="708" y="764"/>
                  </a:moveTo>
                  <a:cubicBezTo>
                    <a:pt x="708" y="764"/>
                    <a:pt x="708" y="764"/>
                    <a:pt x="708" y="764"/>
                  </a:cubicBezTo>
                  <a:cubicBezTo>
                    <a:pt x="708" y="764"/>
                    <a:pt x="708" y="764"/>
                    <a:pt x="708" y="764"/>
                  </a:cubicBezTo>
                  <a:moveTo>
                    <a:pt x="713" y="763"/>
                  </a:moveTo>
                  <a:cubicBezTo>
                    <a:pt x="711" y="763"/>
                    <a:pt x="710" y="764"/>
                    <a:pt x="709" y="764"/>
                  </a:cubicBezTo>
                  <a:cubicBezTo>
                    <a:pt x="709" y="764"/>
                    <a:pt x="709" y="764"/>
                    <a:pt x="709" y="764"/>
                  </a:cubicBezTo>
                  <a:cubicBezTo>
                    <a:pt x="709" y="764"/>
                    <a:pt x="709" y="764"/>
                    <a:pt x="709" y="764"/>
                  </a:cubicBezTo>
                  <a:cubicBezTo>
                    <a:pt x="709" y="764"/>
                    <a:pt x="709" y="764"/>
                    <a:pt x="710" y="764"/>
                  </a:cubicBezTo>
                  <a:cubicBezTo>
                    <a:pt x="710" y="764"/>
                    <a:pt x="710" y="764"/>
                    <a:pt x="710" y="764"/>
                  </a:cubicBezTo>
                  <a:cubicBezTo>
                    <a:pt x="710" y="764"/>
                    <a:pt x="710" y="764"/>
                    <a:pt x="711" y="763"/>
                  </a:cubicBezTo>
                  <a:cubicBezTo>
                    <a:pt x="711" y="763"/>
                    <a:pt x="711" y="763"/>
                    <a:pt x="711" y="763"/>
                  </a:cubicBezTo>
                  <a:cubicBezTo>
                    <a:pt x="711" y="763"/>
                    <a:pt x="711" y="763"/>
                    <a:pt x="711" y="763"/>
                  </a:cubicBezTo>
                  <a:cubicBezTo>
                    <a:pt x="711" y="763"/>
                    <a:pt x="711" y="763"/>
                    <a:pt x="712" y="763"/>
                  </a:cubicBezTo>
                  <a:cubicBezTo>
                    <a:pt x="712" y="763"/>
                    <a:pt x="712" y="763"/>
                    <a:pt x="712" y="763"/>
                  </a:cubicBezTo>
                  <a:cubicBezTo>
                    <a:pt x="712" y="763"/>
                    <a:pt x="712" y="763"/>
                    <a:pt x="712" y="763"/>
                  </a:cubicBezTo>
                  <a:cubicBezTo>
                    <a:pt x="712" y="763"/>
                    <a:pt x="712" y="763"/>
                    <a:pt x="713" y="763"/>
                  </a:cubicBezTo>
                  <a:moveTo>
                    <a:pt x="713" y="763"/>
                  </a:moveTo>
                  <a:cubicBezTo>
                    <a:pt x="713" y="763"/>
                    <a:pt x="713" y="763"/>
                    <a:pt x="713" y="763"/>
                  </a:cubicBezTo>
                  <a:cubicBezTo>
                    <a:pt x="713" y="763"/>
                    <a:pt x="713" y="763"/>
                    <a:pt x="713" y="763"/>
                  </a:cubicBezTo>
                  <a:cubicBezTo>
                    <a:pt x="713" y="763"/>
                    <a:pt x="713" y="763"/>
                    <a:pt x="713" y="763"/>
                  </a:cubicBezTo>
                  <a:cubicBezTo>
                    <a:pt x="713" y="763"/>
                    <a:pt x="713" y="763"/>
                    <a:pt x="713" y="763"/>
                  </a:cubicBezTo>
                  <a:moveTo>
                    <a:pt x="714" y="762"/>
                  </a:moveTo>
                  <a:cubicBezTo>
                    <a:pt x="714" y="762"/>
                    <a:pt x="713" y="762"/>
                    <a:pt x="713" y="763"/>
                  </a:cubicBezTo>
                  <a:cubicBezTo>
                    <a:pt x="713" y="763"/>
                    <a:pt x="713" y="762"/>
                    <a:pt x="713" y="762"/>
                  </a:cubicBezTo>
                  <a:cubicBezTo>
                    <a:pt x="713" y="762"/>
                    <a:pt x="713" y="762"/>
                    <a:pt x="713" y="762"/>
                  </a:cubicBezTo>
                  <a:cubicBezTo>
                    <a:pt x="713" y="762"/>
                    <a:pt x="714" y="762"/>
                    <a:pt x="714" y="762"/>
                  </a:cubicBezTo>
                  <a:moveTo>
                    <a:pt x="714" y="762"/>
                  </a:moveTo>
                  <a:cubicBezTo>
                    <a:pt x="714" y="762"/>
                    <a:pt x="714" y="762"/>
                    <a:pt x="714" y="762"/>
                  </a:cubicBezTo>
                  <a:cubicBezTo>
                    <a:pt x="714" y="762"/>
                    <a:pt x="714" y="762"/>
                    <a:pt x="714" y="762"/>
                  </a:cubicBezTo>
                  <a:cubicBezTo>
                    <a:pt x="714" y="762"/>
                    <a:pt x="714" y="762"/>
                    <a:pt x="714" y="762"/>
                  </a:cubicBezTo>
                  <a:cubicBezTo>
                    <a:pt x="714" y="762"/>
                    <a:pt x="714" y="762"/>
                    <a:pt x="714" y="762"/>
                  </a:cubicBezTo>
                  <a:moveTo>
                    <a:pt x="715" y="762"/>
                  </a:moveTo>
                  <a:cubicBezTo>
                    <a:pt x="715" y="762"/>
                    <a:pt x="714" y="762"/>
                    <a:pt x="714" y="762"/>
                  </a:cubicBezTo>
                  <a:cubicBezTo>
                    <a:pt x="714" y="762"/>
                    <a:pt x="714" y="762"/>
                    <a:pt x="715" y="762"/>
                  </a:cubicBezTo>
                  <a:cubicBezTo>
                    <a:pt x="715" y="762"/>
                    <a:pt x="715" y="762"/>
                    <a:pt x="715" y="762"/>
                  </a:cubicBezTo>
                  <a:cubicBezTo>
                    <a:pt x="715" y="762"/>
                    <a:pt x="715" y="762"/>
                    <a:pt x="715" y="762"/>
                  </a:cubicBezTo>
                  <a:moveTo>
                    <a:pt x="724" y="758"/>
                  </a:moveTo>
                  <a:cubicBezTo>
                    <a:pt x="721" y="759"/>
                    <a:pt x="718" y="761"/>
                    <a:pt x="715" y="762"/>
                  </a:cubicBezTo>
                  <a:cubicBezTo>
                    <a:pt x="715" y="762"/>
                    <a:pt x="715" y="762"/>
                    <a:pt x="715" y="762"/>
                  </a:cubicBezTo>
                  <a:cubicBezTo>
                    <a:pt x="715" y="762"/>
                    <a:pt x="715" y="762"/>
                    <a:pt x="715" y="762"/>
                  </a:cubicBezTo>
                  <a:cubicBezTo>
                    <a:pt x="715" y="762"/>
                    <a:pt x="716" y="762"/>
                    <a:pt x="716" y="762"/>
                  </a:cubicBezTo>
                  <a:cubicBezTo>
                    <a:pt x="716" y="761"/>
                    <a:pt x="716" y="761"/>
                    <a:pt x="716" y="761"/>
                  </a:cubicBezTo>
                  <a:cubicBezTo>
                    <a:pt x="716" y="761"/>
                    <a:pt x="716" y="761"/>
                    <a:pt x="716" y="761"/>
                  </a:cubicBezTo>
                  <a:cubicBezTo>
                    <a:pt x="716" y="761"/>
                    <a:pt x="716" y="761"/>
                    <a:pt x="717" y="761"/>
                  </a:cubicBezTo>
                  <a:cubicBezTo>
                    <a:pt x="717" y="761"/>
                    <a:pt x="717" y="761"/>
                    <a:pt x="717" y="761"/>
                  </a:cubicBezTo>
                  <a:cubicBezTo>
                    <a:pt x="717" y="761"/>
                    <a:pt x="717" y="761"/>
                    <a:pt x="717" y="761"/>
                  </a:cubicBezTo>
                  <a:cubicBezTo>
                    <a:pt x="717" y="761"/>
                    <a:pt x="717" y="761"/>
                    <a:pt x="718" y="761"/>
                  </a:cubicBezTo>
                  <a:cubicBezTo>
                    <a:pt x="718" y="761"/>
                    <a:pt x="718" y="761"/>
                    <a:pt x="718" y="761"/>
                  </a:cubicBezTo>
                  <a:cubicBezTo>
                    <a:pt x="718" y="761"/>
                    <a:pt x="718" y="761"/>
                    <a:pt x="718" y="761"/>
                  </a:cubicBezTo>
                  <a:cubicBezTo>
                    <a:pt x="718" y="761"/>
                    <a:pt x="718" y="760"/>
                    <a:pt x="718" y="760"/>
                  </a:cubicBezTo>
                  <a:cubicBezTo>
                    <a:pt x="719" y="760"/>
                    <a:pt x="719" y="760"/>
                    <a:pt x="719" y="760"/>
                  </a:cubicBezTo>
                  <a:cubicBezTo>
                    <a:pt x="719" y="760"/>
                    <a:pt x="719" y="760"/>
                    <a:pt x="719" y="760"/>
                  </a:cubicBezTo>
                  <a:cubicBezTo>
                    <a:pt x="719" y="760"/>
                    <a:pt x="719" y="760"/>
                    <a:pt x="719" y="760"/>
                  </a:cubicBezTo>
                  <a:cubicBezTo>
                    <a:pt x="720" y="760"/>
                    <a:pt x="720" y="760"/>
                    <a:pt x="720" y="760"/>
                  </a:cubicBezTo>
                  <a:cubicBezTo>
                    <a:pt x="720" y="760"/>
                    <a:pt x="720" y="760"/>
                    <a:pt x="720" y="760"/>
                  </a:cubicBezTo>
                  <a:cubicBezTo>
                    <a:pt x="720" y="760"/>
                    <a:pt x="720" y="760"/>
                    <a:pt x="720" y="760"/>
                  </a:cubicBezTo>
                  <a:cubicBezTo>
                    <a:pt x="720" y="760"/>
                    <a:pt x="720" y="760"/>
                    <a:pt x="720" y="760"/>
                  </a:cubicBezTo>
                  <a:cubicBezTo>
                    <a:pt x="721" y="760"/>
                    <a:pt x="721" y="759"/>
                    <a:pt x="721" y="759"/>
                  </a:cubicBezTo>
                  <a:cubicBezTo>
                    <a:pt x="721" y="759"/>
                    <a:pt x="721" y="759"/>
                    <a:pt x="721" y="759"/>
                  </a:cubicBezTo>
                  <a:cubicBezTo>
                    <a:pt x="721" y="759"/>
                    <a:pt x="722" y="759"/>
                    <a:pt x="722" y="759"/>
                  </a:cubicBezTo>
                  <a:cubicBezTo>
                    <a:pt x="722" y="759"/>
                    <a:pt x="722" y="759"/>
                    <a:pt x="722" y="759"/>
                  </a:cubicBezTo>
                  <a:cubicBezTo>
                    <a:pt x="722" y="759"/>
                    <a:pt x="722" y="759"/>
                    <a:pt x="722" y="759"/>
                  </a:cubicBezTo>
                  <a:cubicBezTo>
                    <a:pt x="722" y="759"/>
                    <a:pt x="722" y="759"/>
                    <a:pt x="722" y="759"/>
                  </a:cubicBezTo>
                  <a:cubicBezTo>
                    <a:pt x="723" y="759"/>
                    <a:pt x="723" y="758"/>
                    <a:pt x="724" y="758"/>
                  </a:cubicBezTo>
                  <a:moveTo>
                    <a:pt x="725" y="758"/>
                  </a:moveTo>
                  <a:cubicBezTo>
                    <a:pt x="724" y="758"/>
                    <a:pt x="724" y="758"/>
                    <a:pt x="724" y="758"/>
                  </a:cubicBezTo>
                  <a:cubicBezTo>
                    <a:pt x="724" y="758"/>
                    <a:pt x="724" y="758"/>
                    <a:pt x="725" y="758"/>
                  </a:cubicBezTo>
                  <a:moveTo>
                    <a:pt x="725" y="758"/>
                  </a:moveTo>
                  <a:cubicBezTo>
                    <a:pt x="725" y="758"/>
                    <a:pt x="725" y="758"/>
                    <a:pt x="725" y="758"/>
                  </a:cubicBezTo>
                  <a:cubicBezTo>
                    <a:pt x="725" y="758"/>
                    <a:pt x="725" y="758"/>
                    <a:pt x="725" y="758"/>
                  </a:cubicBezTo>
                  <a:moveTo>
                    <a:pt x="726" y="757"/>
                  </a:moveTo>
                  <a:cubicBezTo>
                    <a:pt x="726" y="757"/>
                    <a:pt x="726" y="757"/>
                    <a:pt x="725" y="758"/>
                  </a:cubicBezTo>
                  <a:cubicBezTo>
                    <a:pt x="726" y="757"/>
                    <a:pt x="726" y="757"/>
                    <a:pt x="726" y="757"/>
                  </a:cubicBezTo>
                  <a:moveTo>
                    <a:pt x="727" y="757"/>
                  </a:moveTo>
                  <a:cubicBezTo>
                    <a:pt x="727" y="757"/>
                    <a:pt x="727" y="757"/>
                    <a:pt x="726" y="757"/>
                  </a:cubicBezTo>
                  <a:cubicBezTo>
                    <a:pt x="727" y="757"/>
                    <a:pt x="727" y="757"/>
                    <a:pt x="727" y="757"/>
                  </a:cubicBezTo>
                  <a:moveTo>
                    <a:pt x="727" y="757"/>
                  </a:moveTo>
                  <a:cubicBezTo>
                    <a:pt x="727" y="757"/>
                    <a:pt x="727" y="757"/>
                    <a:pt x="727" y="757"/>
                  </a:cubicBezTo>
                  <a:cubicBezTo>
                    <a:pt x="727" y="757"/>
                    <a:pt x="727" y="757"/>
                    <a:pt x="727" y="757"/>
                  </a:cubicBezTo>
                  <a:moveTo>
                    <a:pt x="728" y="756"/>
                  </a:moveTo>
                  <a:cubicBezTo>
                    <a:pt x="728" y="757"/>
                    <a:pt x="728" y="757"/>
                    <a:pt x="728" y="757"/>
                  </a:cubicBezTo>
                  <a:cubicBezTo>
                    <a:pt x="728" y="757"/>
                    <a:pt x="728" y="757"/>
                    <a:pt x="728" y="756"/>
                  </a:cubicBezTo>
                  <a:moveTo>
                    <a:pt x="729" y="756"/>
                  </a:moveTo>
                  <a:cubicBezTo>
                    <a:pt x="728" y="756"/>
                    <a:pt x="728" y="756"/>
                    <a:pt x="728" y="756"/>
                  </a:cubicBezTo>
                  <a:cubicBezTo>
                    <a:pt x="728" y="756"/>
                    <a:pt x="728" y="756"/>
                    <a:pt x="729" y="756"/>
                  </a:cubicBezTo>
                  <a:moveTo>
                    <a:pt x="729" y="756"/>
                  </a:moveTo>
                  <a:cubicBezTo>
                    <a:pt x="729" y="756"/>
                    <a:pt x="729" y="756"/>
                    <a:pt x="729" y="756"/>
                  </a:cubicBezTo>
                  <a:cubicBezTo>
                    <a:pt x="729" y="756"/>
                    <a:pt x="729" y="756"/>
                    <a:pt x="729" y="756"/>
                  </a:cubicBezTo>
                  <a:moveTo>
                    <a:pt x="730" y="756"/>
                  </a:moveTo>
                  <a:cubicBezTo>
                    <a:pt x="730" y="756"/>
                    <a:pt x="729" y="756"/>
                    <a:pt x="729" y="756"/>
                  </a:cubicBezTo>
                  <a:cubicBezTo>
                    <a:pt x="729" y="756"/>
                    <a:pt x="730" y="756"/>
                    <a:pt x="730" y="756"/>
                  </a:cubicBezTo>
                  <a:moveTo>
                    <a:pt x="730" y="755"/>
                  </a:moveTo>
                  <a:cubicBezTo>
                    <a:pt x="730" y="756"/>
                    <a:pt x="730" y="756"/>
                    <a:pt x="730" y="756"/>
                  </a:cubicBezTo>
                  <a:cubicBezTo>
                    <a:pt x="730" y="756"/>
                    <a:pt x="730" y="756"/>
                    <a:pt x="730" y="755"/>
                  </a:cubicBezTo>
                  <a:moveTo>
                    <a:pt x="731" y="755"/>
                  </a:moveTo>
                  <a:cubicBezTo>
                    <a:pt x="731" y="755"/>
                    <a:pt x="731" y="755"/>
                    <a:pt x="731" y="755"/>
                  </a:cubicBezTo>
                  <a:cubicBezTo>
                    <a:pt x="731" y="755"/>
                    <a:pt x="731" y="755"/>
                    <a:pt x="731" y="755"/>
                  </a:cubicBezTo>
                  <a:moveTo>
                    <a:pt x="731" y="755"/>
                  </a:moveTo>
                  <a:cubicBezTo>
                    <a:pt x="731" y="755"/>
                    <a:pt x="731" y="755"/>
                    <a:pt x="731" y="755"/>
                  </a:cubicBezTo>
                  <a:cubicBezTo>
                    <a:pt x="731" y="755"/>
                    <a:pt x="731" y="755"/>
                    <a:pt x="731" y="755"/>
                  </a:cubicBezTo>
                  <a:moveTo>
                    <a:pt x="732" y="755"/>
                  </a:moveTo>
                  <a:cubicBezTo>
                    <a:pt x="732" y="755"/>
                    <a:pt x="732" y="755"/>
                    <a:pt x="732" y="755"/>
                  </a:cubicBezTo>
                  <a:cubicBezTo>
                    <a:pt x="732" y="755"/>
                    <a:pt x="732" y="755"/>
                    <a:pt x="732" y="755"/>
                  </a:cubicBezTo>
                  <a:moveTo>
                    <a:pt x="15" y="505"/>
                  </a:moveTo>
                  <a:cubicBezTo>
                    <a:pt x="0" y="505"/>
                    <a:pt x="0" y="505"/>
                    <a:pt x="0" y="505"/>
                  </a:cubicBezTo>
                  <a:cubicBezTo>
                    <a:pt x="30" y="575"/>
                    <a:pt x="77" y="639"/>
                    <a:pt x="138" y="692"/>
                  </a:cubicBezTo>
                  <a:cubicBezTo>
                    <a:pt x="138" y="692"/>
                    <a:pt x="138" y="692"/>
                    <a:pt x="138" y="692"/>
                  </a:cubicBezTo>
                  <a:cubicBezTo>
                    <a:pt x="139" y="692"/>
                    <a:pt x="139" y="692"/>
                    <a:pt x="139" y="692"/>
                  </a:cubicBezTo>
                  <a:cubicBezTo>
                    <a:pt x="139" y="692"/>
                    <a:pt x="139" y="692"/>
                    <a:pt x="139" y="692"/>
                  </a:cubicBezTo>
                  <a:cubicBezTo>
                    <a:pt x="139" y="692"/>
                    <a:pt x="139" y="692"/>
                    <a:pt x="139" y="692"/>
                  </a:cubicBezTo>
                  <a:cubicBezTo>
                    <a:pt x="139" y="692"/>
                    <a:pt x="139" y="692"/>
                    <a:pt x="139" y="692"/>
                  </a:cubicBezTo>
                  <a:cubicBezTo>
                    <a:pt x="139" y="693"/>
                    <a:pt x="139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1" y="693"/>
                    <a:pt x="141" y="694"/>
                  </a:cubicBezTo>
                  <a:cubicBezTo>
                    <a:pt x="141" y="694"/>
                    <a:pt x="141" y="694"/>
                    <a:pt x="141" y="694"/>
                  </a:cubicBezTo>
                  <a:cubicBezTo>
                    <a:pt x="141" y="694"/>
                    <a:pt x="141" y="694"/>
                    <a:pt x="141" y="694"/>
                  </a:cubicBezTo>
                  <a:cubicBezTo>
                    <a:pt x="141" y="694"/>
                    <a:pt x="141" y="694"/>
                    <a:pt x="141" y="694"/>
                  </a:cubicBezTo>
                  <a:cubicBezTo>
                    <a:pt x="141" y="694"/>
                    <a:pt x="141" y="694"/>
                    <a:pt x="141" y="694"/>
                  </a:cubicBezTo>
                  <a:cubicBezTo>
                    <a:pt x="239" y="777"/>
                    <a:pt x="359" y="817"/>
                    <a:pt x="478" y="817"/>
                  </a:cubicBezTo>
                  <a:cubicBezTo>
                    <a:pt x="554" y="817"/>
                    <a:pt x="631" y="800"/>
                    <a:pt x="701" y="767"/>
                  </a:cubicBezTo>
                  <a:cubicBezTo>
                    <a:pt x="701" y="767"/>
                    <a:pt x="701" y="767"/>
                    <a:pt x="701" y="767"/>
                  </a:cubicBezTo>
                  <a:cubicBezTo>
                    <a:pt x="701" y="767"/>
                    <a:pt x="701" y="767"/>
                    <a:pt x="701" y="767"/>
                  </a:cubicBezTo>
                  <a:cubicBezTo>
                    <a:pt x="701" y="767"/>
                    <a:pt x="701" y="767"/>
                    <a:pt x="701" y="767"/>
                  </a:cubicBezTo>
                  <a:cubicBezTo>
                    <a:pt x="631" y="800"/>
                    <a:pt x="554" y="817"/>
                    <a:pt x="478" y="817"/>
                  </a:cubicBezTo>
                  <a:cubicBezTo>
                    <a:pt x="458" y="817"/>
                    <a:pt x="438" y="816"/>
                    <a:pt x="419" y="814"/>
                  </a:cubicBezTo>
                  <a:cubicBezTo>
                    <a:pt x="409" y="800"/>
                    <a:pt x="400" y="786"/>
                    <a:pt x="391" y="772"/>
                  </a:cubicBezTo>
                  <a:cubicBezTo>
                    <a:pt x="301" y="757"/>
                    <a:pt x="213" y="719"/>
                    <a:pt x="138" y="656"/>
                  </a:cubicBezTo>
                  <a:cubicBezTo>
                    <a:pt x="86" y="612"/>
                    <a:pt x="45" y="561"/>
                    <a:pt x="15" y="505"/>
                  </a:cubicBezTo>
                  <a:moveTo>
                    <a:pt x="194" y="505"/>
                  </a:moveTo>
                  <a:cubicBezTo>
                    <a:pt x="111" y="505"/>
                    <a:pt x="111" y="505"/>
                    <a:pt x="111" y="505"/>
                  </a:cubicBezTo>
                  <a:cubicBezTo>
                    <a:pt x="164" y="632"/>
                    <a:pt x="269" y="727"/>
                    <a:pt x="395" y="769"/>
                  </a:cubicBezTo>
                  <a:cubicBezTo>
                    <a:pt x="395" y="769"/>
                    <a:pt x="395" y="769"/>
                    <a:pt x="395" y="769"/>
                  </a:cubicBezTo>
                  <a:cubicBezTo>
                    <a:pt x="395" y="769"/>
                    <a:pt x="395" y="769"/>
                    <a:pt x="395" y="770"/>
                  </a:cubicBezTo>
                  <a:cubicBezTo>
                    <a:pt x="395" y="770"/>
                    <a:pt x="395" y="770"/>
                    <a:pt x="395" y="770"/>
                  </a:cubicBezTo>
                  <a:cubicBezTo>
                    <a:pt x="396" y="770"/>
                    <a:pt x="396" y="770"/>
                    <a:pt x="396" y="770"/>
                  </a:cubicBezTo>
                  <a:cubicBezTo>
                    <a:pt x="396" y="770"/>
                    <a:pt x="396" y="770"/>
                    <a:pt x="396" y="770"/>
                  </a:cubicBezTo>
                  <a:cubicBezTo>
                    <a:pt x="397" y="770"/>
                    <a:pt x="397" y="770"/>
                    <a:pt x="397" y="770"/>
                  </a:cubicBezTo>
                  <a:cubicBezTo>
                    <a:pt x="397" y="770"/>
                    <a:pt x="397" y="770"/>
                    <a:pt x="397" y="770"/>
                  </a:cubicBezTo>
                  <a:cubicBezTo>
                    <a:pt x="397" y="770"/>
                    <a:pt x="397" y="770"/>
                    <a:pt x="397" y="770"/>
                  </a:cubicBezTo>
                  <a:cubicBezTo>
                    <a:pt x="397" y="770"/>
                    <a:pt x="397" y="770"/>
                    <a:pt x="397" y="770"/>
                  </a:cubicBezTo>
                  <a:cubicBezTo>
                    <a:pt x="397" y="770"/>
                    <a:pt x="397" y="770"/>
                    <a:pt x="398" y="770"/>
                  </a:cubicBezTo>
                  <a:cubicBezTo>
                    <a:pt x="398" y="770"/>
                    <a:pt x="398" y="770"/>
                    <a:pt x="398" y="770"/>
                  </a:cubicBezTo>
                  <a:cubicBezTo>
                    <a:pt x="398" y="770"/>
                    <a:pt x="398" y="770"/>
                    <a:pt x="398" y="770"/>
                  </a:cubicBezTo>
                  <a:cubicBezTo>
                    <a:pt x="398" y="770"/>
                    <a:pt x="398" y="771"/>
                    <a:pt x="398" y="771"/>
                  </a:cubicBezTo>
                  <a:cubicBezTo>
                    <a:pt x="398" y="771"/>
                    <a:pt x="398" y="771"/>
                    <a:pt x="398" y="771"/>
                  </a:cubicBezTo>
                  <a:cubicBezTo>
                    <a:pt x="399" y="771"/>
                    <a:pt x="399" y="771"/>
                    <a:pt x="399" y="771"/>
                  </a:cubicBezTo>
                  <a:cubicBezTo>
                    <a:pt x="399" y="771"/>
                    <a:pt x="399" y="771"/>
                    <a:pt x="399" y="771"/>
                  </a:cubicBezTo>
                  <a:cubicBezTo>
                    <a:pt x="399" y="771"/>
                    <a:pt x="399" y="771"/>
                    <a:pt x="399" y="771"/>
                  </a:cubicBezTo>
                  <a:cubicBezTo>
                    <a:pt x="399" y="771"/>
                    <a:pt x="399" y="771"/>
                    <a:pt x="399" y="771"/>
                  </a:cubicBezTo>
                  <a:cubicBezTo>
                    <a:pt x="400" y="771"/>
                    <a:pt x="400" y="771"/>
                    <a:pt x="400" y="771"/>
                  </a:cubicBezTo>
                  <a:cubicBezTo>
                    <a:pt x="400" y="771"/>
                    <a:pt x="400" y="771"/>
                    <a:pt x="400" y="771"/>
                  </a:cubicBezTo>
                  <a:cubicBezTo>
                    <a:pt x="400" y="771"/>
                    <a:pt x="400" y="771"/>
                    <a:pt x="401" y="771"/>
                  </a:cubicBezTo>
                  <a:cubicBezTo>
                    <a:pt x="401" y="771"/>
                    <a:pt x="401" y="771"/>
                    <a:pt x="401" y="771"/>
                  </a:cubicBezTo>
                  <a:cubicBezTo>
                    <a:pt x="401" y="771"/>
                    <a:pt x="401" y="771"/>
                    <a:pt x="401" y="771"/>
                  </a:cubicBezTo>
                  <a:cubicBezTo>
                    <a:pt x="401" y="771"/>
                    <a:pt x="401" y="772"/>
                    <a:pt x="401" y="772"/>
                  </a:cubicBezTo>
                  <a:cubicBezTo>
                    <a:pt x="401" y="772"/>
                    <a:pt x="402" y="772"/>
                    <a:pt x="402" y="772"/>
                  </a:cubicBezTo>
                  <a:cubicBezTo>
                    <a:pt x="402" y="772"/>
                    <a:pt x="402" y="772"/>
                    <a:pt x="402" y="772"/>
                  </a:cubicBezTo>
                  <a:cubicBezTo>
                    <a:pt x="402" y="772"/>
                    <a:pt x="402" y="772"/>
                    <a:pt x="402" y="772"/>
                  </a:cubicBezTo>
                  <a:cubicBezTo>
                    <a:pt x="402" y="772"/>
                    <a:pt x="402" y="772"/>
                    <a:pt x="402" y="772"/>
                  </a:cubicBezTo>
                  <a:cubicBezTo>
                    <a:pt x="402" y="772"/>
                    <a:pt x="403" y="772"/>
                    <a:pt x="403" y="772"/>
                  </a:cubicBezTo>
                  <a:cubicBezTo>
                    <a:pt x="403" y="772"/>
                    <a:pt x="403" y="772"/>
                    <a:pt x="403" y="772"/>
                  </a:cubicBezTo>
                  <a:cubicBezTo>
                    <a:pt x="403" y="772"/>
                    <a:pt x="403" y="772"/>
                    <a:pt x="404" y="772"/>
                  </a:cubicBezTo>
                  <a:cubicBezTo>
                    <a:pt x="404" y="772"/>
                    <a:pt x="404" y="772"/>
                    <a:pt x="404" y="772"/>
                  </a:cubicBezTo>
                  <a:cubicBezTo>
                    <a:pt x="404" y="772"/>
                    <a:pt x="404" y="772"/>
                    <a:pt x="404" y="772"/>
                  </a:cubicBezTo>
                  <a:cubicBezTo>
                    <a:pt x="404" y="772"/>
                    <a:pt x="404" y="772"/>
                    <a:pt x="404" y="772"/>
                  </a:cubicBezTo>
                  <a:cubicBezTo>
                    <a:pt x="405" y="773"/>
                    <a:pt x="405" y="773"/>
                    <a:pt x="405" y="773"/>
                  </a:cubicBezTo>
                  <a:cubicBezTo>
                    <a:pt x="405" y="773"/>
                    <a:pt x="405" y="773"/>
                    <a:pt x="405" y="773"/>
                  </a:cubicBezTo>
                  <a:cubicBezTo>
                    <a:pt x="406" y="773"/>
                    <a:pt x="406" y="773"/>
                    <a:pt x="406" y="773"/>
                  </a:cubicBezTo>
                  <a:cubicBezTo>
                    <a:pt x="406" y="773"/>
                    <a:pt x="406" y="773"/>
                    <a:pt x="406" y="773"/>
                  </a:cubicBezTo>
                  <a:cubicBezTo>
                    <a:pt x="406" y="773"/>
                    <a:pt x="407" y="773"/>
                    <a:pt x="407" y="773"/>
                  </a:cubicBezTo>
                  <a:cubicBezTo>
                    <a:pt x="407" y="773"/>
                    <a:pt x="407" y="773"/>
                    <a:pt x="407" y="773"/>
                  </a:cubicBezTo>
                  <a:cubicBezTo>
                    <a:pt x="408" y="773"/>
                    <a:pt x="408" y="774"/>
                    <a:pt x="408" y="774"/>
                  </a:cubicBezTo>
                  <a:cubicBezTo>
                    <a:pt x="408" y="774"/>
                    <a:pt x="408" y="774"/>
                    <a:pt x="408" y="774"/>
                  </a:cubicBezTo>
                  <a:cubicBezTo>
                    <a:pt x="408" y="774"/>
                    <a:pt x="408" y="774"/>
                    <a:pt x="408" y="774"/>
                  </a:cubicBezTo>
                  <a:cubicBezTo>
                    <a:pt x="408" y="774"/>
                    <a:pt x="408" y="774"/>
                    <a:pt x="408" y="774"/>
                  </a:cubicBezTo>
                  <a:cubicBezTo>
                    <a:pt x="409" y="774"/>
                    <a:pt x="409" y="774"/>
                    <a:pt x="409" y="774"/>
                  </a:cubicBezTo>
                  <a:cubicBezTo>
                    <a:pt x="409" y="774"/>
                    <a:pt x="409" y="774"/>
                    <a:pt x="409" y="774"/>
                  </a:cubicBezTo>
                  <a:cubicBezTo>
                    <a:pt x="409" y="774"/>
                    <a:pt x="410" y="774"/>
                    <a:pt x="410" y="774"/>
                  </a:cubicBezTo>
                  <a:cubicBezTo>
                    <a:pt x="410" y="774"/>
                    <a:pt x="410" y="774"/>
                    <a:pt x="410" y="774"/>
                  </a:cubicBezTo>
                  <a:cubicBezTo>
                    <a:pt x="410" y="774"/>
                    <a:pt x="410" y="774"/>
                    <a:pt x="410" y="774"/>
                  </a:cubicBezTo>
                  <a:cubicBezTo>
                    <a:pt x="410" y="774"/>
                    <a:pt x="410" y="774"/>
                    <a:pt x="410" y="774"/>
                  </a:cubicBezTo>
                  <a:cubicBezTo>
                    <a:pt x="410" y="774"/>
                    <a:pt x="410" y="774"/>
                    <a:pt x="411" y="774"/>
                  </a:cubicBezTo>
                  <a:cubicBezTo>
                    <a:pt x="411" y="774"/>
                    <a:pt x="411" y="774"/>
                    <a:pt x="411" y="774"/>
                  </a:cubicBezTo>
                  <a:cubicBezTo>
                    <a:pt x="411" y="774"/>
                    <a:pt x="411" y="775"/>
                    <a:pt x="411" y="775"/>
                  </a:cubicBezTo>
                  <a:cubicBezTo>
                    <a:pt x="411" y="775"/>
                    <a:pt x="411" y="775"/>
                    <a:pt x="411" y="775"/>
                  </a:cubicBezTo>
                  <a:cubicBezTo>
                    <a:pt x="404" y="772"/>
                    <a:pt x="396" y="770"/>
                    <a:pt x="389" y="767"/>
                  </a:cubicBezTo>
                  <a:cubicBezTo>
                    <a:pt x="363" y="720"/>
                    <a:pt x="346" y="667"/>
                    <a:pt x="341" y="610"/>
                  </a:cubicBezTo>
                  <a:cubicBezTo>
                    <a:pt x="330" y="614"/>
                    <a:pt x="319" y="616"/>
                    <a:pt x="307" y="616"/>
                  </a:cubicBezTo>
                  <a:cubicBezTo>
                    <a:pt x="245" y="616"/>
                    <a:pt x="195" y="566"/>
                    <a:pt x="194" y="505"/>
                  </a:cubicBezTo>
                  <a:moveTo>
                    <a:pt x="747" y="0"/>
                  </a:moveTo>
                  <a:cubicBezTo>
                    <a:pt x="712" y="0"/>
                    <a:pt x="672" y="9"/>
                    <a:pt x="631" y="35"/>
                  </a:cubicBezTo>
                  <a:cubicBezTo>
                    <a:pt x="593" y="59"/>
                    <a:pt x="586" y="84"/>
                    <a:pt x="587" y="102"/>
                  </a:cubicBezTo>
                  <a:cubicBezTo>
                    <a:pt x="587" y="102"/>
                    <a:pt x="587" y="102"/>
                    <a:pt x="587" y="102"/>
                  </a:cubicBezTo>
                  <a:cubicBezTo>
                    <a:pt x="587" y="102"/>
                    <a:pt x="587" y="102"/>
                    <a:pt x="587" y="102"/>
                  </a:cubicBezTo>
                  <a:cubicBezTo>
                    <a:pt x="587" y="103"/>
                    <a:pt x="587" y="104"/>
                    <a:pt x="587" y="105"/>
                  </a:cubicBezTo>
                  <a:cubicBezTo>
                    <a:pt x="587" y="105"/>
                    <a:pt x="587" y="105"/>
                    <a:pt x="587" y="105"/>
                  </a:cubicBezTo>
                  <a:cubicBezTo>
                    <a:pt x="587" y="106"/>
                    <a:pt x="588" y="107"/>
                    <a:pt x="588" y="108"/>
                  </a:cubicBezTo>
                  <a:cubicBezTo>
                    <a:pt x="588" y="108"/>
                    <a:pt x="588" y="108"/>
                    <a:pt x="588" y="108"/>
                  </a:cubicBezTo>
                  <a:cubicBezTo>
                    <a:pt x="588" y="109"/>
                    <a:pt x="588" y="110"/>
                    <a:pt x="588" y="110"/>
                  </a:cubicBezTo>
                  <a:cubicBezTo>
                    <a:pt x="588" y="111"/>
                    <a:pt x="588" y="111"/>
                    <a:pt x="588" y="111"/>
                  </a:cubicBezTo>
                  <a:cubicBezTo>
                    <a:pt x="589" y="112"/>
                    <a:pt x="589" y="112"/>
                    <a:pt x="589" y="113"/>
                  </a:cubicBezTo>
                  <a:cubicBezTo>
                    <a:pt x="589" y="114"/>
                    <a:pt x="589" y="114"/>
                    <a:pt x="589" y="114"/>
                  </a:cubicBezTo>
                  <a:cubicBezTo>
                    <a:pt x="589" y="114"/>
                    <a:pt x="589" y="115"/>
                    <a:pt x="590" y="115"/>
                  </a:cubicBezTo>
                  <a:cubicBezTo>
                    <a:pt x="590" y="116"/>
                    <a:pt x="590" y="116"/>
                    <a:pt x="590" y="116"/>
                  </a:cubicBezTo>
                  <a:cubicBezTo>
                    <a:pt x="590" y="117"/>
                    <a:pt x="590" y="117"/>
                    <a:pt x="590" y="118"/>
                  </a:cubicBezTo>
                  <a:cubicBezTo>
                    <a:pt x="591" y="118"/>
                    <a:pt x="591" y="118"/>
                    <a:pt x="591" y="118"/>
                  </a:cubicBezTo>
                  <a:cubicBezTo>
                    <a:pt x="591" y="119"/>
                    <a:pt x="591" y="119"/>
                    <a:pt x="591" y="120"/>
                  </a:cubicBezTo>
                  <a:cubicBezTo>
                    <a:pt x="591" y="120"/>
                    <a:pt x="591" y="120"/>
                    <a:pt x="591" y="120"/>
                  </a:cubicBezTo>
                  <a:cubicBezTo>
                    <a:pt x="592" y="121"/>
                    <a:pt x="592" y="121"/>
                    <a:pt x="592" y="122"/>
                  </a:cubicBezTo>
                  <a:cubicBezTo>
                    <a:pt x="592" y="122"/>
                    <a:pt x="592" y="122"/>
                    <a:pt x="592" y="122"/>
                  </a:cubicBezTo>
                  <a:cubicBezTo>
                    <a:pt x="592" y="123"/>
                    <a:pt x="593" y="123"/>
                    <a:pt x="593" y="124"/>
                  </a:cubicBezTo>
                  <a:cubicBezTo>
                    <a:pt x="593" y="124"/>
                    <a:pt x="593" y="124"/>
                    <a:pt x="593" y="124"/>
                  </a:cubicBezTo>
                  <a:cubicBezTo>
                    <a:pt x="593" y="124"/>
                    <a:pt x="593" y="125"/>
                    <a:pt x="594" y="125"/>
                  </a:cubicBezTo>
                  <a:cubicBezTo>
                    <a:pt x="594" y="125"/>
                    <a:pt x="594" y="125"/>
                    <a:pt x="594" y="125"/>
                  </a:cubicBezTo>
                  <a:cubicBezTo>
                    <a:pt x="594" y="126"/>
                    <a:pt x="594" y="126"/>
                    <a:pt x="594" y="126"/>
                  </a:cubicBezTo>
                  <a:cubicBezTo>
                    <a:pt x="595" y="127"/>
                    <a:pt x="595" y="127"/>
                    <a:pt x="595" y="127"/>
                  </a:cubicBezTo>
                  <a:cubicBezTo>
                    <a:pt x="595" y="127"/>
                    <a:pt x="595" y="127"/>
                    <a:pt x="595" y="127"/>
                  </a:cubicBezTo>
                  <a:cubicBezTo>
                    <a:pt x="595" y="128"/>
                    <a:pt x="595" y="128"/>
                    <a:pt x="595" y="128"/>
                  </a:cubicBezTo>
                  <a:cubicBezTo>
                    <a:pt x="596" y="128"/>
                    <a:pt x="596" y="128"/>
                    <a:pt x="596" y="128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74" y="145"/>
                    <a:pt x="571" y="209"/>
                  </a:cubicBezTo>
                  <a:cubicBezTo>
                    <a:pt x="623" y="185"/>
                    <a:pt x="680" y="172"/>
                    <a:pt x="740" y="172"/>
                  </a:cubicBezTo>
                  <a:cubicBezTo>
                    <a:pt x="807" y="172"/>
                    <a:pt x="869" y="188"/>
                    <a:pt x="925" y="217"/>
                  </a:cubicBezTo>
                  <a:cubicBezTo>
                    <a:pt x="925" y="216"/>
                    <a:pt x="925" y="215"/>
                    <a:pt x="925" y="214"/>
                  </a:cubicBezTo>
                  <a:cubicBezTo>
                    <a:pt x="925" y="211"/>
                    <a:pt x="926" y="208"/>
                    <a:pt x="926" y="206"/>
                  </a:cubicBezTo>
                  <a:cubicBezTo>
                    <a:pt x="926" y="203"/>
                    <a:pt x="926" y="200"/>
                    <a:pt x="926" y="198"/>
                  </a:cubicBezTo>
                  <a:cubicBezTo>
                    <a:pt x="926" y="196"/>
                    <a:pt x="926" y="195"/>
                    <a:pt x="926" y="193"/>
                  </a:cubicBezTo>
                  <a:cubicBezTo>
                    <a:pt x="895" y="117"/>
                    <a:pt x="845" y="52"/>
                    <a:pt x="783" y="3"/>
                  </a:cubicBezTo>
                  <a:cubicBezTo>
                    <a:pt x="772" y="1"/>
                    <a:pt x="760" y="0"/>
                    <a:pt x="747" y="0"/>
                  </a:cubicBezTo>
                </a:path>
              </a:pathLst>
            </a:custGeom>
            <a:solidFill>
              <a:srgbClr val="CB6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íṡlîḋê">
              <a:extLst>
                <a:ext uri="{FF2B5EF4-FFF2-40B4-BE49-F238E27FC236}">
                  <a16:creationId xmlns:a16="http://schemas.microsoft.com/office/drawing/2014/main" id="{7FEB8C8F-0374-4CDA-8A2F-C71C696DDD80}"/>
                </a:ext>
              </a:extLst>
            </p:cNvPr>
            <p:cNvSpPr/>
            <p:nvPr/>
          </p:nvSpPr>
          <p:spPr bwMode="auto">
            <a:xfrm>
              <a:off x="5743926" y="3273779"/>
              <a:ext cx="3040742" cy="2638722"/>
            </a:xfrm>
            <a:custGeom>
              <a:avLst/>
              <a:gdLst>
                <a:gd name="T0" fmla="*/ 0 w 600"/>
                <a:gd name="T1" fmla="*/ 518 h 521"/>
                <a:gd name="T2" fmla="*/ 0 w 600"/>
                <a:gd name="T3" fmla="*/ 518 h 521"/>
                <a:gd name="T4" fmla="*/ 20 w 600"/>
                <a:gd name="T5" fmla="*/ 521 h 521"/>
                <a:gd name="T6" fmla="*/ 20 w 600"/>
                <a:gd name="T7" fmla="*/ 521 h 521"/>
                <a:gd name="T8" fmla="*/ 0 w 600"/>
                <a:gd name="T9" fmla="*/ 518 h 521"/>
                <a:gd name="T10" fmla="*/ 310 w 600"/>
                <a:gd name="T11" fmla="*/ 513 h 521"/>
                <a:gd name="T12" fmla="*/ 310 w 600"/>
                <a:gd name="T13" fmla="*/ 513 h 521"/>
                <a:gd name="T14" fmla="*/ 310 w 600"/>
                <a:gd name="T15" fmla="*/ 513 h 521"/>
                <a:gd name="T16" fmla="*/ 310 w 600"/>
                <a:gd name="T17" fmla="*/ 513 h 521"/>
                <a:gd name="T18" fmla="*/ 311 w 600"/>
                <a:gd name="T19" fmla="*/ 513 h 521"/>
                <a:gd name="T20" fmla="*/ 311 w 600"/>
                <a:gd name="T21" fmla="*/ 513 h 521"/>
                <a:gd name="T22" fmla="*/ 311 w 600"/>
                <a:gd name="T23" fmla="*/ 513 h 521"/>
                <a:gd name="T24" fmla="*/ 311 w 600"/>
                <a:gd name="T25" fmla="*/ 513 h 521"/>
                <a:gd name="T26" fmla="*/ 312 w 600"/>
                <a:gd name="T27" fmla="*/ 512 h 521"/>
                <a:gd name="T28" fmla="*/ 312 w 600"/>
                <a:gd name="T29" fmla="*/ 512 h 521"/>
                <a:gd name="T30" fmla="*/ 312 w 600"/>
                <a:gd name="T31" fmla="*/ 512 h 521"/>
                <a:gd name="T32" fmla="*/ 313 w 600"/>
                <a:gd name="T33" fmla="*/ 512 h 521"/>
                <a:gd name="T34" fmla="*/ 313 w 600"/>
                <a:gd name="T35" fmla="*/ 512 h 521"/>
                <a:gd name="T36" fmla="*/ 313 w 600"/>
                <a:gd name="T37" fmla="*/ 512 h 521"/>
                <a:gd name="T38" fmla="*/ 313 w 600"/>
                <a:gd name="T39" fmla="*/ 512 h 521"/>
                <a:gd name="T40" fmla="*/ 313 w 600"/>
                <a:gd name="T41" fmla="*/ 512 h 521"/>
                <a:gd name="T42" fmla="*/ 313 w 600"/>
                <a:gd name="T43" fmla="*/ 512 h 521"/>
                <a:gd name="T44" fmla="*/ 562 w 600"/>
                <a:gd name="T45" fmla="*/ 28 h 521"/>
                <a:gd name="T46" fmla="*/ 562 w 600"/>
                <a:gd name="T47" fmla="*/ 29 h 521"/>
                <a:gd name="T48" fmla="*/ 570 w 600"/>
                <a:gd name="T49" fmla="*/ 117 h 521"/>
                <a:gd name="T50" fmla="*/ 562 w 600"/>
                <a:gd name="T51" fmla="*/ 29 h 521"/>
                <a:gd name="T52" fmla="*/ 562 w 600"/>
                <a:gd name="T53" fmla="*/ 28 h 521"/>
                <a:gd name="T54" fmla="*/ 561 w 600"/>
                <a:gd name="T55" fmla="*/ 28 h 521"/>
                <a:gd name="T56" fmla="*/ 561 w 600"/>
                <a:gd name="T57" fmla="*/ 28 h 521"/>
                <a:gd name="T58" fmla="*/ 561 w 600"/>
                <a:gd name="T59" fmla="*/ 28 h 521"/>
                <a:gd name="T60" fmla="*/ 561 w 600"/>
                <a:gd name="T61" fmla="*/ 27 h 521"/>
                <a:gd name="T62" fmla="*/ 561 w 600"/>
                <a:gd name="T63" fmla="*/ 27 h 521"/>
                <a:gd name="T64" fmla="*/ 561 w 600"/>
                <a:gd name="T65" fmla="*/ 27 h 521"/>
                <a:gd name="T66" fmla="*/ 561 w 600"/>
                <a:gd name="T67" fmla="*/ 26 h 521"/>
                <a:gd name="T68" fmla="*/ 561 w 600"/>
                <a:gd name="T69" fmla="*/ 27 h 521"/>
                <a:gd name="T70" fmla="*/ 561 w 600"/>
                <a:gd name="T71" fmla="*/ 26 h 521"/>
                <a:gd name="T72" fmla="*/ 561 w 600"/>
                <a:gd name="T73" fmla="*/ 26 h 521"/>
                <a:gd name="T74" fmla="*/ 561 w 600"/>
                <a:gd name="T75" fmla="*/ 26 h 521"/>
                <a:gd name="T76" fmla="*/ 561 w 600"/>
                <a:gd name="T77" fmla="*/ 26 h 521"/>
                <a:gd name="T78" fmla="*/ 561 w 600"/>
                <a:gd name="T79" fmla="*/ 25 h 521"/>
                <a:gd name="T80" fmla="*/ 561 w 600"/>
                <a:gd name="T81" fmla="*/ 25 h 521"/>
                <a:gd name="T82" fmla="*/ 561 w 600"/>
                <a:gd name="T83" fmla="*/ 25 h 521"/>
                <a:gd name="T84" fmla="*/ 561 w 600"/>
                <a:gd name="T85" fmla="*/ 24 h 521"/>
                <a:gd name="T86" fmla="*/ 561 w 600"/>
                <a:gd name="T87" fmla="*/ 25 h 521"/>
                <a:gd name="T88" fmla="*/ 561 w 600"/>
                <a:gd name="T89" fmla="*/ 24 h 521"/>
                <a:gd name="T90" fmla="*/ 593 w 600"/>
                <a:gd name="T91" fmla="*/ 0 h 521"/>
                <a:gd name="T92" fmla="*/ 599 w 600"/>
                <a:gd name="T93" fmla="*/ 88 h 521"/>
                <a:gd name="T94" fmla="*/ 558 w 600"/>
                <a:gd name="T95" fmla="*/ 220 h 521"/>
                <a:gd name="T96" fmla="*/ 558 w 600"/>
                <a:gd name="T97" fmla="*/ 220 h 521"/>
                <a:gd name="T98" fmla="*/ 599 w 600"/>
                <a:gd name="T99" fmla="*/ 88 h 521"/>
                <a:gd name="T100" fmla="*/ 593 w 600"/>
                <a:gd name="T101" fmla="*/ 0 h 521"/>
                <a:gd name="T102" fmla="*/ 593 w 600"/>
                <a:gd name="T103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0" h="521">
                  <a:moveTo>
                    <a:pt x="0" y="518"/>
                  </a:moveTo>
                  <a:cubicBezTo>
                    <a:pt x="0" y="518"/>
                    <a:pt x="0" y="518"/>
                    <a:pt x="0" y="518"/>
                  </a:cubicBezTo>
                  <a:cubicBezTo>
                    <a:pt x="7" y="519"/>
                    <a:pt x="14" y="520"/>
                    <a:pt x="20" y="521"/>
                  </a:cubicBezTo>
                  <a:cubicBezTo>
                    <a:pt x="20" y="521"/>
                    <a:pt x="20" y="521"/>
                    <a:pt x="20" y="521"/>
                  </a:cubicBezTo>
                  <a:cubicBezTo>
                    <a:pt x="13" y="520"/>
                    <a:pt x="7" y="519"/>
                    <a:pt x="0" y="518"/>
                  </a:cubicBezTo>
                  <a:moveTo>
                    <a:pt x="310" y="513"/>
                  </a:moveTo>
                  <a:cubicBezTo>
                    <a:pt x="310" y="513"/>
                    <a:pt x="310" y="513"/>
                    <a:pt x="310" y="513"/>
                  </a:cubicBezTo>
                  <a:cubicBezTo>
                    <a:pt x="310" y="513"/>
                    <a:pt x="310" y="513"/>
                    <a:pt x="310" y="513"/>
                  </a:cubicBezTo>
                  <a:cubicBezTo>
                    <a:pt x="310" y="513"/>
                    <a:pt x="310" y="513"/>
                    <a:pt x="310" y="513"/>
                  </a:cubicBezTo>
                  <a:moveTo>
                    <a:pt x="311" y="513"/>
                  </a:moveTo>
                  <a:cubicBezTo>
                    <a:pt x="311" y="513"/>
                    <a:pt x="311" y="513"/>
                    <a:pt x="311" y="513"/>
                  </a:cubicBezTo>
                  <a:cubicBezTo>
                    <a:pt x="311" y="513"/>
                    <a:pt x="311" y="513"/>
                    <a:pt x="311" y="513"/>
                  </a:cubicBezTo>
                  <a:cubicBezTo>
                    <a:pt x="311" y="513"/>
                    <a:pt x="311" y="513"/>
                    <a:pt x="311" y="513"/>
                  </a:cubicBezTo>
                  <a:moveTo>
                    <a:pt x="312" y="512"/>
                  </a:moveTo>
                  <a:cubicBezTo>
                    <a:pt x="312" y="512"/>
                    <a:pt x="312" y="512"/>
                    <a:pt x="312" y="512"/>
                  </a:cubicBezTo>
                  <a:cubicBezTo>
                    <a:pt x="312" y="512"/>
                    <a:pt x="312" y="512"/>
                    <a:pt x="312" y="512"/>
                  </a:cubicBezTo>
                  <a:moveTo>
                    <a:pt x="313" y="512"/>
                  </a:moveTo>
                  <a:cubicBezTo>
                    <a:pt x="313" y="512"/>
                    <a:pt x="313" y="512"/>
                    <a:pt x="313" y="512"/>
                  </a:cubicBezTo>
                  <a:cubicBezTo>
                    <a:pt x="313" y="512"/>
                    <a:pt x="313" y="512"/>
                    <a:pt x="313" y="512"/>
                  </a:cubicBezTo>
                  <a:moveTo>
                    <a:pt x="313" y="512"/>
                  </a:moveTo>
                  <a:cubicBezTo>
                    <a:pt x="313" y="512"/>
                    <a:pt x="313" y="512"/>
                    <a:pt x="313" y="512"/>
                  </a:cubicBezTo>
                  <a:cubicBezTo>
                    <a:pt x="313" y="512"/>
                    <a:pt x="313" y="512"/>
                    <a:pt x="313" y="512"/>
                  </a:cubicBezTo>
                  <a:moveTo>
                    <a:pt x="562" y="28"/>
                  </a:moveTo>
                  <a:cubicBezTo>
                    <a:pt x="562" y="28"/>
                    <a:pt x="562" y="29"/>
                    <a:pt x="562" y="29"/>
                  </a:cubicBezTo>
                  <a:cubicBezTo>
                    <a:pt x="567" y="58"/>
                    <a:pt x="570" y="88"/>
                    <a:pt x="570" y="117"/>
                  </a:cubicBezTo>
                  <a:cubicBezTo>
                    <a:pt x="570" y="88"/>
                    <a:pt x="567" y="58"/>
                    <a:pt x="562" y="29"/>
                  </a:cubicBezTo>
                  <a:cubicBezTo>
                    <a:pt x="562" y="29"/>
                    <a:pt x="562" y="28"/>
                    <a:pt x="562" y="28"/>
                  </a:cubicBezTo>
                  <a:moveTo>
                    <a:pt x="561" y="28"/>
                  </a:moveTo>
                  <a:cubicBezTo>
                    <a:pt x="561" y="28"/>
                    <a:pt x="561" y="28"/>
                    <a:pt x="561" y="28"/>
                  </a:cubicBezTo>
                  <a:cubicBezTo>
                    <a:pt x="561" y="28"/>
                    <a:pt x="561" y="28"/>
                    <a:pt x="561" y="28"/>
                  </a:cubicBezTo>
                  <a:moveTo>
                    <a:pt x="561" y="27"/>
                  </a:moveTo>
                  <a:cubicBezTo>
                    <a:pt x="561" y="27"/>
                    <a:pt x="561" y="27"/>
                    <a:pt x="561" y="27"/>
                  </a:cubicBezTo>
                  <a:cubicBezTo>
                    <a:pt x="561" y="27"/>
                    <a:pt x="561" y="27"/>
                    <a:pt x="561" y="27"/>
                  </a:cubicBezTo>
                  <a:moveTo>
                    <a:pt x="561" y="26"/>
                  </a:moveTo>
                  <a:cubicBezTo>
                    <a:pt x="561" y="26"/>
                    <a:pt x="561" y="27"/>
                    <a:pt x="561" y="27"/>
                  </a:cubicBezTo>
                  <a:cubicBezTo>
                    <a:pt x="561" y="27"/>
                    <a:pt x="561" y="26"/>
                    <a:pt x="561" y="26"/>
                  </a:cubicBezTo>
                  <a:moveTo>
                    <a:pt x="561" y="26"/>
                  </a:moveTo>
                  <a:cubicBezTo>
                    <a:pt x="561" y="26"/>
                    <a:pt x="561" y="26"/>
                    <a:pt x="561" y="26"/>
                  </a:cubicBezTo>
                  <a:cubicBezTo>
                    <a:pt x="561" y="26"/>
                    <a:pt x="561" y="26"/>
                    <a:pt x="561" y="26"/>
                  </a:cubicBezTo>
                  <a:moveTo>
                    <a:pt x="561" y="25"/>
                  </a:moveTo>
                  <a:cubicBezTo>
                    <a:pt x="561" y="25"/>
                    <a:pt x="561" y="25"/>
                    <a:pt x="561" y="25"/>
                  </a:cubicBezTo>
                  <a:cubicBezTo>
                    <a:pt x="561" y="25"/>
                    <a:pt x="561" y="25"/>
                    <a:pt x="561" y="25"/>
                  </a:cubicBezTo>
                  <a:moveTo>
                    <a:pt x="561" y="24"/>
                  </a:moveTo>
                  <a:cubicBezTo>
                    <a:pt x="561" y="24"/>
                    <a:pt x="561" y="25"/>
                    <a:pt x="561" y="25"/>
                  </a:cubicBezTo>
                  <a:cubicBezTo>
                    <a:pt x="561" y="25"/>
                    <a:pt x="561" y="24"/>
                    <a:pt x="561" y="24"/>
                  </a:cubicBezTo>
                  <a:moveTo>
                    <a:pt x="593" y="0"/>
                  </a:moveTo>
                  <a:cubicBezTo>
                    <a:pt x="598" y="30"/>
                    <a:pt x="600" y="59"/>
                    <a:pt x="599" y="88"/>
                  </a:cubicBezTo>
                  <a:cubicBezTo>
                    <a:pt x="591" y="133"/>
                    <a:pt x="578" y="177"/>
                    <a:pt x="558" y="220"/>
                  </a:cubicBezTo>
                  <a:cubicBezTo>
                    <a:pt x="558" y="220"/>
                    <a:pt x="558" y="220"/>
                    <a:pt x="558" y="220"/>
                  </a:cubicBezTo>
                  <a:cubicBezTo>
                    <a:pt x="578" y="177"/>
                    <a:pt x="591" y="133"/>
                    <a:pt x="599" y="88"/>
                  </a:cubicBezTo>
                  <a:cubicBezTo>
                    <a:pt x="600" y="59"/>
                    <a:pt x="598" y="30"/>
                    <a:pt x="593" y="0"/>
                  </a:cubicBezTo>
                  <a:cubicBezTo>
                    <a:pt x="593" y="0"/>
                    <a:pt x="593" y="0"/>
                    <a:pt x="593" y="0"/>
                  </a:cubicBezTo>
                </a:path>
              </a:pathLst>
            </a:custGeom>
            <a:solidFill>
              <a:srgbClr val="F6C6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ṩļïďe">
              <a:extLst>
                <a:ext uri="{FF2B5EF4-FFF2-40B4-BE49-F238E27FC236}">
                  <a16:creationId xmlns:a16="http://schemas.microsoft.com/office/drawing/2014/main" id="{9799C2ED-EBD7-411A-9E98-5469B04DE5D6}"/>
                </a:ext>
              </a:extLst>
            </p:cNvPr>
            <p:cNvSpPr/>
            <p:nvPr/>
          </p:nvSpPr>
          <p:spPr bwMode="auto">
            <a:xfrm>
              <a:off x="4744965" y="3047184"/>
              <a:ext cx="4246807" cy="2887244"/>
            </a:xfrm>
            <a:custGeom>
              <a:avLst/>
              <a:gdLst>
                <a:gd name="T0" fmla="*/ 508 w 838"/>
                <a:gd name="T1" fmla="*/ 558 h 570"/>
                <a:gd name="T2" fmla="*/ 508 w 838"/>
                <a:gd name="T3" fmla="*/ 558 h 570"/>
                <a:gd name="T4" fmla="*/ 531 w 838"/>
                <a:gd name="T5" fmla="*/ 549 h 570"/>
                <a:gd name="T6" fmla="*/ 531 w 838"/>
                <a:gd name="T7" fmla="*/ 549 h 570"/>
                <a:gd name="T8" fmla="*/ 532 w 838"/>
                <a:gd name="T9" fmla="*/ 548 h 570"/>
                <a:gd name="T10" fmla="*/ 534 w 838"/>
                <a:gd name="T11" fmla="*/ 548 h 570"/>
                <a:gd name="T12" fmla="*/ 534 w 838"/>
                <a:gd name="T13" fmla="*/ 547 h 570"/>
                <a:gd name="T14" fmla="*/ 535 w 838"/>
                <a:gd name="T15" fmla="*/ 547 h 570"/>
                <a:gd name="T16" fmla="*/ 536 w 838"/>
                <a:gd name="T17" fmla="*/ 547 h 570"/>
                <a:gd name="T18" fmla="*/ 536 w 838"/>
                <a:gd name="T19" fmla="*/ 546 h 570"/>
                <a:gd name="T20" fmla="*/ 537 w 838"/>
                <a:gd name="T21" fmla="*/ 546 h 570"/>
                <a:gd name="T22" fmla="*/ 405 w 838"/>
                <a:gd name="T23" fmla="*/ 522 h 570"/>
                <a:gd name="T24" fmla="*/ 352 w 838"/>
                <a:gd name="T25" fmla="*/ 481 h 570"/>
                <a:gd name="T26" fmla="*/ 701 w 838"/>
                <a:gd name="T27" fmla="*/ 402 h 570"/>
                <a:gd name="T28" fmla="*/ 724 w 838"/>
                <a:gd name="T29" fmla="*/ 33 h 570"/>
                <a:gd name="T30" fmla="*/ 670 w 838"/>
                <a:gd name="T31" fmla="*/ 101 h 570"/>
                <a:gd name="T32" fmla="*/ 658 w 838"/>
                <a:gd name="T33" fmla="*/ 108 h 570"/>
                <a:gd name="T34" fmla="*/ 662 w 838"/>
                <a:gd name="T35" fmla="*/ 120 h 570"/>
                <a:gd name="T36" fmla="*/ 650 w 838"/>
                <a:gd name="T37" fmla="*/ 115 h 570"/>
                <a:gd name="T38" fmla="*/ 645 w 838"/>
                <a:gd name="T39" fmla="*/ 128 h 570"/>
                <a:gd name="T40" fmla="*/ 638 w 838"/>
                <a:gd name="T41" fmla="*/ 141 h 570"/>
                <a:gd name="T42" fmla="*/ 631 w 838"/>
                <a:gd name="T43" fmla="*/ 153 h 570"/>
                <a:gd name="T44" fmla="*/ 623 w 838"/>
                <a:gd name="T45" fmla="*/ 163 h 570"/>
                <a:gd name="T46" fmla="*/ 716 w 838"/>
                <a:gd name="T47" fmla="*/ 379 h 570"/>
                <a:gd name="T48" fmla="*/ 744 w 838"/>
                <a:gd name="T49" fmla="*/ 333 h 570"/>
                <a:gd name="T50" fmla="*/ 818 w 838"/>
                <a:gd name="T51" fmla="*/ 69 h 570"/>
                <a:gd name="T52" fmla="*/ 755 w 838"/>
                <a:gd name="T53" fmla="*/ 265 h 570"/>
                <a:gd name="T54" fmla="*/ 759 w 838"/>
                <a:gd name="T55" fmla="*/ 73 h 570"/>
                <a:gd name="T56" fmla="*/ 758 w 838"/>
                <a:gd name="T57" fmla="*/ 72 h 570"/>
                <a:gd name="T58" fmla="*/ 758 w 838"/>
                <a:gd name="T59" fmla="*/ 71 h 570"/>
                <a:gd name="T60" fmla="*/ 758 w 838"/>
                <a:gd name="T61" fmla="*/ 69 h 570"/>
                <a:gd name="T62" fmla="*/ 324 w 838"/>
                <a:gd name="T63" fmla="*/ 249 h 570"/>
                <a:gd name="T64" fmla="*/ 371 w 838"/>
                <a:gd name="T65" fmla="*/ 216 h 570"/>
                <a:gd name="T66" fmla="*/ 313 w 838"/>
                <a:gd name="T67" fmla="*/ 231 h 570"/>
                <a:gd name="T68" fmla="*/ 333 w 838"/>
                <a:gd name="T69" fmla="*/ 179 h 570"/>
                <a:gd name="T70" fmla="*/ 313 w 838"/>
                <a:gd name="T71" fmla="*/ 231 h 570"/>
                <a:gd name="T72" fmla="*/ 285 w 838"/>
                <a:gd name="T73" fmla="*/ 173 h 570"/>
                <a:gd name="T74" fmla="*/ 287 w 838"/>
                <a:gd name="T75" fmla="*/ 231 h 570"/>
                <a:gd name="T76" fmla="*/ 113 w 838"/>
                <a:gd name="T77" fmla="*/ 181 h 570"/>
                <a:gd name="T78" fmla="*/ 162 w 838"/>
                <a:gd name="T79" fmla="*/ 296 h 570"/>
                <a:gd name="T80" fmla="*/ 320 w 838"/>
                <a:gd name="T81" fmla="*/ 563 h 570"/>
                <a:gd name="T82" fmla="*/ 261 w 838"/>
                <a:gd name="T83" fmla="*/ 278 h 570"/>
                <a:gd name="T84" fmla="*/ 275 w 838"/>
                <a:gd name="T85" fmla="*/ 301 h 570"/>
                <a:gd name="T86" fmla="*/ 309 w 838"/>
                <a:gd name="T87" fmla="*/ 283 h 570"/>
                <a:gd name="T88" fmla="*/ 347 w 838"/>
                <a:gd name="T89" fmla="*/ 466 h 570"/>
                <a:gd name="T90" fmla="*/ 367 w 838"/>
                <a:gd name="T91" fmla="*/ 452 h 570"/>
                <a:gd name="T92" fmla="*/ 506 w 838"/>
                <a:gd name="T93" fmla="*/ 244 h 570"/>
                <a:gd name="T94" fmla="*/ 377 w 838"/>
                <a:gd name="T95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38" h="570">
                  <a:moveTo>
                    <a:pt x="508" y="558"/>
                  </a:moveTo>
                  <a:cubicBezTo>
                    <a:pt x="508" y="558"/>
                    <a:pt x="507" y="558"/>
                    <a:pt x="507" y="558"/>
                  </a:cubicBezTo>
                  <a:cubicBezTo>
                    <a:pt x="507" y="558"/>
                    <a:pt x="507" y="558"/>
                    <a:pt x="507" y="558"/>
                  </a:cubicBezTo>
                  <a:cubicBezTo>
                    <a:pt x="507" y="558"/>
                    <a:pt x="508" y="558"/>
                    <a:pt x="508" y="558"/>
                  </a:cubicBezTo>
                  <a:moveTo>
                    <a:pt x="508" y="558"/>
                  </a:moveTo>
                  <a:cubicBezTo>
                    <a:pt x="508" y="558"/>
                    <a:pt x="508" y="558"/>
                    <a:pt x="508" y="558"/>
                  </a:cubicBezTo>
                  <a:cubicBezTo>
                    <a:pt x="508" y="558"/>
                    <a:pt x="508" y="558"/>
                    <a:pt x="508" y="558"/>
                  </a:cubicBezTo>
                  <a:cubicBezTo>
                    <a:pt x="508" y="558"/>
                    <a:pt x="508" y="558"/>
                    <a:pt x="508" y="558"/>
                  </a:cubicBezTo>
                  <a:moveTo>
                    <a:pt x="530" y="549"/>
                  </a:moveTo>
                  <a:cubicBezTo>
                    <a:pt x="530" y="549"/>
                    <a:pt x="530" y="549"/>
                    <a:pt x="530" y="549"/>
                  </a:cubicBezTo>
                  <a:cubicBezTo>
                    <a:pt x="530" y="549"/>
                    <a:pt x="530" y="549"/>
                    <a:pt x="530" y="549"/>
                  </a:cubicBezTo>
                  <a:moveTo>
                    <a:pt x="531" y="549"/>
                  </a:moveTo>
                  <a:cubicBezTo>
                    <a:pt x="531" y="549"/>
                    <a:pt x="531" y="549"/>
                    <a:pt x="531" y="549"/>
                  </a:cubicBezTo>
                  <a:cubicBezTo>
                    <a:pt x="531" y="549"/>
                    <a:pt x="531" y="549"/>
                    <a:pt x="531" y="549"/>
                  </a:cubicBezTo>
                  <a:moveTo>
                    <a:pt x="531" y="549"/>
                  </a:moveTo>
                  <a:cubicBezTo>
                    <a:pt x="531" y="549"/>
                    <a:pt x="531" y="549"/>
                    <a:pt x="531" y="549"/>
                  </a:cubicBezTo>
                  <a:cubicBezTo>
                    <a:pt x="531" y="549"/>
                    <a:pt x="531" y="549"/>
                    <a:pt x="531" y="549"/>
                  </a:cubicBezTo>
                  <a:moveTo>
                    <a:pt x="532" y="548"/>
                  </a:moveTo>
                  <a:cubicBezTo>
                    <a:pt x="532" y="548"/>
                    <a:pt x="532" y="548"/>
                    <a:pt x="532" y="548"/>
                  </a:cubicBezTo>
                  <a:cubicBezTo>
                    <a:pt x="532" y="548"/>
                    <a:pt x="532" y="548"/>
                    <a:pt x="532" y="548"/>
                  </a:cubicBezTo>
                  <a:moveTo>
                    <a:pt x="533" y="548"/>
                  </a:moveTo>
                  <a:cubicBezTo>
                    <a:pt x="533" y="548"/>
                    <a:pt x="533" y="548"/>
                    <a:pt x="533" y="548"/>
                  </a:cubicBezTo>
                  <a:cubicBezTo>
                    <a:pt x="533" y="548"/>
                    <a:pt x="533" y="548"/>
                    <a:pt x="533" y="548"/>
                  </a:cubicBezTo>
                  <a:moveTo>
                    <a:pt x="534" y="548"/>
                  </a:moveTo>
                  <a:cubicBezTo>
                    <a:pt x="534" y="548"/>
                    <a:pt x="533" y="548"/>
                    <a:pt x="533" y="548"/>
                  </a:cubicBezTo>
                  <a:cubicBezTo>
                    <a:pt x="533" y="548"/>
                    <a:pt x="534" y="548"/>
                    <a:pt x="534" y="548"/>
                  </a:cubicBezTo>
                  <a:moveTo>
                    <a:pt x="534" y="547"/>
                  </a:moveTo>
                  <a:cubicBezTo>
                    <a:pt x="534" y="547"/>
                    <a:pt x="534" y="547"/>
                    <a:pt x="534" y="547"/>
                  </a:cubicBezTo>
                  <a:cubicBezTo>
                    <a:pt x="534" y="547"/>
                    <a:pt x="534" y="547"/>
                    <a:pt x="534" y="547"/>
                  </a:cubicBezTo>
                  <a:moveTo>
                    <a:pt x="535" y="547"/>
                  </a:moveTo>
                  <a:cubicBezTo>
                    <a:pt x="535" y="547"/>
                    <a:pt x="535" y="547"/>
                    <a:pt x="535" y="547"/>
                  </a:cubicBezTo>
                  <a:cubicBezTo>
                    <a:pt x="535" y="547"/>
                    <a:pt x="535" y="547"/>
                    <a:pt x="535" y="547"/>
                  </a:cubicBezTo>
                  <a:moveTo>
                    <a:pt x="535" y="547"/>
                  </a:moveTo>
                  <a:cubicBezTo>
                    <a:pt x="535" y="547"/>
                    <a:pt x="535" y="547"/>
                    <a:pt x="535" y="547"/>
                  </a:cubicBezTo>
                  <a:cubicBezTo>
                    <a:pt x="535" y="547"/>
                    <a:pt x="535" y="547"/>
                    <a:pt x="535" y="547"/>
                  </a:cubicBezTo>
                  <a:moveTo>
                    <a:pt x="536" y="547"/>
                  </a:moveTo>
                  <a:cubicBezTo>
                    <a:pt x="536" y="547"/>
                    <a:pt x="536" y="547"/>
                    <a:pt x="536" y="547"/>
                  </a:cubicBezTo>
                  <a:cubicBezTo>
                    <a:pt x="536" y="547"/>
                    <a:pt x="536" y="547"/>
                    <a:pt x="536" y="547"/>
                  </a:cubicBezTo>
                  <a:moveTo>
                    <a:pt x="537" y="546"/>
                  </a:moveTo>
                  <a:cubicBezTo>
                    <a:pt x="537" y="546"/>
                    <a:pt x="536" y="546"/>
                    <a:pt x="536" y="546"/>
                  </a:cubicBezTo>
                  <a:cubicBezTo>
                    <a:pt x="536" y="546"/>
                    <a:pt x="537" y="546"/>
                    <a:pt x="537" y="546"/>
                  </a:cubicBezTo>
                  <a:moveTo>
                    <a:pt x="537" y="546"/>
                  </a:moveTo>
                  <a:cubicBezTo>
                    <a:pt x="537" y="546"/>
                    <a:pt x="537" y="546"/>
                    <a:pt x="537" y="546"/>
                  </a:cubicBezTo>
                  <a:cubicBezTo>
                    <a:pt x="537" y="546"/>
                    <a:pt x="537" y="546"/>
                    <a:pt x="537" y="546"/>
                  </a:cubicBezTo>
                  <a:moveTo>
                    <a:pt x="538" y="546"/>
                  </a:moveTo>
                  <a:cubicBezTo>
                    <a:pt x="538" y="546"/>
                    <a:pt x="537" y="546"/>
                    <a:pt x="537" y="546"/>
                  </a:cubicBezTo>
                  <a:cubicBezTo>
                    <a:pt x="537" y="546"/>
                    <a:pt x="538" y="546"/>
                    <a:pt x="538" y="546"/>
                  </a:cubicBezTo>
                  <a:moveTo>
                    <a:pt x="405" y="522"/>
                  </a:moveTo>
                  <a:cubicBezTo>
                    <a:pt x="404" y="522"/>
                    <a:pt x="404" y="522"/>
                    <a:pt x="404" y="522"/>
                  </a:cubicBezTo>
                  <a:cubicBezTo>
                    <a:pt x="405" y="522"/>
                    <a:pt x="405" y="522"/>
                    <a:pt x="405" y="522"/>
                  </a:cubicBezTo>
                  <a:cubicBezTo>
                    <a:pt x="405" y="522"/>
                    <a:pt x="405" y="522"/>
                    <a:pt x="405" y="522"/>
                  </a:cubicBezTo>
                  <a:moveTo>
                    <a:pt x="352" y="481"/>
                  </a:moveTo>
                  <a:cubicBezTo>
                    <a:pt x="352" y="481"/>
                    <a:pt x="352" y="481"/>
                    <a:pt x="352" y="481"/>
                  </a:cubicBezTo>
                  <a:cubicBezTo>
                    <a:pt x="352" y="481"/>
                    <a:pt x="352" y="481"/>
                    <a:pt x="352" y="481"/>
                  </a:cubicBezTo>
                  <a:cubicBezTo>
                    <a:pt x="352" y="481"/>
                    <a:pt x="352" y="481"/>
                    <a:pt x="352" y="481"/>
                  </a:cubicBezTo>
                  <a:moveTo>
                    <a:pt x="701" y="402"/>
                  </a:moveTo>
                  <a:cubicBezTo>
                    <a:pt x="701" y="402"/>
                    <a:pt x="701" y="402"/>
                    <a:pt x="701" y="402"/>
                  </a:cubicBezTo>
                  <a:cubicBezTo>
                    <a:pt x="701" y="402"/>
                    <a:pt x="701" y="402"/>
                    <a:pt x="701" y="402"/>
                  </a:cubicBezTo>
                  <a:moveTo>
                    <a:pt x="731" y="8"/>
                  </a:moveTo>
                  <a:cubicBezTo>
                    <a:pt x="729" y="17"/>
                    <a:pt x="727" y="25"/>
                    <a:pt x="724" y="33"/>
                  </a:cubicBezTo>
                  <a:cubicBezTo>
                    <a:pt x="722" y="37"/>
                    <a:pt x="720" y="41"/>
                    <a:pt x="718" y="45"/>
                  </a:cubicBezTo>
                  <a:cubicBezTo>
                    <a:pt x="712" y="57"/>
                    <a:pt x="705" y="67"/>
                    <a:pt x="697" y="76"/>
                  </a:cubicBezTo>
                  <a:cubicBezTo>
                    <a:pt x="696" y="78"/>
                    <a:pt x="695" y="79"/>
                    <a:pt x="693" y="80"/>
                  </a:cubicBezTo>
                  <a:cubicBezTo>
                    <a:pt x="685" y="89"/>
                    <a:pt x="677" y="96"/>
                    <a:pt x="670" y="101"/>
                  </a:cubicBezTo>
                  <a:cubicBezTo>
                    <a:pt x="674" y="103"/>
                    <a:pt x="679" y="107"/>
                    <a:pt x="682" y="110"/>
                  </a:cubicBezTo>
                  <a:cubicBezTo>
                    <a:pt x="693" y="122"/>
                    <a:pt x="693" y="139"/>
                    <a:pt x="693" y="139"/>
                  </a:cubicBezTo>
                  <a:cubicBezTo>
                    <a:pt x="693" y="139"/>
                    <a:pt x="683" y="119"/>
                    <a:pt x="671" y="112"/>
                  </a:cubicBezTo>
                  <a:cubicBezTo>
                    <a:pt x="666" y="110"/>
                    <a:pt x="662" y="109"/>
                    <a:pt x="658" y="108"/>
                  </a:cubicBezTo>
                  <a:cubicBezTo>
                    <a:pt x="658" y="108"/>
                    <a:pt x="658" y="108"/>
                    <a:pt x="658" y="108"/>
                  </a:cubicBezTo>
                  <a:cubicBezTo>
                    <a:pt x="661" y="110"/>
                    <a:pt x="665" y="113"/>
                    <a:pt x="668" y="119"/>
                  </a:cubicBezTo>
                  <a:cubicBezTo>
                    <a:pt x="672" y="128"/>
                    <a:pt x="671" y="138"/>
                    <a:pt x="671" y="138"/>
                  </a:cubicBezTo>
                  <a:cubicBezTo>
                    <a:pt x="671" y="138"/>
                    <a:pt x="667" y="125"/>
                    <a:pt x="662" y="120"/>
                  </a:cubicBezTo>
                  <a:cubicBezTo>
                    <a:pt x="658" y="116"/>
                    <a:pt x="655" y="113"/>
                    <a:pt x="653" y="111"/>
                  </a:cubicBezTo>
                  <a:cubicBezTo>
                    <a:pt x="652" y="112"/>
                    <a:pt x="651" y="112"/>
                    <a:pt x="651" y="112"/>
                  </a:cubicBezTo>
                  <a:cubicBezTo>
                    <a:pt x="651" y="112"/>
                    <a:pt x="651" y="112"/>
                    <a:pt x="651" y="112"/>
                  </a:cubicBezTo>
                  <a:cubicBezTo>
                    <a:pt x="651" y="113"/>
                    <a:pt x="651" y="114"/>
                    <a:pt x="650" y="115"/>
                  </a:cubicBezTo>
                  <a:cubicBezTo>
                    <a:pt x="650" y="116"/>
                    <a:pt x="650" y="117"/>
                    <a:pt x="649" y="118"/>
                  </a:cubicBezTo>
                  <a:cubicBezTo>
                    <a:pt x="649" y="119"/>
                    <a:pt x="648" y="120"/>
                    <a:pt x="648" y="121"/>
                  </a:cubicBezTo>
                  <a:cubicBezTo>
                    <a:pt x="648" y="122"/>
                    <a:pt x="647" y="123"/>
                    <a:pt x="647" y="124"/>
                  </a:cubicBezTo>
                  <a:cubicBezTo>
                    <a:pt x="646" y="125"/>
                    <a:pt x="646" y="126"/>
                    <a:pt x="645" y="128"/>
                  </a:cubicBezTo>
                  <a:cubicBezTo>
                    <a:pt x="645" y="128"/>
                    <a:pt x="645" y="129"/>
                    <a:pt x="644" y="130"/>
                  </a:cubicBezTo>
                  <a:cubicBezTo>
                    <a:pt x="643" y="132"/>
                    <a:pt x="642" y="134"/>
                    <a:pt x="641" y="136"/>
                  </a:cubicBezTo>
                  <a:cubicBezTo>
                    <a:pt x="641" y="136"/>
                    <a:pt x="641" y="137"/>
                    <a:pt x="640" y="138"/>
                  </a:cubicBezTo>
                  <a:cubicBezTo>
                    <a:pt x="639" y="139"/>
                    <a:pt x="639" y="140"/>
                    <a:pt x="638" y="141"/>
                  </a:cubicBezTo>
                  <a:cubicBezTo>
                    <a:pt x="638" y="142"/>
                    <a:pt x="637" y="143"/>
                    <a:pt x="636" y="144"/>
                  </a:cubicBezTo>
                  <a:cubicBezTo>
                    <a:pt x="636" y="145"/>
                    <a:pt x="635" y="146"/>
                    <a:pt x="635" y="147"/>
                  </a:cubicBezTo>
                  <a:cubicBezTo>
                    <a:pt x="634" y="148"/>
                    <a:pt x="633" y="149"/>
                    <a:pt x="633" y="150"/>
                  </a:cubicBezTo>
                  <a:cubicBezTo>
                    <a:pt x="632" y="151"/>
                    <a:pt x="631" y="152"/>
                    <a:pt x="631" y="153"/>
                  </a:cubicBezTo>
                  <a:cubicBezTo>
                    <a:pt x="630" y="154"/>
                    <a:pt x="629" y="155"/>
                    <a:pt x="629" y="156"/>
                  </a:cubicBezTo>
                  <a:cubicBezTo>
                    <a:pt x="628" y="157"/>
                    <a:pt x="627" y="158"/>
                    <a:pt x="627" y="158"/>
                  </a:cubicBezTo>
                  <a:cubicBezTo>
                    <a:pt x="626" y="159"/>
                    <a:pt x="625" y="160"/>
                    <a:pt x="624" y="161"/>
                  </a:cubicBezTo>
                  <a:cubicBezTo>
                    <a:pt x="624" y="162"/>
                    <a:pt x="623" y="163"/>
                    <a:pt x="623" y="163"/>
                  </a:cubicBezTo>
                  <a:cubicBezTo>
                    <a:pt x="626" y="229"/>
                    <a:pt x="626" y="229"/>
                    <a:pt x="626" y="229"/>
                  </a:cubicBezTo>
                  <a:cubicBezTo>
                    <a:pt x="681" y="263"/>
                    <a:pt x="681" y="263"/>
                    <a:pt x="681" y="263"/>
                  </a:cubicBezTo>
                  <a:cubicBezTo>
                    <a:pt x="712" y="283"/>
                    <a:pt x="728" y="320"/>
                    <a:pt x="721" y="355"/>
                  </a:cubicBezTo>
                  <a:cubicBezTo>
                    <a:pt x="716" y="379"/>
                    <a:pt x="716" y="379"/>
                    <a:pt x="716" y="379"/>
                  </a:cubicBezTo>
                  <a:cubicBezTo>
                    <a:pt x="712" y="384"/>
                    <a:pt x="709" y="390"/>
                    <a:pt x="705" y="395"/>
                  </a:cubicBezTo>
                  <a:cubicBezTo>
                    <a:pt x="719" y="375"/>
                    <a:pt x="733" y="354"/>
                    <a:pt x="744" y="333"/>
                  </a:cubicBezTo>
                  <a:cubicBezTo>
                    <a:pt x="744" y="333"/>
                    <a:pt x="744" y="333"/>
                    <a:pt x="744" y="333"/>
                  </a:cubicBezTo>
                  <a:cubicBezTo>
                    <a:pt x="744" y="333"/>
                    <a:pt x="744" y="333"/>
                    <a:pt x="744" y="333"/>
                  </a:cubicBezTo>
                  <a:cubicBezTo>
                    <a:pt x="736" y="349"/>
                    <a:pt x="726" y="366"/>
                    <a:pt x="716" y="381"/>
                  </a:cubicBezTo>
                  <a:cubicBezTo>
                    <a:pt x="708" y="418"/>
                    <a:pt x="708" y="418"/>
                    <a:pt x="708" y="418"/>
                  </a:cubicBezTo>
                  <a:cubicBezTo>
                    <a:pt x="663" y="472"/>
                    <a:pt x="605" y="517"/>
                    <a:pt x="538" y="546"/>
                  </a:cubicBezTo>
                  <a:cubicBezTo>
                    <a:pt x="721" y="466"/>
                    <a:pt x="838" y="272"/>
                    <a:pt x="818" y="69"/>
                  </a:cubicBezTo>
                  <a:cubicBezTo>
                    <a:pt x="809" y="61"/>
                    <a:pt x="800" y="53"/>
                    <a:pt x="790" y="45"/>
                  </a:cubicBezTo>
                  <a:cubicBezTo>
                    <a:pt x="795" y="75"/>
                    <a:pt x="797" y="104"/>
                    <a:pt x="796" y="133"/>
                  </a:cubicBezTo>
                  <a:cubicBezTo>
                    <a:pt x="788" y="178"/>
                    <a:pt x="775" y="222"/>
                    <a:pt x="755" y="265"/>
                  </a:cubicBezTo>
                  <a:cubicBezTo>
                    <a:pt x="755" y="265"/>
                    <a:pt x="755" y="265"/>
                    <a:pt x="755" y="265"/>
                  </a:cubicBezTo>
                  <a:cubicBezTo>
                    <a:pt x="755" y="265"/>
                    <a:pt x="755" y="265"/>
                    <a:pt x="755" y="265"/>
                  </a:cubicBezTo>
                  <a:cubicBezTo>
                    <a:pt x="763" y="232"/>
                    <a:pt x="767" y="197"/>
                    <a:pt x="767" y="162"/>
                  </a:cubicBezTo>
                  <a:cubicBezTo>
                    <a:pt x="767" y="133"/>
                    <a:pt x="764" y="103"/>
                    <a:pt x="759" y="74"/>
                  </a:cubicBezTo>
                  <a:cubicBezTo>
                    <a:pt x="759" y="74"/>
                    <a:pt x="759" y="73"/>
                    <a:pt x="759" y="73"/>
                  </a:cubicBezTo>
                  <a:cubicBezTo>
                    <a:pt x="759" y="73"/>
                    <a:pt x="758" y="73"/>
                    <a:pt x="758" y="73"/>
                  </a:cubicBezTo>
                  <a:cubicBezTo>
                    <a:pt x="758" y="73"/>
                    <a:pt x="758" y="73"/>
                    <a:pt x="758" y="73"/>
                  </a:cubicBezTo>
                  <a:cubicBezTo>
                    <a:pt x="758" y="72"/>
                    <a:pt x="758" y="72"/>
                    <a:pt x="758" y="72"/>
                  </a:cubicBezTo>
                  <a:cubicBezTo>
                    <a:pt x="758" y="72"/>
                    <a:pt x="758" y="72"/>
                    <a:pt x="758" y="72"/>
                  </a:cubicBezTo>
                  <a:cubicBezTo>
                    <a:pt x="758" y="72"/>
                    <a:pt x="758" y="72"/>
                    <a:pt x="758" y="72"/>
                  </a:cubicBezTo>
                  <a:cubicBezTo>
                    <a:pt x="758" y="72"/>
                    <a:pt x="758" y="71"/>
                    <a:pt x="758" y="71"/>
                  </a:cubicBezTo>
                  <a:cubicBezTo>
                    <a:pt x="758" y="71"/>
                    <a:pt x="758" y="71"/>
                    <a:pt x="758" y="71"/>
                  </a:cubicBezTo>
                  <a:cubicBezTo>
                    <a:pt x="758" y="71"/>
                    <a:pt x="758" y="71"/>
                    <a:pt x="758" y="71"/>
                  </a:cubicBezTo>
                  <a:cubicBezTo>
                    <a:pt x="758" y="71"/>
                    <a:pt x="758" y="71"/>
                    <a:pt x="758" y="70"/>
                  </a:cubicBezTo>
                  <a:cubicBezTo>
                    <a:pt x="758" y="70"/>
                    <a:pt x="758" y="70"/>
                    <a:pt x="758" y="70"/>
                  </a:cubicBezTo>
                  <a:cubicBezTo>
                    <a:pt x="758" y="70"/>
                    <a:pt x="758" y="70"/>
                    <a:pt x="758" y="70"/>
                  </a:cubicBezTo>
                  <a:cubicBezTo>
                    <a:pt x="758" y="70"/>
                    <a:pt x="758" y="69"/>
                    <a:pt x="758" y="69"/>
                  </a:cubicBezTo>
                  <a:cubicBezTo>
                    <a:pt x="754" y="51"/>
                    <a:pt x="749" y="32"/>
                    <a:pt x="743" y="14"/>
                  </a:cubicBezTo>
                  <a:cubicBezTo>
                    <a:pt x="739" y="12"/>
                    <a:pt x="735" y="10"/>
                    <a:pt x="731" y="8"/>
                  </a:cubicBezTo>
                  <a:moveTo>
                    <a:pt x="329" y="252"/>
                  </a:moveTo>
                  <a:cubicBezTo>
                    <a:pt x="327" y="252"/>
                    <a:pt x="325" y="251"/>
                    <a:pt x="324" y="249"/>
                  </a:cubicBezTo>
                  <a:cubicBezTo>
                    <a:pt x="322" y="246"/>
                    <a:pt x="322" y="242"/>
                    <a:pt x="325" y="240"/>
                  </a:cubicBezTo>
                  <a:cubicBezTo>
                    <a:pt x="361" y="214"/>
                    <a:pt x="361" y="214"/>
                    <a:pt x="361" y="214"/>
                  </a:cubicBezTo>
                  <a:cubicBezTo>
                    <a:pt x="362" y="213"/>
                    <a:pt x="364" y="213"/>
                    <a:pt x="365" y="213"/>
                  </a:cubicBezTo>
                  <a:cubicBezTo>
                    <a:pt x="367" y="213"/>
                    <a:pt x="369" y="214"/>
                    <a:pt x="371" y="216"/>
                  </a:cubicBezTo>
                  <a:cubicBezTo>
                    <a:pt x="373" y="219"/>
                    <a:pt x="372" y="223"/>
                    <a:pt x="369" y="225"/>
                  </a:cubicBezTo>
                  <a:cubicBezTo>
                    <a:pt x="333" y="251"/>
                    <a:pt x="333" y="251"/>
                    <a:pt x="333" y="251"/>
                  </a:cubicBezTo>
                  <a:cubicBezTo>
                    <a:pt x="332" y="252"/>
                    <a:pt x="331" y="252"/>
                    <a:pt x="329" y="252"/>
                  </a:cubicBezTo>
                  <a:moveTo>
                    <a:pt x="313" y="231"/>
                  </a:moveTo>
                  <a:cubicBezTo>
                    <a:pt x="312" y="231"/>
                    <a:pt x="311" y="231"/>
                    <a:pt x="310" y="231"/>
                  </a:cubicBezTo>
                  <a:cubicBezTo>
                    <a:pt x="307" y="229"/>
                    <a:pt x="306" y="225"/>
                    <a:pt x="307" y="222"/>
                  </a:cubicBezTo>
                  <a:cubicBezTo>
                    <a:pt x="327" y="182"/>
                    <a:pt x="327" y="182"/>
                    <a:pt x="327" y="182"/>
                  </a:cubicBezTo>
                  <a:cubicBezTo>
                    <a:pt x="328" y="180"/>
                    <a:pt x="331" y="179"/>
                    <a:pt x="333" y="179"/>
                  </a:cubicBezTo>
                  <a:cubicBezTo>
                    <a:pt x="334" y="179"/>
                    <a:pt x="335" y="179"/>
                    <a:pt x="336" y="179"/>
                  </a:cubicBezTo>
                  <a:cubicBezTo>
                    <a:pt x="339" y="181"/>
                    <a:pt x="341" y="185"/>
                    <a:pt x="339" y="188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318" y="230"/>
                    <a:pt x="316" y="231"/>
                    <a:pt x="313" y="231"/>
                  </a:cubicBezTo>
                  <a:moveTo>
                    <a:pt x="286" y="231"/>
                  </a:moveTo>
                  <a:cubicBezTo>
                    <a:pt x="283" y="231"/>
                    <a:pt x="280" y="228"/>
                    <a:pt x="280" y="224"/>
                  </a:cubicBezTo>
                  <a:cubicBezTo>
                    <a:pt x="278" y="180"/>
                    <a:pt x="278" y="180"/>
                    <a:pt x="278" y="180"/>
                  </a:cubicBezTo>
                  <a:cubicBezTo>
                    <a:pt x="278" y="176"/>
                    <a:pt x="281" y="173"/>
                    <a:pt x="285" y="173"/>
                  </a:cubicBezTo>
                  <a:cubicBezTo>
                    <a:pt x="285" y="173"/>
                    <a:pt x="285" y="173"/>
                    <a:pt x="285" y="173"/>
                  </a:cubicBezTo>
                  <a:cubicBezTo>
                    <a:pt x="289" y="173"/>
                    <a:pt x="292" y="176"/>
                    <a:pt x="292" y="180"/>
                  </a:cubicBezTo>
                  <a:cubicBezTo>
                    <a:pt x="293" y="224"/>
                    <a:pt x="293" y="224"/>
                    <a:pt x="293" y="224"/>
                  </a:cubicBezTo>
                  <a:cubicBezTo>
                    <a:pt x="293" y="228"/>
                    <a:pt x="290" y="231"/>
                    <a:pt x="287" y="231"/>
                  </a:cubicBezTo>
                  <a:cubicBezTo>
                    <a:pt x="287" y="231"/>
                    <a:pt x="286" y="231"/>
                    <a:pt x="286" y="231"/>
                  </a:cubicBezTo>
                  <a:moveTo>
                    <a:pt x="377" y="0"/>
                  </a:moveTo>
                  <a:cubicBezTo>
                    <a:pt x="289" y="41"/>
                    <a:pt x="219" y="113"/>
                    <a:pt x="179" y="202"/>
                  </a:cubicBezTo>
                  <a:cubicBezTo>
                    <a:pt x="161" y="189"/>
                    <a:pt x="138" y="181"/>
                    <a:pt x="113" y="181"/>
                  </a:cubicBezTo>
                  <a:cubicBezTo>
                    <a:pt x="51" y="181"/>
                    <a:pt x="0" y="231"/>
                    <a:pt x="0" y="294"/>
                  </a:cubicBezTo>
                  <a:cubicBezTo>
                    <a:pt x="0" y="294"/>
                    <a:pt x="0" y="295"/>
                    <a:pt x="0" y="296"/>
                  </a:cubicBezTo>
                  <a:cubicBezTo>
                    <a:pt x="129" y="296"/>
                    <a:pt x="129" y="296"/>
                    <a:pt x="129" y="296"/>
                  </a:cubicBezTo>
                  <a:cubicBezTo>
                    <a:pt x="162" y="296"/>
                    <a:pt x="162" y="296"/>
                    <a:pt x="162" y="296"/>
                  </a:cubicBezTo>
                  <a:cubicBezTo>
                    <a:pt x="173" y="296"/>
                    <a:pt x="182" y="302"/>
                    <a:pt x="185" y="312"/>
                  </a:cubicBezTo>
                  <a:cubicBezTo>
                    <a:pt x="277" y="570"/>
                    <a:pt x="277" y="570"/>
                    <a:pt x="277" y="570"/>
                  </a:cubicBezTo>
                  <a:cubicBezTo>
                    <a:pt x="324" y="570"/>
                    <a:pt x="324" y="570"/>
                    <a:pt x="324" y="570"/>
                  </a:cubicBezTo>
                  <a:cubicBezTo>
                    <a:pt x="322" y="568"/>
                    <a:pt x="321" y="566"/>
                    <a:pt x="320" y="563"/>
                  </a:cubicBezTo>
                  <a:cubicBezTo>
                    <a:pt x="312" y="557"/>
                    <a:pt x="305" y="548"/>
                    <a:pt x="302" y="538"/>
                  </a:cubicBezTo>
                  <a:cubicBezTo>
                    <a:pt x="241" y="343"/>
                    <a:pt x="241" y="343"/>
                    <a:pt x="241" y="343"/>
                  </a:cubicBezTo>
                  <a:cubicBezTo>
                    <a:pt x="237" y="328"/>
                    <a:pt x="243" y="312"/>
                    <a:pt x="257" y="305"/>
                  </a:cubicBezTo>
                  <a:cubicBezTo>
                    <a:pt x="259" y="297"/>
                    <a:pt x="262" y="285"/>
                    <a:pt x="261" y="278"/>
                  </a:cubicBezTo>
                  <a:cubicBezTo>
                    <a:pt x="260" y="266"/>
                    <a:pt x="250" y="262"/>
                    <a:pt x="256" y="253"/>
                  </a:cubicBezTo>
                  <a:cubicBezTo>
                    <a:pt x="257" y="251"/>
                    <a:pt x="259" y="250"/>
                    <a:pt x="261" y="250"/>
                  </a:cubicBezTo>
                  <a:cubicBezTo>
                    <a:pt x="267" y="250"/>
                    <a:pt x="275" y="258"/>
                    <a:pt x="277" y="268"/>
                  </a:cubicBezTo>
                  <a:cubicBezTo>
                    <a:pt x="279" y="279"/>
                    <a:pt x="276" y="296"/>
                    <a:pt x="275" y="301"/>
                  </a:cubicBezTo>
                  <a:cubicBezTo>
                    <a:pt x="279" y="302"/>
                    <a:pt x="283" y="303"/>
                    <a:pt x="286" y="305"/>
                  </a:cubicBezTo>
                  <a:cubicBezTo>
                    <a:pt x="296" y="287"/>
                    <a:pt x="296" y="287"/>
                    <a:pt x="296" y="287"/>
                  </a:cubicBezTo>
                  <a:cubicBezTo>
                    <a:pt x="298" y="284"/>
                    <a:pt x="301" y="282"/>
                    <a:pt x="304" y="282"/>
                  </a:cubicBezTo>
                  <a:cubicBezTo>
                    <a:pt x="306" y="282"/>
                    <a:pt x="308" y="282"/>
                    <a:pt x="309" y="283"/>
                  </a:cubicBezTo>
                  <a:cubicBezTo>
                    <a:pt x="314" y="285"/>
                    <a:pt x="315" y="291"/>
                    <a:pt x="313" y="296"/>
                  </a:cubicBezTo>
                  <a:cubicBezTo>
                    <a:pt x="301" y="318"/>
                    <a:pt x="301" y="318"/>
                    <a:pt x="301" y="318"/>
                  </a:cubicBezTo>
                  <a:cubicBezTo>
                    <a:pt x="302" y="320"/>
                    <a:pt x="303" y="322"/>
                    <a:pt x="303" y="324"/>
                  </a:cubicBezTo>
                  <a:cubicBezTo>
                    <a:pt x="347" y="466"/>
                    <a:pt x="347" y="466"/>
                    <a:pt x="347" y="466"/>
                  </a:cubicBezTo>
                  <a:cubicBezTo>
                    <a:pt x="359" y="452"/>
                    <a:pt x="359" y="452"/>
                    <a:pt x="359" y="452"/>
                  </a:cubicBezTo>
                  <a:cubicBezTo>
                    <a:pt x="360" y="450"/>
                    <a:pt x="361" y="450"/>
                    <a:pt x="363" y="450"/>
                  </a:cubicBezTo>
                  <a:cubicBezTo>
                    <a:pt x="364" y="450"/>
                    <a:pt x="365" y="450"/>
                    <a:pt x="366" y="451"/>
                  </a:cubicBezTo>
                  <a:cubicBezTo>
                    <a:pt x="367" y="452"/>
                    <a:pt x="367" y="452"/>
                    <a:pt x="367" y="452"/>
                  </a:cubicBezTo>
                  <a:cubicBezTo>
                    <a:pt x="445" y="293"/>
                    <a:pt x="445" y="293"/>
                    <a:pt x="445" y="293"/>
                  </a:cubicBezTo>
                  <a:cubicBezTo>
                    <a:pt x="446" y="288"/>
                    <a:pt x="446" y="288"/>
                    <a:pt x="446" y="288"/>
                  </a:cubicBezTo>
                  <a:cubicBezTo>
                    <a:pt x="496" y="252"/>
                    <a:pt x="496" y="252"/>
                    <a:pt x="496" y="252"/>
                  </a:cubicBezTo>
                  <a:cubicBezTo>
                    <a:pt x="506" y="244"/>
                    <a:pt x="506" y="244"/>
                    <a:pt x="506" y="244"/>
                  </a:cubicBezTo>
                  <a:cubicBezTo>
                    <a:pt x="505" y="228"/>
                    <a:pt x="505" y="228"/>
                    <a:pt x="505" y="228"/>
                  </a:cubicBezTo>
                  <a:cubicBezTo>
                    <a:pt x="502" y="228"/>
                    <a:pt x="499" y="229"/>
                    <a:pt x="496" y="229"/>
                  </a:cubicBezTo>
                  <a:cubicBezTo>
                    <a:pt x="426" y="229"/>
                    <a:pt x="399" y="163"/>
                    <a:pt x="386" y="94"/>
                  </a:cubicBezTo>
                  <a:cubicBezTo>
                    <a:pt x="379" y="55"/>
                    <a:pt x="377" y="24"/>
                    <a:pt x="377" y="0"/>
                  </a:cubicBezTo>
                </a:path>
              </a:pathLst>
            </a:custGeom>
            <a:solidFill>
              <a:srgbClr val="F16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iṥľiďé">
              <a:extLst>
                <a:ext uri="{FF2B5EF4-FFF2-40B4-BE49-F238E27FC236}">
                  <a16:creationId xmlns:a16="http://schemas.microsoft.com/office/drawing/2014/main" id="{CB0C3E23-3A00-4C61-95E6-884B42D328A9}"/>
                </a:ext>
              </a:extLst>
            </p:cNvPr>
            <p:cNvSpPr/>
            <p:nvPr/>
          </p:nvSpPr>
          <p:spPr bwMode="auto">
            <a:xfrm>
              <a:off x="7315465" y="5846714"/>
              <a:ext cx="70659" cy="26802"/>
            </a:xfrm>
            <a:custGeom>
              <a:avLst/>
              <a:gdLst>
                <a:gd name="T0" fmla="*/ 0 w 14"/>
                <a:gd name="T1" fmla="*/ 5 h 5"/>
                <a:gd name="T2" fmla="*/ 0 w 14"/>
                <a:gd name="T3" fmla="*/ 5 h 5"/>
                <a:gd name="T4" fmla="*/ 0 w 14"/>
                <a:gd name="T5" fmla="*/ 5 h 5"/>
                <a:gd name="T6" fmla="*/ 0 w 14"/>
                <a:gd name="T7" fmla="*/ 5 h 5"/>
                <a:gd name="T8" fmla="*/ 1 w 14"/>
                <a:gd name="T9" fmla="*/ 5 h 5"/>
                <a:gd name="T10" fmla="*/ 1 w 14"/>
                <a:gd name="T11" fmla="*/ 5 h 5"/>
                <a:gd name="T12" fmla="*/ 1 w 14"/>
                <a:gd name="T13" fmla="*/ 5 h 5"/>
                <a:gd name="T14" fmla="*/ 1 w 14"/>
                <a:gd name="T15" fmla="*/ 5 h 5"/>
                <a:gd name="T16" fmla="*/ 2 w 14"/>
                <a:gd name="T17" fmla="*/ 4 h 5"/>
                <a:gd name="T18" fmla="*/ 1 w 14"/>
                <a:gd name="T19" fmla="*/ 5 h 5"/>
                <a:gd name="T20" fmla="*/ 2 w 14"/>
                <a:gd name="T21" fmla="*/ 4 h 5"/>
                <a:gd name="T22" fmla="*/ 2 w 14"/>
                <a:gd name="T23" fmla="*/ 4 h 5"/>
                <a:gd name="T24" fmla="*/ 2 w 14"/>
                <a:gd name="T25" fmla="*/ 4 h 5"/>
                <a:gd name="T26" fmla="*/ 2 w 14"/>
                <a:gd name="T27" fmla="*/ 4 h 5"/>
                <a:gd name="T28" fmla="*/ 2 w 14"/>
                <a:gd name="T29" fmla="*/ 4 h 5"/>
                <a:gd name="T30" fmla="*/ 2 w 14"/>
                <a:gd name="T31" fmla="*/ 4 h 5"/>
                <a:gd name="T32" fmla="*/ 3 w 14"/>
                <a:gd name="T33" fmla="*/ 4 h 5"/>
                <a:gd name="T34" fmla="*/ 3 w 14"/>
                <a:gd name="T35" fmla="*/ 4 h 5"/>
                <a:gd name="T36" fmla="*/ 3 w 14"/>
                <a:gd name="T37" fmla="*/ 4 h 5"/>
                <a:gd name="T38" fmla="*/ 3 w 14"/>
                <a:gd name="T39" fmla="*/ 4 h 5"/>
                <a:gd name="T40" fmla="*/ 3 w 14"/>
                <a:gd name="T41" fmla="*/ 4 h 5"/>
                <a:gd name="T42" fmla="*/ 3 w 14"/>
                <a:gd name="T43" fmla="*/ 4 h 5"/>
                <a:gd name="T44" fmla="*/ 3 w 14"/>
                <a:gd name="T45" fmla="*/ 4 h 5"/>
                <a:gd name="T46" fmla="*/ 3 w 14"/>
                <a:gd name="T47" fmla="*/ 4 h 5"/>
                <a:gd name="T48" fmla="*/ 3 w 14"/>
                <a:gd name="T49" fmla="*/ 4 h 5"/>
                <a:gd name="T50" fmla="*/ 3 w 14"/>
                <a:gd name="T51" fmla="*/ 4 h 5"/>
                <a:gd name="T52" fmla="*/ 4 w 14"/>
                <a:gd name="T53" fmla="*/ 4 h 5"/>
                <a:gd name="T54" fmla="*/ 4 w 14"/>
                <a:gd name="T55" fmla="*/ 4 h 5"/>
                <a:gd name="T56" fmla="*/ 4 w 14"/>
                <a:gd name="T57" fmla="*/ 4 h 5"/>
                <a:gd name="T58" fmla="*/ 5 w 14"/>
                <a:gd name="T59" fmla="*/ 3 h 5"/>
                <a:gd name="T60" fmla="*/ 4 w 14"/>
                <a:gd name="T61" fmla="*/ 3 h 5"/>
                <a:gd name="T62" fmla="*/ 5 w 14"/>
                <a:gd name="T63" fmla="*/ 3 h 5"/>
                <a:gd name="T64" fmla="*/ 5 w 14"/>
                <a:gd name="T65" fmla="*/ 3 h 5"/>
                <a:gd name="T66" fmla="*/ 5 w 14"/>
                <a:gd name="T67" fmla="*/ 3 h 5"/>
                <a:gd name="T68" fmla="*/ 5 w 14"/>
                <a:gd name="T69" fmla="*/ 3 h 5"/>
                <a:gd name="T70" fmla="*/ 6 w 14"/>
                <a:gd name="T71" fmla="*/ 3 h 5"/>
                <a:gd name="T72" fmla="*/ 6 w 14"/>
                <a:gd name="T73" fmla="*/ 3 h 5"/>
                <a:gd name="T74" fmla="*/ 6 w 14"/>
                <a:gd name="T75" fmla="*/ 3 h 5"/>
                <a:gd name="T76" fmla="*/ 6 w 14"/>
                <a:gd name="T77" fmla="*/ 3 h 5"/>
                <a:gd name="T78" fmla="*/ 6 w 14"/>
                <a:gd name="T79" fmla="*/ 3 h 5"/>
                <a:gd name="T80" fmla="*/ 6 w 14"/>
                <a:gd name="T81" fmla="*/ 3 h 5"/>
                <a:gd name="T82" fmla="*/ 7 w 14"/>
                <a:gd name="T83" fmla="*/ 2 h 5"/>
                <a:gd name="T84" fmla="*/ 7 w 14"/>
                <a:gd name="T85" fmla="*/ 3 h 5"/>
                <a:gd name="T86" fmla="*/ 7 w 14"/>
                <a:gd name="T87" fmla="*/ 2 h 5"/>
                <a:gd name="T88" fmla="*/ 8 w 14"/>
                <a:gd name="T89" fmla="*/ 2 h 5"/>
                <a:gd name="T90" fmla="*/ 7 w 14"/>
                <a:gd name="T91" fmla="*/ 2 h 5"/>
                <a:gd name="T92" fmla="*/ 8 w 14"/>
                <a:gd name="T93" fmla="*/ 2 h 5"/>
                <a:gd name="T94" fmla="*/ 12 w 14"/>
                <a:gd name="T95" fmla="*/ 1 h 5"/>
                <a:gd name="T96" fmla="*/ 12 w 14"/>
                <a:gd name="T97" fmla="*/ 1 h 5"/>
                <a:gd name="T98" fmla="*/ 12 w 14"/>
                <a:gd name="T99" fmla="*/ 1 h 5"/>
                <a:gd name="T100" fmla="*/ 12 w 14"/>
                <a:gd name="T101" fmla="*/ 1 h 5"/>
                <a:gd name="T102" fmla="*/ 12 w 14"/>
                <a:gd name="T103" fmla="*/ 1 h 5"/>
                <a:gd name="T104" fmla="*/ 12 w 14"/>
                <a:gd name="T105" fmla="*/ 1 h 5"/>
                <a:gd name="T106" fmla="*/ 13 w 14"/>
                <a:gd name="T107" fmla="*/ 0 h 5"/>
                <a:gd name="T108" fmla="*/ 13 w 14"/>
                <a:gd name="T109" fmla="*/ 0 h 5"/>
                <a:gd name="T110" fmla="*/ 13 w 14"/>
                <a:gd name="T111" fmla="*/ 0 h 5"/>
                <a:gd name="T112" fmla="*/ 13 w 14"/>
                <a:gd name="T113" fmla="*/ 0 h 5"/>
                <a:gd name="T114" fmla="*/ 13 w 14"/>
                <a:gd name="T115" fmla="*/ 0 h 5"/>
                <a:gd name="T116" fmla="*/ 13 w 14"/>
                <a:gd name="T117" fmla="*/ 0 h 5"/>
                <a:gd name="T118" fmla="*/ 14 w 14"/>
                <a:gd name="T119" fmla="*/ 0 h 5"/>
                <a:gd name="T120" fmla="*/ 14 w 14"/>
                <a:gd name="T121" fmla="*/ 0 h 5"/>
                <a:gd name="T122" fmla="*/ 14 w 14"/>
                <a:gd name="T12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moveTo>
                    <a:pt x="2" y="4"/>
                  </a:moveTo>
                  <a:cubicBezTo>
                    <a:pt x="2" y="4"/>
                    <a:pt x="1" y="5"/>
                    <a:pt x="1" y="5"/>
                  </a:cubicBezTo>
                  <a:cubicBezTo>
                    <a:pt x="1" y="5"/>
                    <a:pt x="2" y="5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moveTo>
                    <a:pt x="5" y="3"/>
                  </a:moveTo>
                  <a:cubicBezTo>
                    <a:pt x="5" y="3"/>
                    <a:pt x="5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moveTo>
                    <a:pt x="6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moveTo>
                    <a:pt x="6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moveTo>
                    <a:pt x="7" y="2"/>
                  </a:move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2"/>
                  </a:cubicBezTo>
                  <a:moveTo>
                    <a:pt x="8" y="2"/>
                  </a:move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8" y="2"/>
                    <a:pt x="8" y="2"/>
                  </a:cubicBezTo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D6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ś1íḋé">
              <a:extLst>
                <a:ext uri="{FF2B5EF4-FFF2-40B4-BE49-F238E27FC236}">
                  <a16:creationId xmlns:a16="http://schemas.microsoft.com/office/drawing/2014/main" id="{8FDFE20C-83AB-420A-80FB-D002C1369E43}"/>
                </a:ext>
              </a:extLst>
            </p:cNvPr>
            <p:cNvSpPr/>
            <p:nvPr/>
          </p:nvSpPr>
          <p:spPr bwMode="auto">
            <a:xfrm>
              <a:off x="4744965" y="2859575"/>
              <a:ext cx="3705905" cy="3267336"/>
            </a:xfrm>
            <a:custGeom>
              <a:avLst/>
              <a:gdLst>
                <a:gd name="T0" fmla="*/ 405 w 731"/>
                <a:gd name="T1" fmla="*/ 559 h 645"/>
                <a:gd name="T2" fmla="*/ 352 w 731"/>
                <a:gd name="T3" fmla="*/ 518 h 645"/>
                <a:gd name="T4" fmla="*/ 546 w 731"/>
                <a:gd name="T5" fmla="*/ 0 h 645"/>
                <a:gd name="T6" fmla="*/ 496 w 731"/>
                <a:gd name="T7" fmla="*/ 266 h 645"/>
                <a:gd name="T8" fmla="*/ 496 w 731"/>
                <a:gd name="T9" fmla="*/ 289 h 645"/>
                <a:gd name="T10" fmla="*/ 367 w 731"/>
                <a:gd name="T11" fmla="*/ 489 h 645"/>
                <a:gd name="T12" fmla="*/ 359 w 731"/>
                <a:gd name="T13" fmla="*/ 489 h 645"/>
                <a:gd name="T14" fmla="*/ 301 w 731"/>
                <a:gd name="T15" fmla="*/ 355 h 645"/>
                <a:gd name="T16" fmla="*/ 304 w 731"/>
                <a:gd name="T17" fmla="*/ 319 h 645"/>
                <a:gd name="T18" fmla="*/ 275 w 731"/>
                <a:gd name="T19" fmla="*/ 338 h 645"/>
                <a:gd name="T20" fmla="*/ 256 w 731"/>
                <a:gd name="T21" fmla="*/ 290 h 645"/>
                <a:gd name="T22" fmla="*/ 241 w 731"/>
                <a:gd name="T23" fmla="*/ 380 h 645"/>
                <a:gd name="T24" fmla="*/ 324 w 731"/>
                <a:gd name="T25" fmla="*/ 607 h 645"/>
                <a:gd name="T26" fmla="*/ 162 w 731"/>
                <a:gd name="T27" fmla="*/ 333 h 645"/>
                <a:gd name="T28" fmla="*/ 113 w 731"/>
                <a:gd name="T29" fmla="*/ 444 h 645"/>
                <a:gd name="T30" fmla="*/ 217 w 731"/>
                <a:gd name="T31" fmla="*/ 603 h 645"/>
                <a:gd name="T32" fmla="*/ 197 w 731"/>
                <a:gd name="T33" fmla="*/ 600 h 645"/>
                <a:gd name="T34" fmla="*/ 507 w 731"/>
                <a:gd name="T35" fmla="*/ 595 h 645"/>
                <a:gd name="T36" fmla="*/ 508 w 731"/>
                <a:gd name="T37" fmla="*/ 595 h 645"/>
                <a:gd name="T38" fmla="*/ 508 w 731"/>
                <a:gd name="T39" fmla="*/ 595 h 645"/>
                <a:gd name="T40" fmla="*/ 509 w 731"/>
                <a:gd name="T41" fmla="*/ 594 h 645"/>
                <a:gd name="T42" fmla="*/ 510 w 731"/>
                <a:gd name="T43" fmla="*/ 594 h 645"/>
                <a:gd name="T44" fmla="*/ 511 w 731"/>
                <a:gd name="T45" fmla="*/ 594 h 645"/>
                <a:gd name="T46" fmla="*/ 512 w 731"/>
                <a:gd name="T47" fmla="*/ 593 h 645"/>
                <a:gd name="T48" fmla="*/ 513 w 731"/>
                <a:gd name="T49" fmla="*/ 593 h 645"/>
                <a:gd name="T50" fmla="*/ 513 w 731"/>
                <a:gd name="T51" fmla="*/ 593 h 645"/>
                <a:gd name="T52" fmla="*/ 514 w 731"/>
                <a:gd name="T53" fmla="*/ 592 h 645"/>
                <a:gd name="T54" fmla="*/ 519 w 731"/>
                <a:gd name="T55" fmla="*/ 591 h 645"/>
                <a:gd name="T56" fmla="*/ 520 w 731"/>
                <a:gd name="T57" fmla="*/ 590 h 645"/>
                <a:gd name="T58" fmla="*/ 520 w 731"/>
                <a:gd name="T59" fmla="*/ 590 h 645"/>
                <a:gd name="T60" fmla="*/ 530 w 731"/>
                <a:gd name="T61" fmla="*/ 586 h 645"/>
                <a:gd name="T62" fmla="*/ 531 w 731"/>
                <a:gd name="T63" fmla="*/ 586 h 645"/>
                <a:gd name="T64" fmla="*/ 532 w 731"/>
                <a:gd name="T65" fmla="*/ 585 h 645"/>
                <a:gd name="T66" fmla="*/ 533 w 731"/>
                <a:gd name="T67" fmla="*/ 585 h 645"/>
                <a:gd name="T68" fmla="*/ 534 w 731"/>
                <a:gd name="T69" fmla="*/ 584 h 645"/>
                <a:gd name="T70" fmla="*/ 535 w 731"/>
                <a:gd name="T71" fmla="*/ 584 h 645"/>
                <a:gd name="T72" fmla="*/ 536 w 731"/>
                <a:gd name="T73" fmla="*/ 584 h 645"/>
                <a:gd name="T74" fmla="*/ 537 w 731"/>
                <a:gd name="T75" fmla="*/ 583 h 645"/>
                <a:gd name="T76" fmla="*/ 537 w 731"/>
                <a:gd name="T77" fmla="*/ 583 h 645"/>
                <a:gd name="T78" fmla="*/ 708 w 731"/>
                <a:gd name="T79" fmla="*/ 455 h 645"/>
                <a:gd name="T80" fmla="*/ 701 w 731"/>
                <a:gd name="T81" fmla="*/ 439 h 645"/>
                <a:gd name="T82" fmla="*/ 701 w 731"/>
                <a:gd name="T83" fmla="*/ 439 h 645"/>
                <a:gd name="T84" fmla="*/ 705 w 731"/>
                <a:gd name="T85" fmla="*/ 432 h 645"/>
                <a:gd name="T86" fmla="*/ 721 w 731"/>
                <a:gd name="T87" fmla="*/ 392 h 645"/>
                <a:gd name="T88" fmla="*/ 623 w 731"/>
                <a:gd name="T89" fmla="*/ 200 h 645"/>
                <a:gd name="T90" fmla="*/ 629 w 731"/>
                <a:gd name="T91" fmla="*/ 193 h 645"/>
                <a:gd name="T92" fmla="*/ 635 w 731"/>
                <a:gd name="T93" fmla="*/ 184 h 645"/>
                <a:gd name="T94" fmla="*/ 640 w 731"/>
                <a:gd name="T95" fmla="*/ 175 h 645"/>
                <a:gd name="T96" fmla="*/ 645 w 731"/>
                <a:gd name="T97" fmla="*/ 165 h 645"/>
                <a:gd name="T98" fmla="*/ 649 w 731"/>
                <a:gd name="T99" fmla="*/ 155 h 645"/>
                <a:gd name="T100" fmla="*/ 651 w 731"/>
                <a:gd name="T101" fmla="*/ 149 h 645"/>
                <a:gd name="T102" fmla="*/ 671 w 731"/>
                <a:gd name="T103" fmla="*/ 175 h 645"/>
                <a:gd name="T104" fmla="*/ 658 w 731"/>
                <a:gd name="T105" fmla="*/ 145 h 645"/>
                <a:gd name="T106" fmla="*/ 682 w 731"/>
                <a:gd name="T107" fmla="*/ 147 h 645"/>
                <a:gd name="T108" fmla="*/ 697 w 731"/>
                <a:gd name="T109" fmla="*/ 113 h 645"/>
                <a:gd name="T110" fmla="*/ 731 w 731"/>
                <a:gd name="T111" fmla="*/ 45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31" h="645">
                  <a:moveTo>
                    <a:pt x="405" y="559"/>
                  </a:moveTo>
                  <a:cubicBezTo>
                    <a:pt x="404" y="559"/>
                    <a:pt x="404" y="559"/>
                    <a:pt x="404" y="559"/>
                  </a:cubicBezTo>
                  <a:cubicBezTo>
                    <a:pt x="405" y="559"/>
                    <a:pt x="405" y="559"/>
                    <a:pt x="405" y="559"/>
                  </a:cubicBezTo>
                  <a:cubicBezTo>
                    <a:pt x="405" y="559"/>
                    <a:pt x="405" y="559"/>
                    <a:pt x="405" y="559"/>
                  </a:cubicBezTo>
                  <a:moveTo>
                    <a:pt x="352" y="518"/>
                  </a:moveTo>
                  <a:cubicBezTo>
                    <a:pt x="352" y="518"/>
                    <a:pt x="352" y="518"/>
                    <a:pt x="352" y="518"/>
                  </a:cubicBezTo>
                  <a:cubicBezTo>
                    <a:pt x="352" y="518"/>
                    <a:pt x="352" y="518"/>
                    <a:pt x="352" y="518"/>
                  </a:cubicBezTo>
                  <a:cubicBezTo>
                    <a:pt x="352" y="518"/>
                    <a:pt x="352" y="518"/>
                    <a:pt x="352" y="518"/>
                  </a:cubicBezTo>
                  <a:moveTo>
                    <a:pt x="546" y="0"/>
                  </a:moveTo>
                  <a:cubicBezTo>
                    <a:pt x="486" y="0"/>
                    <a:pt x="429" y="13"/>
                    <a:pt x="377" y="37"/>
                  </a:cubicBezTo>
                  <a:cubicBezTo>
                    <a:pt x="377" y="61"/>
                    <a:pt x="379" y="92"/>
                    <a:pt x="386" y="131"/>
                  </a:cubicBezTo>
                  <a:cubicBezTo>
                    <a:pt x="399" y="200"/>
                    <a:pt x="426" y="266"/>
                    <a:pt x="496" y="266"/>
                  </a:cubicBezTo>
                  <a:cubicBezTo>
                    <a:pt x="499" y="266"/>
                    <a:pt x="502" y="265"/>
                    <a:pt x="505" y="265"/>
                  </a:cubicBezTo>
                  <a:cubicBezTo>
                    <a:pt x="506" y="281"/>
                    <a:pt x="506" y="281"/>
                    <a:pt x="506" y="281"/>
                  </a:cubicBezTo>
                  <a:cubicBezTo>
                    <a:pt x="496" y="289"/>
                    <a:pt x="496" y="289"/>
                    <a:pt x="496" y="289"/>
                  </a:cubicBezTo>
                  <a:cubicBezTo>
                    <a:pt x="446" y="325"/>
                    <a:pt x="446" y="325"/>
                    <a:pt x="446" y="325"/>
                  </a:cubicBezTo>
                  <a:cubicBezTo>
                    <a:pt x="445" y="330"/>
                    <a:pt x="445" y="330"/>
                    <a:pt x="445" y="330"/>
                  </a:cubicBezTo>
                  <a:cubicBezTo>
                    <a:pt x="367" y="489"/>
                    <a:pt x="367" y="489"/>
                    <a:pt x="367" y="489"/>
                  </a:cubicBezTo>
                  <a:cubicBezTo>
                    <a:pt x="366" y="488"/>
                    <a:pt x="366" y="488"/>
                    <a:pt x="366" y="488"/>
                  </a:cubicBezTo>
                  <a:cubicBezTo>
                    <a:pt x="365" y="487"/>
                    <a:pt x="364" y="487"/>
                    <a:pt x="363" y="487"/>
                  </a:cubicBezTo>
                  <a:cubicBezTo>
                    <a:pt x="361" y="487"/>
                    <a:pt x="360" y="487"/>
                    <a:pt x="359" y="489"/>
                  </a:cubicBezTo>
                  <a:cubicBezTo>
                    <a:pt x="347" y="503"/>
                    <a:pt x="347" y="503"/>
                    <a:pt x="347" y="503"/>
                  </a:cubicBezTo>
                  <a:cubicBezTo>
                    <a:pt x="303" y="361"/>
                    <a:pt x="303" y="361"/>
                    <a:pt x="303" y="361"/>
                  </a:cubicBezTo>
                  <a:cubicBezTo>
                    <a:pt x="303" y="359"/>
                    <a:pt x="302" y="357"/>
                    <a:pt x="301" y="355"/>
                  </a:cubicBezTo>
                  <a:cubicBezTo>
                    <a:pt x="313" y="333"/>
                    <a:pt x="313" y="333"/>
                    <a:pt x="313" y="333"/>
                  </a:cubicBezTo>
                  <a:cubicBezTo>
                    <a:pt x="315" y="328"/>
                    <a:pt x="314" y="322"/>
                    <a:pt x="309" y="320"/>
                  </a:cubicBezTo>
                  <a:cubicBezTo>
                    <a:pt x="308" y="319"/>
                    <a:pt x="306" y="319"/>
                    <a:pt x="304" y="319"/>
                  </a:cubicBezTo>
                  <a:cubicBezTo>
                    <a:pt x="301" y="319"/>
                    <a:pt x="298" y="321"/>
                    <a:pt x="296" y="324"/>
                  </a:cubicBezTo>
                  <a:cubicBezTo>
                    <a:pt x="286" y="342"/>
                    <a:pt x="286" y="342"/>
                    <a:pt x="286" y="342"/>
                  </a:cubicBezTo>
                  <a:cubicBezTo>
                    <a:pt x="283" y="340"/>
                    <a:pt x="279" y="339"/>
                    <a:pt x="275" y="338"/>
                  </a:cubicBezTo>
                  <a:cubicBezTo>
                    <a:pt x="276" y="333"/>
                    <a:pt x="279" y="316"/>
                    <a:pt x="277" y="305"/>
                  </a:cubicBezTo>
                  <a:cubicBezTo>
                    <a:pt x="275" y="295"/>
                    <a:pt x="267" y="287"/>
                    <a:pt x="261" y="287"/>
                  </a:cubicBezTo>
                  <a:cubicBezTo>
                    <a:pt x="259" y="287"/>
                    <a:pt x="257" y="288"/>
                    <a:pt x="256" y="290"/>
                  </a:cubicBezTo>
                  <a:cubicBezTo>
                    <a:pt x="250" y="299"/>
                    <a:pt x="260" y="303"/>
                    <a:pt x="261" y="315"/>
                  </a:cubicBezTo>
                  <a:cubicBezTo>
                    <a:pt x="262" y="322"/>
                    <a:pt x="259" y="334"/>
                    <a:pt x="257" y="342"/>
                  </a:cubicBezTo>
                  <a:cubicBezTo>
                    <a:pt x="243" y="349"/>
                    <a:pt x="237" y="365"/>
                    <a:pt x="241" y="380"/>
                  </a:cubicBezTo>
                  <a:cubicBezTo>
                    <a:pt x="302" y="575"/>
                    <a:pt x="302" y="575"/>
                    <a:pt x="302" y="575"/>
                  </a:cubicBezTo>
                  <a:cubicBezTo>
                    <a:pt x="305" y="585"/>
                    <a:pt x="312" y="594"/>
                    <a:pt x="320" y="600"/>
                  </a:cubicBezTo>
                  <a:cubicBezTo>
                    <a:pt x="321" y="603"/>
                    <a:pt x="322" y="605"/>
                    <a:pt x="324" y="607"/>
                  </a:cubicBezTo>
                  <a:cubicBezTo>
                    <a:pt x="277" y="607"/>
                    <a:pt x="277" y="607"/>
                    <a:pt x="277" y="607"/>
                  </a:cubicBezTo>
                  <a:cubicBezTo>
                    <a:pt x="185" y="349"/>
                    <a:pt x="185" y="349"/>
                    <a:pt x="185" y="349"/>
                  </a:cubicBezTo>
                  <a:cubicBezTo>
                    <a:pt x="182" y="339"/>
                    <a:pt x="173" y="333"/>
                    <a:pt x="162" y="333"/>
                  </a:cubicBezTo>
                  <a:cubicBezTo>
                    <a:pt x="129" y="333"/>
                    <a:pt x="129" y="333"/>
                    <a:pt x="129" y="333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1" y="394"/>
                    <a:pt x="51" y="444"/>
                    <a:pt x="113" y="444"/>
                  </a:cubicBezTo>
                  <a:cubicBezTo>
                    <a:pt x="125" y="444"/>
                    <a:pt x="136" y="442"/>
                    <a:pt x="147" y="438"/>
                  </a:cubicBezTo>
                  <a:cubicBezTo>
                    <a:pt x="152" y="495"/>
                    <a:pt x="169" y="548"/>
                    <a:pt x="195" y="595"/>
                  </a:cubicBezTo>
                  <a:cubicBezTo>
                    <a:pt x="202" y="598"/>
                    <a:pt x="210" y="600"/>
                    <a:pt x="217" y="603"/>
                  </a:cubicBezTo>
                  <a:cubicBezTo>
                    <a:pt x="217" y="603"/>
                    <a:pt x="217" y="603"/>
                    <a:pt x="217" y="603"/>
                  </a:cubicBezTo>
                  <a:cubicBezTo>
                    <a:pt x="217" y="603"/>
                    <a:pt x="217" y="603"/>
                    <a:pt x="217" y="603"/>
                  </a:cubicBezTo>
                  <a:cubicBezTo>
                    <a:pt x="211" y="602"/>
                    <a:pt x="204" y="601"/>
                    <a:pt x="197" y="600"/>
                  </a:cubicBezTo>
                  <a:cubicBezTo>
                    <a:pt x="206" y="614"/>
                    <a:pt x="215" y="628"/>
                    <a:pt x="225" y="642"/>
                  </a:cubicBezTo>
                  <a:cubicBezTo>
                    <a:pt x="244" y="644"/>
                    <a:pt x="264" y="645"/>
                    <a:pt x="284" y="645"/>
                  </a:cubicBezTo>
                  <a:cubicBezTo>
                    <a:pt x="360" y="645"/>
                    <a:pt x="437" y="628"/>
                    <a:pt x="507" y="595"/>
                  </a:cubicBezTo>
                  <a:cubicBezTo>
                    <a:pt x="507" y="595"/>
                    <a:pt x="507" y="595"/>
                    <a:pt x="507" y="595"/>
                  </a:cubicBezTo>
                  <a:cubicBezTo>
                    <a:pt x="507" y="595"/>
                    <a:pt x="507" y="595"/>
                    <a:pt x="507" y="595"/>
                  </a:cubicBezTo>
                  <a:cubicBezTo>
                    <a:pt x="507" y="595"/>
                    <a:pt x="508" y="595"/>
                    <a:pt x="508" y="595"/>
                  </a:cubicBezTo>
                  <a:cubicBezTo>
                    <a:pt x="508" y="595"/>
                    <a:pt x="508" y="595"/>
                    <a:pt x="508" y="595"/>
                  </a:cubicBezTo>
                  <a:cubicBezTo>
                    <a:pt x="508" y="595"/>
                    <a:pt x="508" y="595"/>
                    <a:pt x="508" y="595"/>
                  </a:cubicBezTo>
                  <a:cubicBezTo>
                    <a:pt x="508" y="595"/>
                    <a:pt x="508" y="595"/>
                    <a:pt x="508" y="595"/>
                  </a:cubicBezTo>
                  <a:cubicBezTo>
                    <a:pt x="508" y="595"/>
                    <a:pt x="508" y="595"/>
                    <a:pt x="508" y="595"/>
                  </a:cubicBezTo>
                  <a:cubicBezTo>
                    <a:pt x="508" y="595"/>
                    <a:pt x="509" y="594"/>
                    <a:pt x="509" y="594"/>
                  </a:cubicBezTo>
                  <a:cubicBezTo>
                    <a:pt x="509" y="594"/>
                    <a:pt x="509" y="594"/>
                    <a:pt x="509" y="594"/>
                  </a:cubicBezTo>
                  <a:cubicBezTo>
                    <a:pt x="509" y="594"/>
                    <a:pt x="509" y="594"/>
                    <a:pt x="509" y="594"/>
                  </a:cubicBezTo>
                  <a:cubicBezTo>
                    <a:pt x="509" y="594"/>
                    <a:pt x="510" y="594"/>
                    <a:pt x="510" y="594"/>
                  </a:cubicBezTo>
                  <a:cubicBezTo>
                    <a:pt x="510" y="594"/>
                    <a:pt x="510" y="594"/>
                    <a:pt x="510" y="594"/>
                  </a:cubicBezTo>
                  <a:cubicBezTo>
                    <a:pt x="510" y="594"/>
                    <a:pt x="510" y="594"/>
                    <a:pt x="510" y="594"/>
                  </a:cubicBezTo>
                  <a:cubicBezTo>
                    <a:pt x="510" y="594"/>
                    <a:pt x="510" y="594"/>
                    <a:pt x="510" y="594"/>
                  </a:cubicBezTo>
                  <a:cubicBezTo>
                    <a:pt x="511" y="594"/>
                    <a:pt x="511" y="594"/>
                    <a:pt x="511" y="594"/>
                  </a:cubicBezTo>
                  <a:cubicBezTo>
                    <a:pt x="511" y="594"/>
                    <a:pt x="511" y="594"/>
                    <a:pt x="511" y="594"/>
                  </a:cubicBezTo>
                  <a:cubicBezTo>
                    <a:pt x="511" y="594"/>
                    <a:pt x="511" y="593"/>
                    <a:pt x="511" y="593"/>
                  </a:cubicBezTo>
                  <a:cubicBezTo>
                    <a:pt x="512" y="593"/>
                    <a:pt x="512" y="593"/>
                    <a:pt x="512" y="593"/>
                  </a:cubicBezTo>
                  <a:cubicBezTo>
                    <a:pt x="512" y="593"/>
                    <a:pt x="512" y="593"/>
                    <a:pt x="512" y="593"/>
                  </a:cubicBezTo>
                  <a:cubicBezTo>
                    <a:pt x="512" y="593"/>
                    <a:pt x="512" y="593"/>
                    <a:pt x="512" y="593"/>
                  </a:cubicBezTo>
                  <a:cubicBezTo>
                    <a:pt x="512" y="593"/>
                    <a:pt x="513" y="593"/>
                    <a:pt x="513" y="593"/>
                  </a:cubicBezTo>
                  <a:cubicBezTo>
                    <a:pt x="513" y="593"/>
                    <a:pt x="513" y="593"/>
                    <a:pt x="513" y="593"/>
                  </a:cubicBezTo>
                  <a:cubicBezTo>
                    <a:pt x="513" y="593"/>
                    <a:pt x="513" y="593"/>
                    <a:pt x="513" y="593"/>
                  </a:cubicBezTo>
                  <a:cubicBezTo>
                    <a:pt x="513" y="593"/>
                    <a:pt x="513" y="593"/>
                    <a:pt x="513" y="593"/>
                  </a:cubicBezTo>
                  <a:cubicBezTo>
                    <a:pt x="514" y="593"/>
                    <a:pt x="514" y="593"/>
                    <a:pt x="514" y="593"/>
                  </a:cubicBezTo>
                  <a:cubicBezTo>
                    <a:pt x="514" y="593"/>
                    <a:pt x="514" y="593"/>
                    <a:pt x="514" y="592"/>
                  </a:cubicBezTo>
                  <a:cubicBezTo>
                    <a:pt x="514" y="592"/>
                    <a:pt x="514" y="592"/>
                    <a:pt x="514" y="592"/>
                  </a:cubicBezTo>
                  <a:cubicBezTo>
                    <a:pt x="514" y="592"/>
                    <a:pt x="515" y="592"/>
                    <a:pt x="515" y="592"/>
                  </a:cubicBezTo>
                  <a:cubicBezTo>
                    <a:pt x="516" y="592"/>
                    <a:pt x="517" y="591"/>
                    <a:pt x="519" y="591"/>
                  </a:cubicBezTo>
                  <a:cubicBezTo>
                    <a:pt x="519" y="591"/>
                    <a:pt x="519" y="591"/>
                    <a:pt x="519" y="591"/>
                  </a:cubicBezTo>
                  <a:cubicBezTo>
                    <a:pt x="519" y="591"/>
                    <a:pt x="519" y="591"/>
                    <a:pt x="519" y="591"/>
                  </a:cubicBezTo>
                  <a:cubicBezTo>
                    <a:pt x="519" y="591"/>
                    <a:pt x="519" y="591"/>
                    <a:pt x="519" y="591"/>
                  </a:cubicBezTo>
                  <a:cubicBezTo>
                    <a:pt x="519" y="590"/>
                    <a:pt x="520" y="590"/>
                    <a:pt x="520" y="590"/>
                  </a:cubicBezTo>
                  <a:cubicBezTo>
                    <a:pt x="520" y="590"/>
                    <a:pt x="520" y="590"/>
                    <a:pt x="520" y="590"/>
                  </a:cubicBezTo>
                  <a:cubicBezTo>
                    <a:pt x="520" y="590"/>
                    <a:pt x="520" y="590"/>
                    <a:pt x="520" y="590"/>
                  </a:cubicBezTo>
                  <a:cubicBezTo>
                    <a:pt x="520" y="590"/>
                    <a:pt x="520" y="590"/>
                    <a:pt x="520" y="590"/>
                  </a:cubicBezTo>
                  <a:cubicBezTo>
                    <a:pt x="520" y="590"/>
                    <a:pt x="521" y="590"/>
                    <a:pt x="521" y="590"/>
                  </a:cubicBezTo>
                  <a:cubicBezTo>
                    <a:pt x="521" y="590"/>
                    <a:pt x="521" y="590"/>
                    <a:pt x="521" y="590"/>
                  </a:cubicBezTo>
                  <a:cubicBezTo>
                    <a:pt x="524" y="589"/>
                    <a:pt x="527" y="587"/>
                    <a:pt x="530" y="586"/>
                  </a:cubicBezTo>
                  <a:cubicBezTo>
                    <a:pt x="530" y="586"/>
                    <a:pt x="530" y="586"/>
                    <a:pt x="530" y="586"/>
                  </a:cubicBezTo>
                  <a:cubicBezTo>
                    <a:pt x="530" y="586"/>
                    <a:pt x="530" y="586"/>
                    <a:pt x="531" y="586"/>
                  </a:cubicBezTo>
                  <a:cubicBezTo>
                    <a:pt x="531" y="586"/>
                    <a:pt x="531" y="586"/>
                    <a:pt x="531" y="586"/>
                  </a:cubicBezTo>
                  <a:cubicBezTo>
                    <a:pt x="531" y="586"/>
                    <a:pt x="531" y="586"/>
                    <a:pt x="531" y="586"/>
                  </a:cubicBezTo>
                  <a:cubicBezTo>
                    <a:pt x="531" y="586"/>
                    <a:pt x="531" y="586"/>
                    <a:pt x="531" y="586"/>
                  </a:cubicBezTo>
                  <a:cubicBezTo>
                    <a:pt x="532" y="585"/>
                    <a:pt x="532" y="585"/>
                    <a:pt x="532" y="585"/>
                  </a:cubicBezTo>
                  <a:cubicBezTo>
                    <a:pt x="532" y="585"/>
                    <a:pt x="532" y="585"/>
                    <a:pt x="532" y="585"/>
                  </a:cubicBezTo>
                  <a:cubicBezTo>
                    <a:pt x="533" y="585"/>
                    <a:pt x="533" y="585"/>
                    <a:pt x="533" y="585"/>
                  </a:cubicBezTo>
                  <a:cubicBezTo>
                    <a:pt x="533" y="585"/>
                    <a:pt x="533" y="585"/>
                    <a:pt x="533" y="585"/>
                  </a:cubicBezTo>
                  <a:cubicBezTo>
                    <a:pt x="533" y="585"/>
                    <a:pt x="533" y="585"/>
                    <a:pt x="533" y="585"/>
                  </a:cubicBezTo>
                  <a:cubicBezTo>
                    <a:pt x="533" y="585"/>
                    <a:pt x="534" y="585"/>
                    <a:pt x="534" y="585"/>
                  </a:cubicBezTo>
                  <a:cubicBezTo>
                    <a:pt x="534" y="585"/>
                    <a:pt x="534" y="585"/>
                    <a:pt x="534" y="584"/>
                  </a:cubicBezTo>
                  <a:cubicBezTo>
                    <a:pt x="534" y="584"/>
                    <a:pt x="534" y="584"/>
                    <a:pt x="534" y="584"/>
                  </a:cubicBezTo>
                  <a:cubicBezTo>
                    <a:pt x="534" y="584"/>
                    <a:pt x="534" y="584"/>
                    <a:pt x="535" y="584"/>
                  </a:cubicBezTo>
                  <a:cubicBezTo>
                    <a:pt x="535" y="584"/>
                    <a:pt x="535" y="584"/>
                    <a:pt x="535" y="584"/>
                  </a:cubicBezTo>
                  <a:cubicBezTo>
                    <a:pt x="535" y="584"/>
                    <a:pt x="535" y="584"/>
                    <a:pt x="535" y="584"/>
                  </a:cubicBezTo>
                  <a:cubicBezTo>
                    <a:pt x="535" y="584"/>
                    <a:pt x="535" y="584"/>
                    <a:pt x="535" y="584"/>
                  </a:cubicBezTo>
                  <a:cubicBezTo>
                    <a:pt x="535" y="584"/>
                    <a:pt x="536" y="584"/>
                    <a:pt x="536" y="584"/>
                  </a:cubicBezTo>
                  <a:cubicBezTo>
                    <a:pt x="536" y="584"/>
                    <a:pt x="536" y="584"/>
                    <a:pt x="536" y="584"/>
                  </a:cubicBezTo>
                  <a:cubicBezTo>
                    <a:pt x="536" y="584"/>
                    <a:pt x="536" y="584"/>
                    <a:pt x="536" y="583"/>
                  </a:cubicBezTo>
                  <a:cubicBezTo>
                    <a:pt x="536" y="583"/>
                    <a:pt x="537" y="583"/>
                    <a:pt x="537" y="583"/>
                  </a:cubicBezTo>
                  <a:cubicBezTo>
                    <a:pt x="537" y="583"/>
                    <a:pt x="537" y="583"/>
                    <a:pt x="537" y="583"/>
                  </a:cubicBezTo>
                  <a:cubicBezTo>
                    <a:pt x="537" y="583"/>
                    <a:pt x="537" y="583"/>
                    <a:pt x="537" y="583"/>
                  </a:cubicBezTo>
                  <a:cubicBezTo>
                    <a:pt x="537" y="583"/>
                    <a:pt x="537" y="583"/>
                    <a:pt x="537" y="583"/>
                  </a:cubicBezTo>
                  <a:cubicBezTo>
                    <a:pt x="537" y="583"/>
                    <a:pt x="538" y="583"/>
                    <a:pt x="538" y="583"/>
                  </a:cubicBezTo>
                  <a:cubicBezTo>
                    <a:pt x="538" y="583"/>
                    <a:pt x="538" y="583"/>
                    <a:pt x="538" y="583"/>
                  </a:cubicBezTo>
                  <a:cubicBezTo>
                    <a:pt x="605" y="554"/>
                    <a:pt x="663" y="509"/>
                    <a:pt x="708" y="455"/>
                  </a:cubicBezTo>
                  <a:cubicBezTo>
                    <a:pt x="716" y="418"/>
                    <a:pt x="716" y="418"/>
                    <a:pt x="716" y="418"/>
                  </a:cubicBezTo>
                  <a:cubicBezTo>
                    <a:pt x="711" y="425"/>
                    <a:pt x="706" y="432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2" y="437"/>
                    <a:pt x="703" y="434"/>
                    <a:pt x="705" y="432"/>
                  </a:cubicBezTo>
                  <a:cubicBezTo>
                    <a:pt x="705" y="432"/>
                    <a:pt x="705" y="432"/>
                    <a:pt x="705" y="432"/>
                  </a:cubicBezTo>
                  <a:cubicBezTo>
                    <a:pt x="709" y="427"/>
                    <a:pt x="712" y="421"/>
                    <a:pt x="716" y="416"/>
                  </a:cubicBezTo>
                  <a:cubicBezTo>
                    <a:pt x="721" y="392"/>
                    <a:pt x="721" y="392"/>
                    <a:pt x="721" y="392"/>
                  </a:cubicBezTo>
                  <a:cubicBezTo>
                    <a:pt x="728" y="357"/>
                    <a:pt x="712" y="320"/>
                    <a:pt x="681" y="300"/>
                  </a:cubicBezTo>
                  <a:cubicBezTo>
                    <a:pt x="626" y="266"/>
                    <a:pt x="626" y="266"/>
                    <a:pt x="626" y="266"/>
                  </a:cubicBezTo>
                  <a:cubicBezTo>
                    <a:pt x="623" y="200"/>
                    <a:pt x="623" y="200"/>
                    <a:pt x="623" y="200"/>
                  </a:cubicBezTo>
                  <a:cubicBezTo>
                    <a:pt x="623" y="200"/>
                    <a:pt x="624" y="199"/>
                    <a:pt x="624" y="198"/>
                  </a:cubicBezTo>
                  <a:cubicBezTo>
                    <a:pt x="625" y="197"/>
                    <a:pt x="626" y="196"/>
                    <a:pt x="627" y="195"/>
                  </a:cubicBezTo>
                  <a:cubicBezTo>
                    <a:pt x="627" y="195"/>
                    <a:pt x="628" y="194"/>
                    <a:pt x="629" y="193"/>
                  </a:cubicBezTo>
                  <a:cubicBezTo>
                    <a:pt x="629" y="192"/>
                    <a:pt x="630" y="191"/>
                    <a:pt x="631" y="190"/>
                  </a:cubicBezTo>
                  <a:cubicBezTo>
                    <a:pt x="631" y="189"/>
                    <a:pt x="632" y="188"/>
                    <a:pt x="633" y="187"/>
                  </a:cubicBezTo>
                  <a:cubicBezTo>
                    <a:pt x="633" y="186"/>
                    <a:pt x="634" y="185"/>
                    <a:pt x="635" y="184"/>
                  </a:cubicBezTo>
                  <a:cubicBezTo>
                    <a:pt x="635" y="183"/>
                    <a:pt x="636" y="182"/>
                    <a:pt x="636" y="181"/>
                  </a:cubicBezTo>
                  <a:cubicBezTo>
                    <a:pt x="637" y="180"/>
                    <a:pt x="638" y="179"/>
                    <a:pt x="638" y="178"/>
                  </a:cubicBezTo>
                  <a:cubicBezTo>
                    <a:pt x="639" y="177"/>
                    <a:pt x="639" y="176"/>
                    <a:pt x="640" y="175"/>
                  </a:cubicBezTo>
                  <a:cubicBezTo>
                    <a:pt x="641" y="174"/>
                    <a:pt x="641" y="173"/>
                    <a:pt x="641" y="173"/>
                  </a:cubicBezTo>
                  <a:cubicBezTo>
                    <a:pt x="642" y="171"/>
                    <a:pt x="643" y="169"/>
                    <a:pt x="644" y="167"/>
                  </a:cubicBezTo>
                  <a:cubicBezTo>
                    <a:pt x="645" y="166"/>
                    <a:pt x="645" y="165"/>
                    <a:pt x="645" y="165"/>
                  </a:cubicBezTo>
                  <a:cubicBezTo>
                    <a:pt x="646" y="163"/>
                    <a:pt x="646" y="162"/>
                    <a:pt x="647" y="161"/>
                  </a:cubicBezTo>
                  <a:cubicBezTo>
                    <a:pt x="647" y="160"/>
                    <a:pt x="648" y="159"/>
                    <a:pt x="648" y="158"/>
                  </a:cubicBezTo>
                  <a:cubicBezTo>
                    <a:pt x="648" y="157"/>
                    <a:pt x="649" y="156"/>
                    <a:pt x="649" y="155"/>
                  </a:cubicBezTo>
                  <a:cubicBezTo>
                    <a:pt x="650" y="154"/>
                    <a:pt x="650" y="153"/>
                    <a:pt x="650" y="152"/>
                  </a:cubicBezTo>
                  <a:cubicBezTo>
                    <a:pt x="651" y="151"/>
                    <a:pt x="651" y="150"/>
                    <a:pt x="651" y="149"/>
                  </a:cubicBezTo>
                  <a:cubicBezTo>
                    <a:pt x="651" y="149"/>
                    <a:pt x="651" y="149"/>
                    <a:pt x="651" y="149"/>
                  </a:cubicBezTo>
                  <a:cubicBezTo>
                    <a:pt x="651" y="149"/>
                    <a:pt x="652" y="149"/>
                    <a:pt x="653" y="148"/>
                  </a:cubicBezTo>
                  <a:cubicBezTo>
                    <a:pt x="655" y="150"/>
                    <a:pt x="658" y="153"/>
                    <a:pt x="662" y="157"/>
                  </a:cubicBezTo>
                  <a:cubicBezTo>
                    <a:pt x="667" y="162"/>
                    <a:pt x="671" y="175"/>
                    <a:pt x="671" y="175"/>
                  </a:cubicBezTo>
                  <a:cubicBezTo>
                    <a:pt x="671" y="175"/>
                    <a:pt x="672" y="165"/>
                    <a:pt x="668" y="156"/>
                  </a:cubicBezTo>
                  <a:cubicBezTo>
                    <a:pt x="665" y="150"/>
                    <a:pt x="661" y="147"/>
                    <a:pt x="658" y="145"/>
                  </a:cubicBezTo>
                  <a:cubicBezTo>
                    <a:pt x="658" y="145"/>
                    <a:pt x="658" y="145"/>
                    <a:pt x="658" y="145"/>
                  </a:cubicBezTo>
                  <a:cubicBezTo>
                    <a:pt x="662" y="146"/>
                    <a:pt x="666" y="147"/>
                    <a:pt x="671" y="149"/>
                  </a:cubicBezTo>
                  <a:cubicBezTo>
                    <a:pt x="683" y="156"/>
                    <a:pt x="693" y="176"/>
                    <a:pt x="693" y="176"/>
                  </a:cubicBezTo>
                  <a:cubicBezTo>
                    <a:pt x="693" y="176"/>
                    <a:pt x="693" y="159"/>
                    <a:pt x="682" y="147"/>
                  </a:cubicBezTo>
                  <a:cubicBezTo>
                    <a:pt x="679" y="144"/>
                    <a:pt x="674" y="140"/>
                    <a:pt x="670" y="138"/>
                  </a:cubicBezTo>
                  <a:cubicBezTo>
                    <a:pt x="677" y="133"/>
                    <a:pt x="685" y="126"/>
                    <a:pt x="693" y="117"/>
                  </a:cubicBezTo>
                  <a:cubicBezTo>
                    <a:pt x="695" y="116"/>
                    <a:pt x="696" y="115"/>
                    <a:pt x="697" y="113"/>
                  </a:cubicBezTo>
                  <a:cubicBezTo>
                    <a:pt x="705" y="104"/>
                    <a:pt x="712" y="94"/>
                    <a:pt x="718" y="82"/>
                  </a:cubicBezTo>
                  <a:cubicBezTo>
                    <a:pt x="720" y="78"/>
                    <a:pt x="722" y="74"/>
                    <a:pt x="724" y="70"/>
                  </a:cubicBezTo>
                  <a:cubicBezTo>
                    <a:pt x="727" y="62"/>
                    <a:pt x="729" y="54"/>
                    <a:pt x="731" y="45"/>
                  </a:cubicBezTo>
                  <a:cubicBezTo>
                    <a:pt x="675" y="16"/>
                    <a:pt x="613" y="0"/>
                    <a:pt x="546" y="0"/>
                  </a:cubicBezTo>
                </a:path>
              </a:pathLst>
            </a:custGeom>
            <a:solidFill>
              <a:srgbClr val="D26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ï$1íḑê">
              <a:extLst>
                <a:ext uri="{FF2B5EF4-FFF2-40B4-BE49-F238E27FC236}">
                  <a16:creationId xmlns:a16="http://schemas.microsoft.com/office/drawing/2014/main" id="{D7E6A4D8-13F1-40CF-851C-AA4363CEB2C9}"/>
                </a:ext>
              </a:extLst>
            </p:cNvPr>
            <p:cNvSpPr/>
            <p:nvPr/>
          </p:nvSpPr>
          <p:spPr bwMode="auto">
            <a:xfrm>
              <a:off x="6153257" y="3921886"/>
              <a:ext cx="75532" cy="294816"/>
            </a:xfrm>
            <a:custGeom>
              <a:avLst/>
              <a:gdLst>
                <a:gd name="T0" fmla="*/ 7 w 15"/>
                <a:gd name="T1" fmla="*/ 0 h 58"/>
                <a:gd name="T2" fmla="*/ 7 w 15"/>
                <a:gd name="T3" fmla="*/ 0 h 58"/>
                <a:gd name="T4" fmla="*/ 0 w 15"/>
                <a:gd name="T5" fmla="*/ 7 h 58"/>
                <a:gd name="T6" fmla="*/ 2 w 15"/>
                <a:gd name="T7" fmla="*/ 51 h 58"/>
                <a:gd name="T8" fmla="*/ 8 w 15"/>
                <a:gd name="T9" fmla="*/ 58 h 58"/>
                <a:gd name="T10" fmla="*/ 9 w 15"/>
                <a:gd name="T11" fmla="*/ 58 h 58"/>
                <a:gd name="T12" fmla="*/ 15 w 15"/>
                <a:gd name="T13" fmla="*/ 51 h 58"/>
                <a:gd name="T14" fmla="*/ 14 w 15"/>
                <a:gd name="T15" fmla="*/ 7 h 58"/>
                <a:gd name="T16" fmla="*/ 7 w 15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58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5"/>
                    <a:pt x="5" y="58"/>
                    <a:pt x="8" y="58"/>
                  </a:cubicBezTo>
                  <a:cubicBezTo>
                    <a:pt x="8" y="58"/>
                    <a:pt x="9" y="58"/>
                    <a:pt x="9" y="58"/>
                  </a:cubicBezTo>
                  <a:cubicBezTo>
                    <a:pt x="12" y="58"/>
                    <a:pt x="15" y="55"/>
                    <a:pt x="15" y="51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</a:path>
              </a:pathLst>
            </a:custGeom>
            <a:solidFill>
              <a:srgbClr val="D26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íŝlïḍe">
              <a:extLst>
                <a:ext uri="{FF2B5EF4-FFF2-40B4-BE49-F238E27FC236}">
                  <a16:creationId xmlns:a16="http://schemas.microsoft.com/office/drawing/2014/main" id="{F4DA3722-AED8-480A-9DDF-CBD4A7753398}"/>
                </a:ext>
              </a:extLst>
            </p:cNvPr>
            <p:cNvSpPr/>
            <p:nvPr/>
          </p:nvSpPr>
          <p:spPr bwMode="auto">
            <a:xfrm>
              <a:off x="6377414" y="4126551"/>
              <a:ext cx="258268" cy="197357"/>
            </a:xfrm>
            <a:custGeom>
              <a:avLst/>
              <a:gdLst>
                <a:gd name="T0" fmla="*/ 43 w 51"/>
                <a:gd name="T1" fmla="*/ 0 h 39"/>
                <a:gd name="T2" fmla="*/ 39 w 51"/>
                <a:gd name="T3" fmla="*/ 1 h 39"/>
                <a:gd name="T4" fmla="*/ 3 w 51"/>
                <a:gd name="T5" fmla="*/ 27 h 39"/>
                <a:gd name="T6" fmla="*/ 2 w 51"/>
                <a:gd name="T7" fmla="*/ 36 h 39"/>
                <a:gd name="T8" fmla="*/ 7 w 51"/>
                <a:gd name="T9" fmla="*/ 39 h 39"/>
                <a:gd name="T10" fmla="*/ 11 w 51"/>
                <a:gd name="T11" fmla="*/ 38 h 39"/>
                <a:gd name="T12" fmla="*/ 47 w 51"/>
                <a:gd name="T13" fmla="*/ 12 h 39"/>
                <a:gd name="T14" fmla="*/ 49 w 51"/>
                <a:gd name="T15" fmla="*/ 3 h 39"/>
                <a:gd name="T16" fmla="*/ 43 w 51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9">
                  <a:moveTo>
                    <a:pt x="43" y="0"/>
                  </a:moveTo>
                  <a:cubicBezTo>
                    <a:pt x="42" y="0"/>
                    <a:pt x="40" y="0"/>
                    <a:pt x="39" y="1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0" y="29"/>
                    <a:pt x="0" y="33"/>
                    <a:pt x="2" y="36"/>
                  </a:cubicBezTo>
                  <a:cubicBezTo>
                    <a:pt x="3" y="38"/>
                    <a:pt x="5" y="39"/>
                    <a:pt x="7" y="39"/>
                  </a:cubicBezTo>
                  <a:cubicBezTo>
                    <a:pt x="9" y="39"/>
                    <a:pt x="10" y="39"/>
                    <a:pt x="11" y="38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50" y="10"/>
                    <a:pt x="51" y="6"/>
                    <a:pt x="49" y="3"/>
                  </a:cubicBezTo>
                  <a:cubicBezTo>
                    <a:pt x="47" y="1"/>
                    <a:pt x="45" y="0"/>
                    <a:pt x="43" y="0"/>
                  </a:cubicBezTo>
                </a:path>
              </a:pathLst>
            </a:custGeom>
            <a:solidFill>
              <a:srgbClr val="D26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ṡļîḋè">
              <a:extLst>
                <a:ext uri="{FF2B5EF4-FFF2-40B4-BE49-F238E27FC236}">
                  <a16:creationId xmlns:a16="http://schemas.microsoft.com/office/drawing/2014/main" id="{A07E75DB-FABD-4387-AC41-BB81DAED6AE1}"/>
                </a:ext>
              </a:extLst>
            </p:cNvPr>
            <p:cNvSpPr/>
            <p:nvPr/>
          </p:nvSpPr>
          <p:spPr bwMode="auto">
            <a:xfrm>
              <a:off x="6294574" y="3953559"/>
              <a:ext cx="177865" cy="263141"/>
            </a:xfrm>
            <a:custGeom>
              <a:avLst/>
              <a:gdLst>
                <a:gd name="T0" fmla="*/ 27 w 35"/>
                <a:gd name="T1" fmla="*/ 0 h 52"/>
                <a:gd name="T2" fmla="*/ 21 w 35"/>
                <a:gd name="T3" fmla="*/ 3 h 52"/>
                <a:gd name="T4" fmla="*/ 1 w 35"/>
                <a:gd name="T5" fmla="*/ 43 h 52"/>
                <a:gd name="T6" fmla="*/ 4 w 35"/>
                <a:gd name="T7" fmla="*/ 52 h 52"/>
                <a:gd name="T8" fmla="*/ 7 w 35"/>
                <a:gd name="T9" fmla="*/ 52 h 52"/>
                <a:gd name="T10" fmla="*/ 13 w 35"/>
                <a:gd name="T11" fmla="*/ 49 h 52"/>
                <a:gd name="T12" fmla="*/ 33 w 35"/>
                <a:gd name="T13" fmla="*/ 9 h 52"/>
                <a:gd name="T14" fmla="*/ 30 w 35"/>
                <a:gd name="T15" fmla="*/ 0 h 52"/>
                <a:gd name="T16" fmla="*/ 27 w 35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52">
                  <a:moveTo>
                    <a:pt x="27" y="0"/>
                  </a:moveTo>
                  <a:cubicBezTo>
                    <a:pt x="25" y="0"/>
                    <a:pt x="22" y="1"/>
                    <a:pt x="21" y="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0" y="46"/>
                    <a:pt x="1" y="50"/>
                    <a:pt x="4" y="52"/>
                  </a:cubicBezTo>
                  <a:cubicBezTo>
                    <a:pt x="5" y="52"/>
                    <a:pt x="6" y="52"/>
                    <a:pt x="7" y="52"/>
                  </a:cubicBezTo>
                  <a:cubicBezTo>
                    <a:pt x="10" y="52"/>
                    <a:pt x="12" y="51"/>
                    <a:pt x="13" y="4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5" y="6"/>
                    <a:pt x="33" y="2"/>
                    <a:pt x="30" y="0"/>
                  </a:cubicBezTo>
                  <a:cubicBezTo>
                    <a:pt x="29" y="0"/>
                    <a:pt x="28" y="0"/>
                    <a:pt x="27" y="0"/>
                  </a:cubicBezTo>
                </a:path>
              </a:pathLst>
            </a:custGeom>
            <a:solidFill>
              <a:srgbClr val="D26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ṧḷíḍè">
              <a:extLst>
                <a:ext uri="{FF2B5EF4-FFF2-40B4-BE49-F238E27FC236}">
                  <a16:creationId xmlns:a16="http://schemas.microsoft.com/office/drawing/2014/main" id="{0D6759B8-369E-40C9-91F9-EF313A2F448F}"/>
                </a:ext>
              </a:extLst>
            </p:cNvPr>
            <p:cNvSpPr/>
            <p:nvPr/>
          </p:nvSpPr>
          <p:spPr bwMode="auto">
            <a:xfrm>
              <a:off x="6124019" y="4253248"/>
              <a:ext cx="769932" cy="1169516"/>
            </a:xfrm>
            <a:custGeom>
              <a:avLst/>
              <a:gdLst>
                <a:gd name="T0" fmla="*/ 110 w 316"/>
                <a:gd name="T1" fmla="*/ 480 h 480"/>
                <a:gd name="T2" fmla="*/ 316 w 316"/>
                <a:gd name="T3" fmla="*/ 58 h 480"/>
                <a:gd name="T4" fmla="*/ 193 w 316"/>
                <a:gd name="T5" fmla="*/ 0 h 480"/>
                <a:gd name="T6" fmla="*/ 0 w 316"/>
                <a:gd name="T7" fmla="*/ 397 h 480"/>
                <a:gd name="T8" fmla="*/ 110 w 316"/>
                <a:gd name="T9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" h="480">
                  <a:moveTo>
                    <a:pt x="110" y="480"/>
                  </a:moveTo>
                  <a:lnTo>
                    <a:pt x="316" y="58"/>
                  </a:lnTo>
                  <a:lnTo>
                    <a:pt x="193" y="0"/>
                  </a:lnTo>
                  <a:lnTo>
                    <a:pt x="0" y="397"/>
                  </a:lnTo>
                  <a:lnTo>
                    <a:pt x="110" y="480"/>
                  </a:lnTo>
                  <a:close/>
                </a:path>
              </a:pathLst>
            </a:custGeom>
            <a:solidFill>
              <a:srgbClr val="3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Sļíďé">
              <a:extLst>
                <a:ext uri="{FF2B5EF4-FFF2-40B4-BE49-F238E27FC236}">
                  <a16:creationId xmlns:a16="http://schemas.microsoft.com/office/drawing/2014/main" id="{32F25597-A027-43DF-A24A-68C456177B4B}"/>
                </a:ext>
              </a:extLst>
            </p:cNvPr>
            <p:cNvSpPr/>
            <p:nvPr/>
          </p:nvSpPr>
          <p:spPr bwMode="auto">
            <a:xfrm>
              <a:off x="7639517" y="3324944"/>
              <a:ext cx="104770" cy="158373"/>
            </a:xfrm>
            <a:custGeom>
              <a:avLst/>
              <a:gdLst>
                <a:gd name="T0" fmla="*/ 5 w 21"/>
                <a:gd name="T1" fmla="*/ 0 h 31"/>
                <a:gd name="T2" fmla="*/ 16 w 21"/>
                <a:gd name="T3" fmla="*/ 12 h 31"/>
                <a:gd name="T4" fmla="*/ 20 w 21"/>
                <a:gd name="T5" fmla="*/ 31 h 31"/>
                <a:gd name="T6" fmla="*/ 10 w 21"/>
                <a:gd name="T7" fmla="*/ 13 h 31"/>
                <a:gd name="T8" fmla="*/ 0 w 21"/>
                <a:gd name="T9" fmla="*/ 3 h 31"/>
                <a:gd name="T10" fmla="*/ 5 w 21"/>
                <a:gd name="T1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31">
                  <a:moveTo>
                    <a:pt x="5" y="0"/>
                  </a:moveTo>
                  <a:cubicBezTo>
                    <a:pt x="5" y="0"/>
                    <a:pt x="12" y="3"/>
                    <a:pt x="16" y="12"/>
                  </a:cubicBezTo>
                  <a:cubicBezTo>
                    <a:pt x="21" y="20"/>
                    <a:pt x="20" y="31"/>
                    <a:pt x="20" y="31"/>
                  </a:cubicBezTo>
                  <a:cubicBezTo>
                    <a:pt x="20" y="31"/>
                    <a:pt x="15" y="18"/>
                    <a:pt x="10" y="13"/>
                  </a:cubicBezTo>
                  <a:cubicBezTo>
                    <a:pt x="5" y="7"/>
                    <a:pt x="0" y="3"/>
                    <a:pt x="0" y="3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íš1îḓe">
              <a:extLst>
                <a:ext uri="{FF2B5EF4-FFF2-40B4-BE49-F238E27FC236}">
                  <a16:creationId xmlns:a16="http://schemas.microsoft.com/office/drawing/2014/main" id="{EAF16A51-7197-4A71-A4F0-01E0BE6A44A9}"/>
                </a:ext>
              </a:extLst>
            </p:cNvPr>
            <p:cNvSpPr/>
            <p:nvPr/>
          </p:nvSpPr>
          <p:spPr bwMode="auto">
            <a:xfrm>
              <a:off x="7629771" y="3264033"/>
              <a:ext cx="221722" cy="224157"/>
            </a:xfrm>
            <a:custGeom>
              <a:avLst/>
              <a:gdLst>
                <a:gd name="T0" fmla="*/ 10 w 44"/>
                <a:gd name="T1" fmla="*/ 0 h 44"/>
                <a:gd name="T2" fmla="*/ 33 w 44"/>
                <a:gd name="T3" fmla="*/ 15 h 44"/>
                <a:gd name="T4" fmla="*/ 44 w 44"/>
                <a:gd name="T5" fmla="*/ 44 h 44"/>
                <a:gd name="T6" fmla="*/ 22 w 44"/>
                <a:gd name="T7" fmla="*/ 17 h 44"/>
                <a:gd name="T8" fmla="*/ 0 w 44"/>
                <a:gd name="T9" fmla="*/ 13 h 44"/>
                <a:gd name="T10" fmla="*/ 10 w 44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44">
                  <a:moveTo>
                    <a:pt x="10" y="0"/>
                  </a:moveTo>
                  <a:cubicBezTo>
                    <a:pt x="10" y="0"/>
                    <a:pt x="25" y="7"/>
                    <a:pt x="33" y="15"/>
                  </a:cubicBezTo>
                  <a:cubicBezTo>
                    <a:pt x="44" y="26"/>
                    <a:pt x="44" y="44"/>
                    <a:pt x="44" y="44"/>
                  </a:cubicBezTo>
                  <a:cubicBezTo>
                    <a:pt x="44" y="44"/>
                    <a:pt x="34" y="23"/>
                    <a:pt x="22" y="17"/>
                  </a:cubicBezTo>
                  <a:cubicBezTo>
                    <a:pt x="10" y="11"/>
                    <a:pt x="0" y="13"/>
                    <a:pt x="0" y="13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Sḻîḍè">
              <a:extLst>
                <a:ext uri="{FF2B5EF4-FFF2-40B4-BE49-F238E27FC236}">
                  <a16:creationId xmlns:a16="http://schemas.microsoft.com/office/drawing/2014/main" id="{C598FCBE-BF06-4F54-B247-32AF070F52E8}"/>
                </a:ext>
              </a:extLst>
            </p:cNvPr>
            <p:cNvSpPr/>
            <p:nvPr/>
          </p:nvSpPr>
          <p:spPr bwMode="auto">
            <a:xfrm>
              <a:off x="6416398" y="3938940"/>
              <a:ext cx="1096421" cy="2202589"/>
            </a:xfrm>
            <a:custGeom>
              <a:avLst/>
              <a:gdLst>
                <a:gd name="T0" fmla="*/ 421 w 450"/>
                <a:gd name="T1" fmla="*/ 904 h 904"/>
                <a:gd name="T2" fmla="*/ 450 w 450"/>
                <a:gd name="T3" fmla="*/ 0 h 904"/>
                <a:gd name="T4" fmla="*/ 202 w 450"/>
                <a:gd name="T5" fmla="*/ 74 h 904"/>
                <a:gd name="T6" fmla="*/ 79 w 450"/>
                <a:gd name="T7" fmla="*/ 257 h 904"/>
                <a:gd name="T8" fmla="*/ 0 w 450"/>
                <a:gd name="T9" fmla="*/ 904 h 904"/>
                <a:gd name="T10" fmla="*/ 421 w 450"/>
                <a:gd name="T11" fmla="*/ 904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0" h="904">
                  <a:moveTo>
                    <a:pt x="421" y="904"/>
                  </a:moveTo>
                  <a:lnTo>
                    <a:pt x="450" y="0"/>
                  </a:lnTo>
                  <a:lnTo>
                    <a:pt x="202" y="74"/>
                  </a:lnTo>
                  <a:lnTo>
                    <a:pt x="79" y="257"/>
                  </a:lnTo>
                  <a:lnTo>
                    <a:pt x="0" y="904"/>
                  </a:lnTo>
                  <a:lnTo>
                    <a:pt x="421" y="9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ślíḑé">
              <a:extLst>
                <a:ext uri="{FF2B5EF4-FFF2-40B4-BE49-F238E27FC236}">
                  <a16:creationId xmlns:a16="http://schemas.microsoft.com/office/drawing/2014/main" id="{DCE1BA5C-4283-4AAB-81AC-4B9D176636EA}"/>
                </a:ext>
              </a:extLst>
            </p:cNvPr>
            <p:cNvSpPr/>
            <p:nvPr/>
          </p:nvSpPr>
          <p:spPr bwMode="auto">
            <a:xfrm>
              <a:off x="6538223" y="5023180"/>
              <a:ext cx="791861" cy="1118351"/>
            </a:xfrm>
            <a:custGeom>
              <a:avLst/>
              <a:gdLst>
                <a:gd name="T0" fmla="*/ 0 w 156"/>
                <a:gd name="T1" fmla="*/ 221 h 221"/>
                <a:gd name="T2" fmla="*/ 146 w 156"/>
                <a:gd name="T3" fmla="*/ 221 h 221"/>
                <a:gd name="T4" fmla="*/ 156 w 156"/>
                <a:gd name="T5" fmla="*/ 55 h 221"/>
                <a:gd name="T6" fmla="*/ 122 w 156"/>
                <a:gd name="T7" fmla="*/ 17 h 221"/>
                <a:gd name="T8" fmla="*/ 99 w 156"/>
                <a:gd name="T9" fmla="*/ 22 h 221"/>
                <a:gd name="T10" fmla="*/ 63 w 156"/>
                <a:gd name="T11" fmla="*/ 20 h 221"/>
                <a:gd name="T12" fmla="*/ 31 w 156"/>
                <a:gd name="T13" fmla="*/ 1 h 221"/>
                <a:gd name="T14" fmla="*/ 22 w 156"/>
                <a:gd name="T15" fmla="*/ 119 h 221"/>
                <a:gd name="T16" fmla="*/ 0 w 156"/>
                <a:gd name="T17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21">
                  <a:moveTo>
                    <a:pt x="0" y="221"/>
                  </a:moveTo>
                  <a:cubicBezTo>
                    <a:pt x="146" y="221"/>
                    <a:pt x="146" y="221"/>
                    <a:pt x="146" y="221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22" y="17"/>
                    <a:pt x="122" y="17"/>
                    <a:pt x="122" y="17"/>
                  </a:cubicBezTo>
                  <a:cubicBezTo>
                    <a:pt x="122" y="17"/>
                    <a:pt x="111" y="13"/>
                    <a:pt x="99" y="22"/>
                  </a:cubicBezTo>
                  <a:cubicBezTo>
                    <a:pt x="88" y="31"/>
                    <a:pt x="72" y="32"/>
                    <a:pt x="63" y="20"/>
                  </a:cubicBezTo>
                  <a:cubicBezTo>
                    <a:pt x="55" y="9"/>
                    <a:pt x="42" y="0"/>
                    <a:pt x="31" y="1"/>
                  </a:cubicBezTo>
                  <a:cubicBezTo>
                    <a:pt x="20" y="3"/>
                    <a:pt x="22" y="119"/>
                    <a:pt x="22" y="119"/>
                  </a:cubicBezTo>
                  <a:lnTo>
                    <a:pt x="0" y="221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ṧḻîḓè">
              <a:extLst>
                <a:ext uri="{FF2B5EF4-FFF2-40B4-BE49-F238E27FC236}">
                  <a16:creationId xmlns:a16="http://schemas.microsoft.com/office/drawing/2014/main" id="{317B4850-8FF3-4E11-85D1-81E9105BECC6}"/>
                </a:ext>
              </a:extLst>
            </p:cNvPr>
            <p:cNvSpPr/>
            <p:nvPr/>
          </p:nvSpPr>
          <p:spPr bwMode="auto">
            <a:xfrm>
              <a:off x="6879332" y="3066676"/>
              <a:ext cx="633488" cy="1352254"/>
            </a:xfrm>
            <a:custGeom>
              <a:avLst/>
              <a:gdLst>
                <a:gd name="T0" fmla="*/ 6 w 125"/>
                <a:gd name="T1" fmla="*/ 208 h 267"/>
                <a:gd name="T2" fmla="*/ 1 w 125"/>
                <a:gd name="T3" fmla="*/ 137 h 267"/>
                <a:gd name="T4" fmla="*/ 116 w 125"/>
                <a:gd name="T5" fmla="*/ 0 h 267"/>
                <a:gd name="T6" fmla="*/ 125 w 125"/>
                <a:gd name="T7" fmla="*/ 172 h 267"/>
                <a:gd name="T8" fmla="*/ 119 w 125"/>
                <a:gd name="T9" fmla="*/ 205 h 267"/>
                <a:gd name="T10" fmla="*/ 45 w 125"/>
                <a:gd name="T11" fmla="*/ 264 h 267"/>
                <a:gd name="T12" fmla="*/ 24 w 125"/>
                <a:gd name="T13" fmla="*/ 263 h 267"/>
                <a:gd name="T14" fmla="*/ 2 w 125"/>
                <a:gd name="T15" fmla="*/ 236 h 267"/>
                <a:gd name="T16" fmla="*/ 6 w 125"/>
                <a:gd name="T17" fmla="*/ 208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5" h="267">
                  <a:moveTo>
                    <a:pt x="6" y="208"/>
                  </a:moveTo>
                  <a:cubicBezTo>
                    <a:pt x="1" y="137"/>
                    <a:pt x="1" y="137"/>
                    <a:pt x="1" y="137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25" y="172"/>
                    <a:pt x="125" y="172"/>
                    <a:pt x="125" y="172"/>
                  </a:cubicBezTo>
                  <a:cubicBezTo>
                    <a:pt x="119" y="205"/>
                    <a:pt x="119" y="205"/>
                    <a:pt x="119" y="205"/>
                  </a:cubicBezTo>
                  <a:cubicBezTo>
                    <a:pt x="113" y="241"/>
                    <a:pt x="81" y="267"/>
                    <a:pt x="45" y="264"/>
                  </a:cubicBezTo>
                  <a:cubicBezTo>
                    <a:pt x="24" y="263"/>
                    <a:pt x="24" y="263"/>
                    <a:pt x="24" y="263"/>
                  </a:cubicBezTo>
                  <a:cubicBezTo>
                    <a:pt x="10" y="262"/>
                    <a:pt x="0" y="250"/>
                    <a:pt x="2" y="236"/>
                  </a:cubicBezTo>
                  <a:lnTo>
                    <a:pt x="6" y="208"/>
                  </a:ln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ṥḷîďé">
              <a:extLst>
                <a:ext uri="{FF2B5EF4-FFF2-40B4-BE49-F238E27FC236}">
                  <a16:creationId xmlns:a16="http://schemas.microsoft.com/office/drawing/2014/main" id="{292E39CB-0F10-47E7-A522-8B69935E9D37}"/>
                </a:ext>
              </a:extLst>
            </p:cNvPr>
            <p:cNvSpPr/>
            <p:nvPr/>
          </p:nvSpPr>
          <p:spPr bwMode="auto">
            <a:xfrm>
              <a:off x="6884205" y="3295706"/>
              <a:ext cx="606687" cy="774804"/>
            </a:xfrm>
            <a:custGeom>
              <a:avLst/>
              <a:gdLst>
                <a:gd name="T0" fmla="*/ 120 w 120"/>
                <a:gd name="T1" fmla="*/ 63 h 153"/>
                <a:gd name="T2" fmla="*/ 54 w 120"/>
                <a:gd name="T3" fmla="*/ 139 h 153"/>
                <a:gd name="T4" fmla="*/ 4 w 120"/>
                <a:gd name="T5" fmla="*/ 151 h 153"/>
                <a:gd name="T6" fmla="*/ 0 w 120"/>
                <a:gd name="T7" fmla="*/ 92 h 153"/>
                <a:gd name="T8" fmla="*/ 47 w 120"/>
                <a:gd name="T9" fmla="*/ 36 h 153"/>
                <a:gd name="T10" fmla="*/ 117 w 120"/>
                <a:gd name="T11" fmla="*/ 0 h 153"/>
                <a:gd name="T12" fmla="*/ 120 w 120"/>
                <a:gd name="T13" fmla="*/ 6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53">
                  <a:moveTo>
                    <a:pt x="120" y="63"/>
                  </a:moveTo>
                  <a:cubicBezTo>
                    <a:pt x="111" y="82"/>
                    <a:pt x="83" y="120"/>
                    <a:pt x="54" y="139"/>
                  </a:cubicBezTo>
                  <a:cubicBezTo>
                    <a:pt x="34" y="153"/>
                    <a:pt x="16" y="153"/>
                    <a:pt x="4" y="151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117" y="0"/>
                    <a:pt x="117" y="0"/>
                    <a:pt x="117" y="0"/>
                  </a:cubicBezTo>
                  <a:lnTo>
                    <a:pt x="120" y="63"/>
                  </a:lnTo>
                  <a:close/>
                </a:path>
              </a:pathLst>
            </a:custGeom>
            <a:solidFill>
              <a:srgbClr val="CF9E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íSḷíḑé">
              <a:extLst>
                <a:ext uri="{FF2B5EF4-FFF2-40B4-BE49-F238E27FC236}">
                  <a16:creationId xmlns:a16="http://schemas.microsoft.com/office/drawing/2014/main" id="{E76A016F-89A9-4EFC-950D-EF73263AAC8D}"/>
                </a:ext>
              </a:extLst>
            </p:cNvPr>
            <p:cNvSpPr/>
            <p:nvPr/>
          </p:nvSpPr>
          <p:spPr bwMode="auto">
            <a:xfrm>
              <a:off x="7461654" y="1673003"/>
              <a:ext cx="713893" cy="735821"/>
            </a:xfrm>
            <a:custGeom>
              <a:avLst/>
              <a:gdLst>
                <a:gd name="T0" fmla="*/ 116 w 141"/>
                <a:gd name="T1" fmla="*/ 25 h 145"/>
                <a:gd name="T2" fmla="*/ 116 w 141"/>
                <a:gd name="T3" fmla="*/ 115 h 145"/>
                <a:gd name="T4" fmla="*/ 109 w 141"/>
                <a:gd name="T5" fmla="*/ 122 h 145"/>
                <a:gd name="T6" fmla="*/ 119 w 141"/>
                <a:gd name="T7" fmla="*/ 118 h 145"/>
                <a:gd name="T8" fmla="*/ 134 w 141"/>
                <a:gd name="T9" fmla="*/ 106 h 145"/>
                <a:gd name="T10" fmla="*/ 103 w 141"/>
                <a:gd name="T11" fmla="*/ 139 h 145"/>
                <a:gd name="T12" fmla="*/ 96 w 141"/>
                <a:gd name="T13" fmla="*/ 129 h 145"/>
                <a:gd name="T14" fmla="*/ 26 w 141"/>
                <a:gd name="T15" fmla="*/ 116 h 145"/>
                <a:gd name="T16" fmla="*/ 25 w 141"/>
                <a:gd name="T17" fmla="*/ 25 h 145"/>
                <a:gd name="T18" fmla="*/ 116 w 141"/>
                <a:gd name="T19" fmla="*/ 2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" h="145">
                  <a:moveTo>
                    <a:pt x="116" y="25"/>
                  </a:moveTo>
                  <a:cubicBezTo>
                    <a:pt x="141" y="50"/>
                    <a:pt x="141" y="90"/>
                    <a:pt x="116" y="115"/>
                  </a:cubicBezTo>
                  <a:cubicBezTo>
                    <a:pt x="114" y="118"/>
                    <a:pt x="111" y="120"/>
                    <a:pt x="109" y="122"/>
                  </a:cubicBezTo>
                  <a:cubicBezTo>
                    <a:pt x="112" y="121"/>
                    <a:pt x="115" y="120"/>
                    <a:pt x="119" y="118"/>
                  </a:cubicBezTo>
                  <a:cubicBezTo>
                    <a:pt x="128" y="114"/>
                    <a:pt x="134" y="106"/>
                    <a:pt x="134" y="106"/>
                  </a:cubicBezTo>
                  <a:cubicBezTo>
                    <a:pt x="134" y="106"/>
                    <a:pt x="126" y="131"/>
                    <a:pt x="103" y="139"/>
                  </a:cubicBezTo>
                  <a:cubicBezTo>
                    <a:pt x="87" y="145"/>
                    <a:pt x="91" y="136"/>
                    <a:pt x="96" y="129"/>
                  </a:cubicBezTo>
                  <a:cubicBezTo>
                    <a:pt x="73" y="139"/>
                    <a:pt x="45" y="134"/>
                    <a:pt x="26" y="116"/>
                  </a:cubicBezTo>
                  <a:cubicBezTo>
                    <a:pt x="1" y="91"/>
                    <a:pt x="0" y="50"/>
                    <a:pt x="25" y="25"/>
                  </a:cubicBezTo>
                  <a:cubicBezTo>
                    <a:pt x="50" y="0"/>
                    <a:pt x="91" y="0"/>
                    <a:pt x="116" y="25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Sḷîḓe">
              <a:extLst>
                <a:ext uri="{FF2B5EF4-FFF2-40B4-BE49-F238E27FC236}">
                  <a16:creationId xmlns:a16="http://schemas.microsoft.com/office/drawing/2014/main" id="{CA45AD81-7879-4CCC-977C-8388C293B7C7}"/>
                </a:ext>
              </a:extLst>
            </p:cNvPr>
            <p:cNvSpPr/>
            <p:nvPr/>
          </p:nvSpPr>
          <p:spPr bwMode="auto">
            <a:xfrm>
              <a:off x="6077727" y="5057291"/>
              <a:ext cx="441006" cy="389839"/>
            </a:xfrm>
            <a:custGeom>
              <a:avLst/>
              <a:gdLst>
                <a:gd name="T0" fmla="*/ 22 w 87"/>
                <a:gd name="T1" fmla="*/ 2 h 77"/>
                <a:gd name="T2" fmla="*/ 84 w 87"/>
                <a:gd name="T3" fmla="*/ 48 h 77"/>
                <a:gd name="T4" fmla="*/ 85 w 87"/>
                <a:gd name="T5" fmla="*/ 55 h 77"/>
                <a:gd name="T6" fmla="*/ 71 w 87"/>
                <a:gd name="T7" fmla="*/ 74 h 77"/>
                <a:gd name="T8" fmla="*/ 64 w 87"/>
                <a:gd name="T9" fmla="*/ 75 h 77"/>
                <a:gd name="T10" fmla="*/ 2 w 87"/>
                <a:gd name="T11" fmla="*/ 27 h 77"/>
                <a:gd name="T12" fmla="*/ 1 w 87"/>
                <a:gd name="T13" fmla="*/ 20 h 77"/>
                <a:gd name="T14" fmla="*/ 15 w 87"/>
                <a:gd name="T15" fmla="*/ 3 h 77"/>
                <a:gd name="T16" fmla="*/ 22 w 87"/>
                <a:gd name="T17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77">
                  <a:moveTo>
                    <a:pt x="22" y="2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6" y="49"/>
                    <a:pt x="87" y="53"/>
                    <a:pt x="85" y="55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70" y="76"/>
                    <a:pt x="66" y="77"/>
                    <a:pt x="64" y="7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5"/>
                    <a:pt x="0" y="22"/>
                    <a:pt x="1" y="20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0" y="0"/>
                    <a:pt x="2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şľîḑe">
              <a:extLst>
                <a:ext uri="{FF2B5EF4-FFF2-40B4-BE49-F238E27FC236}">
                  <a16:creationId xmlns:a16="http://schemas.microsoft.com/office/drawing/2014/main" id="{65780BE6-FAA4-40DC-BB82-AA562BEFF4CB}"/>
                </a:ext>
              </a:extLst>
            </p:cNvPr>
            <p:cNvSpPr/>
            <p:nvPr/>
          </p:nvSpPr>
          <p:spPr bwMode="auto">
            <a:xfrm>
              <a:off x="5529515" y="4287359"/>
              <a:ext cx="862518" cy="1393673"/>
            </a:xfrm>
            <a:custGeom>
              <a:avLst/>
              <a:gdLst>
                <a:gd name="T0" fmla="*/ 117 w 170"/>
                <a:gd name="T1" fmla="*/ 184 h 275"/>
                <a:gd name="T2" fmla="*/ 68 w 170"/>
                <a:gd name="T3" fmla="*/ 27 h 275"/>
                <a:gd name="T4" fmla="*/ 27 w 170"/>
                <a:gd name="T5" fmla="*/ 6 h 275"/>
                <a:gd name="T6" fmla="*/ 6 w 170"/>
                <a:gd name="T7" fmla="*/ 46 h 275"/>
                <a:gd name="T8" fmla="*/ 67 w 170"/>
                <a:gd name="T9" fmla="*/ 241 h 275"/>
                <a:gd name="T10" fmla="*/ 110 w 170"/>
                <a:gd name="T11" fmla="*/ 275 h 275"/>
                <a:gd name="T12" fmla="*/ 114 w 170"/>
                <a:gd name="T13" fmla="*/ 275 h 275"/>
                <a:gd name="T14" fmla="*/ 158 w 170"/>
                <a:gd name="T15" fmla="*/ 248 h 275"/>
                <a:gd name="T16" fmla="*/ 170 w 170"/>
                <a:gd name="T17" fmla="*/ 224 h 275"/>
                <a:gd name="T18" fmla="*/ 117 w 170"/>
                <a:gd name="T19" fmla="*/ 184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275">
                  <a:moveTo>
                    <a:pt x="117" y="184"/>
                  </a:moveTo>
                  <a:cubicBezTo>
                    <a:pt x="68" y="27"/>
                    <a:pt x="68" y="27"/>
                    <a:pt x="68" y="27"/>
                  </a:cubicBezTo>
                  <a:cubicBezTo>
                    <a:pt x="62" y="10"/>
                    <a:pt x="44" y="0"/>
                    <a:pt x="27" y="6"/>
                  </a:cubicBezTo>
                  <a:cubicBezTo>
                    <a:pt x="10" y="11"/>
                    <a:pt x="0" y="29"/>
                    <a:pt x="6" y="46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3" y="260"/>
                    <a:pt x="90" y="274"/>
                    <a:pt x="110" y="275"/>
                  </a:cubicBezTo>
                  <a:cubicBezTo>
                    <a:pt x="111" y="275"/>
                    <a:pt x="112" y="275"/>
                    <a:pt x="114" y="275"/>
                  </a:cubicBezTo>
                  <a:cubicBezTo>
                    <a:pt x="132" y="275"/>
                    <a:pt x="150" y="265"/>
                    <a:pt x="158" y="248"/>
                  </a:cubicBezTo>
                  <a:cubicBezTo>
                    <a:pt x="170" y="224"/>
                    <a:pt x="170" y="224"/>
                    <a:pt x="170" y="224"/>
                  </a:cubicBezTo>
                  <a:lnTo>
                    <a:pt x="117" y="184"/>
                  </a:ln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sľiḑe">
              <a:extLst>
                <a:ext uri="{FF2B5EF4-FFF2-40B4-BE49-F238E27FC236}">
                  <a16:creationId xmlns:a16="http://schemas.microsoft.com/office/drawing/2014/main" id="{69FD6468-84FD-40BE-AF14-6060E99CECDF}"/>
                </a:ext>
              </a:extLst>
            </p:cNvPr>
            <p:cNvSpPr/>
            <p:nvPr/>
          </p:nvSpPr>
          <p:spPr bwMode="auto">
            <a:xfrm>
              <a:off x="7851493" y="1926398"/>
              <a:ext cx="314308" cy="482425"/>
            </a:xfrm>
            <a:custGeom>
              <a:avLst/>
              <a:gdLst>
                <a:gd name="T0" fmla="*/ 40 w 62"/>
                <a:gd name="T1" fmla="*/ 30 h 95"/>
                <a:gd name="T2" fmla="*/ 55 w 62"/>
                <a:gd name="T3" fmla="*/ 0 h 95"/>
                <a:gd name="T4" fmla="*/ 39 w 62"/>
                <a:gd name="T5" fmla="*/ 65 h 95"/>
                <a:gd name="T6" fmla="*/ 32 w 62"/>
                <a:gd name="T7" fmla="*/ 72 h 95"/>
                <a:gd name="T8" fmla="*/ 42 w 62"/>
                <a:gd name="T9" fmla="*/ 68 h 95"/>
                <a:gd name="T10" fmla="*/ 57 w 62"/>
                <a:gd name="T11" fmla="*/ 56 h 95"/>
                <a:gd name="T12" fmla="*/ 26 w 62"/>
                <a:gd name="T13" fmla="*/ 89 h 95"/>
                <a:gd name="T14" fmla="*/ 19 w 62"/>
                <a:gd name="T15" fmla="*/ 79 h 95"/>
                <a:gd name="T16" fmla="*/ 1 w 62"/>
                <a:gd name="T17" fmla="*/ 84 h 95"/>
                <a:gd name="T18" fmla="*/ 3 w 62"/>
                <a:gd name="T19" fmla="*/ 56 h 95"/>
                <a:gd name="T20" fmla="*/ 40 w 62"/>
                <a:gd name="T21" fmla="*/ 3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95">
                  <a:moveTo>
                    <a:pt x="40" y="30"/>
                  </a:moveTo>
                  <a:cubicBezTo>
                    <a:pt x="48" y="18"/>
                    <a:pt x="53" y="8"/>
                    <a:pt x="55" y="0"/>
                  </a:cubicBezTo>
                  <a:cubicBezTo>
                    <a:pt x="62" y="22"/>
                    <a:pt x="57" y="48"/>
                    <a:pt x="39" y="65"/>
                  </a:cubicBezTo>
                  <a:cubicBezTo>
                    <a:pt x="37" y="68"/>
                    <a:pt x="34" y="70"/>
                    <a:pt x="32" y="72"/>
                  </a:cubicBezTo>
                  <a:cubicBezTo>
                    <a:pt x="35" y="71"/>
                    <a:pt x="38" y="70"/>
                    <a:pt x="42" y="68"/>
                  </a:cubicBezTo>
                  <a:cubicBezTo>
                    <a:pt x="51" y="64"/>
                    <a:pt x="57" y="56"/>
                    <a:pt x="57" y="56"/>
                  </a:cubicBezTo>
                  <a:cubicBezTo>
                    <a:pt x="57" y="56"/>
                    <a:pt x="49" y="81"/>
                    <a:pt x="26" y="89"/>
                  </a:cubicBezTo>
                  <a:cubicBezTo>
                    <a:pt x="10" y="95"/>
                    <a:pt x="14" y="86"/>
                    <a:pt x="19" y="79"/>
                  </a:cubicBezTo>
                  <a:cubicBezTo>
                    <a:pt x="13" y="82"/>
                    <a:pt x="7" y="83"/>
                    <a:pt x="1" y="84"/>
                  </a:cubicBezTo>
                  <a:cubicBezTo>
                    <a:pt x="0" y="69"/>
                    <a:pt x="3" y="56"/>
                    <a:pt x="3" y="56"/>
                  </a:cubicBezTo>
                  <a:cubicBezTo>
                    <a:pt x="3" y="56"/>
                    <a:pt x="21" y="59"/>
                    <a:pt x="40" y="30"/>
                  </a:cubicBezTo>
                  <a:close/>
                </a:path>
              </a:pathLst>
            </a:custGeom>
            <a:solidFill>
              <a:srgbClr val="722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ṣ1îḓe">
              <a:extLst>
                <a:ext uri="{FF2B5EF4-FFF2-40B4-BE49-F238E27FC236}">
                  <a16:creationId xmlns:a16="http://schemas.microsoft.com/office/drawing/2014/main" id="{D6E6EEFE-DCC2-45A7-A921-2DC808364D5C}"/>
                </a:ext>
              </a:extLst>
            </p:cNvPr>
            <p:cNvSpPr/>
            <p:nvPr/>
          </p:nvSpPr>
          <p:spPr bwMode="auto">
            <a:xfrm>
              <a:off x="7498201" y="1673003"/>
              <a:ext cx="526282" cy="375220"/>
            </a:xfrm>
            <a:custGeom>
              <a:avLst/>
              <a:gdLst>
                <a:gd name="T0" fmla="*/ 18 w 104"/>
                <a:gd name="T1" fmla="*/ 25 h 74"/>
                <a:gd name="T2" fmla="*/ 104 w 104"/>
                <a:gd name="T3" fmla="*/ 20 h 74"/>
                <a:gd name="T4" fmla="*/ 99 w 104"/>
                <a:gd name="T5" fmla="*/ 40 h 74"/>
                <a:gd name="T6" fmla="*/ 47 w 104"/>
                <a:gd name="T7" fmla="*/ 56 h 74"/>
                <a:gd name="T8" fmla="*/ 67 w 104"/>
                <a:gd name="T9" fmla="*/ 62 h 74"/>
                <a:gd name="T10" fmla="*/ 85 w 104"/>
                <a:gd name="T11" fmla="*/ 61 h 74"/>
                <a:gd name="T12" fmla="*/ 40 w 104"/>
                <a:gd name="T13" fmla="*/ 71 h 74"/>
                <a:gd name="T14" fmla="*/ 0 w 104"/>
                <a:gd name="T15" fmla="*/ 69 h 74"/>
                <a:gd name="T16" fmla="*/ 18 w 104"/>
                <a:gd name="T17" fmla="*/ 2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74">
                  <a:moveTo>
                    <a:pt x="18" y="25"/>
                  </a:moveTo>
                  <a:cubicBezTo>
                    <a:pt x="42" y="1"/>
                    <a:pt x="79" y="0"/>
                    <a:pt x="104" y="20"/>
                  </a:cubicBezTo>
                  <a:cubicBezTo>
                    <a:pt x="104" y="26"/>
                    <a:pt x="103" y="35"/>
                    <a:pt x="99" y="40"/>
                  </a:cubicBezTo>
                  <a:cubicBezTo>
                    <a:pt x="84" y="57"/>
                    <a:pt x="47" y="56"/>
                    <a:pt x="47" y="56"/>
                  </a:cubicBezTo>
                  <a:cubicBezTo>
                    <a:pt x="47" y="56"/>
                    <a:pt x="58" y="62"/>
                    <a:pt x="67" y="62"/>
                  </a:cubicBezTo>
                  <a:cubicBezTo>
                    <a:pt x="76" y="62"/>
                    <a:pt x="85" y="61"/>
                    <a:pt x="85" y="61"/>
                  </a:cubicBezTo>
                  <a:cubicBezTo>
                    <a:pt x="85" y="61"/>
                    <a:pt x="68" y="74"/>
                    <a:pt x="40" y="71"/>
                  </a:cubicBezTo>
                  <a:cubicBezTo>
                    <a:pt x="29" y="69"/>
                    <a:pt x="13" y="71"/>
                    <a:pt x="0" y="69"/>
                  </a:cubicBezTo>
                  <a:cubicBezTo>
                    <a:pt x="0" y="53"/>
                    <a:pt x="6" y="37"/>
                    <a:pt x="18" y="25"/>
                  </a:cubicBezTo>
                  <a:close/>
                </a:path>
              </a:pathLst>
            </a:custGeom>
            <a:solidFill>
              <a:srgbClr val="A03F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S1íḍè">
              <a:extLst>
                <a:ext uri="{FF2B5EF4-FFF2-40B4-BE49-F238E27FC236}">
                  <a16:creationId xmlns:a16="http://schemas.microsoft.com/office/drawing/2014/main" id="{41442D40-C9EC-4BAF-BBA1-300B98829302}"/>
                </a:ext>
              </a:extLst>
            </p:cNvPr>
            <p:cNvSpPr/>
            <p:nvPr/>
          </p:nvSpPr>
          <p:spPr bwMode="auto">
            <a:xfrm>
              <a:off x="7568860" y="1982438"/>
              <a:ext cx="501917" cy="1366873"/>
            </a:xfrm>
            <a:custGeom>
              <a:avLst/>
              <a:gdLst>
                <a:gd name="T0" fmla="*/ 18 w 99"/>
                <a:gd name="T1" fmla="*/ 0 h 270"/>
                <a:gd name="T2" fmla="*/ 95 w 99"/>
                <a:gd name="T3" fmla="*/ 138 h 270"/>
                <a:gd name="T4" fmla="*/ 14 w 99"/>
                <a:gd name="T5" fmla="*/ 270 h 270"/>
                <a:gd name="T6" fmla="*/ 0 w 99"/>
                <a:gd name="T7" fmla="*/ 45 h 270"/>
                <a:gd name="T8" fmla="*/ 18 w 99"/>
                <a:gd name="T9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270">
                  <a:moveTo>
                    <a:pt x="18" y="0"/>
                  </a:moveTo>
                  <a:cubicBezTo>
                    <a:pt x="18" y="0"/>
                    <a:pt x="90" y="35"/>
                    <a:pt x="95" y="138"/>
                  </a:cubicBezTo>
                  <a:cubicBezTo>
                    <a:pt x="99" y="229"/>
                    <a:pt x="14" y="270"/>
                    <a:pt x="14" y="270"/>
                  </a:cubicBezTo>
                  <a:cubicBezTo>
                    <a:pt x="0" y="45"/>
                    <a:pt x="0" y="45"/>
                    <a:pt x="0" y="45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B949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íṡḷîḍè">
              <a:extLst>
                <a:ext uri="{FF2B5EF4-FFF2-40B4-BE49-F238E27FC236}">
                  <a16:creationId xmlns:a16="http://schemas.microsoft.com/office/drawing/2014/main" id="{CEE4FD94-85CE-4EB6-9A17-882C2BBF8916}"/>
                </a:ext>
              </a:extLst>
            </p:cNvPr>
            <p:cNvSpPr/>
            <p:nvPr/>
          </p:nvSpPr>
          <p:spPr bwMode="auto">
            <a:xfrm>
              <a:off x="6158130" y="1943454"/>
              <a:ext cx="1505752" cy="1995488"/>
            </a:xfrm>
            <a:custGeom>
              <a:avLst/>
              <a:gdLst>
                <a:gd name="T0" fmla="*/ 136 w 297"/>
                <a:gd name="T1" fmla="*/ 394 h 394"/>
                <a:gd name="T2" fmla="*/ 136 w 297"/>
                <a:gd name="T3" fmla="*/ 394 h 394"/>
                <a:gd name="T4" fmla="*/ 297 w 297"/>
                <a:gd name="T5" fmla="*/ 251 h 394"/>
                <a:gd name="T6" fmla="*/ 296 w 297"/>
                <a:gd name="T7" fmla="*/ 8 h 394"/>
                <a:gd name="T8" fmla="*/ 293 w 297"/>
                <a:gd name="T9" fmla="*/ 3 h 394"/>
                <a:gd name="T10" fmla="*/ 103 w 297"/>
                <a:gd name="T11" fmla="*/ 0 h 394"/>
                <a:gd name="T12" fmla="*/ 43 w 297"/>
                <a:gd name="T13" fmla="*/ 86 h 394"/>
                <a:gd name="T14" fmla="*/ 26 w 297"/>
                <a:gd name="T15" fmla="*/ 260 h 394"/>
                <a:gd name="T16" fmla="*/ 136 w 297"/>
                <a:gd name="T17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7" h="394">
                  <a:moveTo>
                    <a:pt x="136" y="394"/>
                  </a:moveTo>
                  <a:cubicBezTo>
                    <a:pt x="136" y="394"/>
                    <a:pt x="136" y="394"/>
                    <a:pt x="136" y="394"/>
                  </a:cubicBezTo>
                  <a:cubicBezTo>
                    <a:pt x="218" y="394"/>
                    <a:pt x="293" y="319"/>
                    <a:pt x="297" y="251"/>
                  </a:cubicBezTo>
                  <a:cubicBezTo>
                    <a:pt x="296" y="8"/>
                    <a:pt x="296" y="8"/>
                    <a:pt x="296" y="8"/>
                  </a:cubicBezTo>
                  <a:cubicBezTo>
                    <a:pt x="293" y="3"/>
                    <a:pt x="293" y="3"/>
                    <a:pt x="293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6"/>
                    <a:pt x="0" y="117"/>
                    <a:pt x="26" y="260"/>
                  </a:cubicBezTo>
                  <a:cubicBezTo>
                    <a:pt x="39" y="329"/>
                    <a:pt x="66" y="394"/>
                    <a:pt x="136" y="394"/>
                  </a:cubicBez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ïś1îḋê">
              <a:extLst>
                <a:ext uri="{FF2B5EF4-FFF2-40B4-BE49-F238E27FC236}">
                  <a16:creationId xmlns:a16="http://schemas.microsoft.com/office/drawing/2014/main" id="{9BF08FFC-CC7C-49A2-8845-1C0A0FE35CDD}"/>
                </a:ext>
              </a:extLst>
            </p:cNvPr>
            <p:cNvSpPr/>
            <p:nvPr/>
          </p:nvSpPr>
          <p:spPr bwMode="auto">
            <a:xfrm>
              <a:off x="7668755" y="1743662"/>
              <a:ext cx="248522" cy="163246"/>
            </a:xfrm>
            <a:custGeom>
              <a:avLst/>
              <a:gdLst>
                <a:gd name="T0" fmla="*/ 22 w 49"/>
                <a:gd name="T1" fmla="*/ 2 h 32"/>
                <a:gd name="T2" fmla="*/ 41 w 49"/>
                <a:gd name="T3" fmla="*/ 4 h 32"/>
                <a:gd name="T4" fmla="*/ 34 w 49"/>
                <a:gd name="T5" fmla="*/ 25 h 32"/>
                <a:gd name="T6" fmla="*/ 3 w 49"/>
                <a:gd name="T7" fmla="*/ 19 h 32"/>
                <a:gd name="T8" fmla="*/ 22 w 49"/>
                <a:gd name="T9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2">
                  <a:moveTo>
                    <a:pt x="22" y="2"/>
                  </a:moveTo>
                  <a:cubicBezTo>
                    <a:pt x="22" y="2"/>
                    <a:pt x="33" y="0"/>
                    <a:pt x="41" y="4"/>
                  </a:cubicBezTo>
                  <a:cubicBezTo>
                    <a:pt x="49" y="8"/>
                    <a:pt x="44" y="19"/>
                    <a:pt x="34" y="25"/>
                  </a:cubicBezTo>
                  <a:cubicBezTo>
                    <a:pt x="24" y="32"/>
                    <a:pt x="6" y="29"/>
                    <a:pt x="3" y="19"/>
                  </a:cubicBezTo>
                  <a:cubicBezTo>
                    <a:pt x="0" y="9"/>
                    <a:pt x="16" y="2"/>
                    <a:pt x="22" y="2"/>
                  </a:cubicBezTo>
                  <a:close/>
                </a:path>
              </a:pathLst>
            </a:custGeom>
            <a:solidFill>
              <a:srgbClr val="B949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ṡḻîḍê">
              <a:extLst>
                <a:ext uri="{FF2B5EF4-FFF2-40B4-BE49-F238E27FC236}">
                  <a16:creationId xmlns:a16="http://schemas.microsoft.com/office/drawing/2014/main" id="{6BBEE167-DFAF-4B83-9543-86596EB96EFF}"/>
                </a:ext>
              </a:extLst>
            </p:cNvPr>
            <p:cNvSpPr/>
            <p:nvPr/>
          </p:nvSpPr>
          <p:spPr bwMode="auto">
            <a:xfrm>
              <a:off x="6945118" y="2930233"/>
              <a:ext cx="151063" cy="146190"/>
            </a:xfrm>
            <a:prstGeom prst="ellipse">
              <a:avLst/>
            </a:pr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$ľîḓê">
              <a:extLst>
                <a:ext uri="{FF2B5EF4-FFF2-40B4-BE49-F238E27FC236}">
                  <a16:creationId xmlns:a16="http://schemas.microsoft.com/office/drawing/2014/main" id="{37066C52-2A57-40BF-B713-9670A75DE7C4}"/>
                </a:ext>
              </a:extLst>
            </p:cNvPr>
            <p:cNvSpPr/>
            <p:nvPr/>
          </p:nvSpPr>
          <p:spPr bwMode="auto">
            <a:xfrm>
              <a:off x="6372541" y="2930233"/>
              <a:ext cx="151063" cy="146190"/>
            </a:xfrm>
            <a:prstGeom prst="ellipse">
              <a:avLst/>
            </a:pr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sľîḍé">
              <a:extLst>
                <a:ext uri="{FF2B5EF4-FFF2-40B4-BE49-F238E27FC236}">
                  <a16:creationId xmlns:a16="http://schemas.microsoft.com/office/drawing/2014/main" id="{8F6A6B87-4025-43BF-87DE-9B1A2060B0BC}"/>
                </a:ext>
              </a:extLst>
            </p:cNvPr>
            <p:cNvSpPr/>
            <p:nvPr/>
          </p:nvSpPr>
          <p:spPr bwMode="auto">
            <a:xfrm>
              <a:off x="6443201" y="2954598"/>
              <a:ext cx="56040" cy="5604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$ļide">
              <a:extLst>
                <a:ext uri="{FF2B5EF4-FFF2-40B4-BE49-F238E27FC236}">
                  <a16:creationId xmlns:a16="http://schemas.microsoft.com/office/drawing/2014/main" id="{E0FA120C-9945-434A-B1AB-AFCF9DB16641}"/>
                </a:ext>
              </a:extLst>
            </p:cNvPr>
            <p:cNvSpPr/>
            <p:nvPr/>
          </p:nvSpPr>
          <p:spPr bwMode="auto">
            <a:xfrm>
              <a:off x="6893951" y="2545267"/>
              <a:ext cx="309435" cy="95024"/>
            </a:xfrm>
            <a:custGeom>
              <a:avLst/>
              <a:gdLst>
                <a:gd name="T0" fmla="*/ 0 w 61"/>
                <a:gd name="T1" fmla="*/ 19 h 19"/>
                <a:gd name="T2" fmla="*/ 1 w 61"/>
                <a:gd name="T3" fmla="*/ 17 h 19"/>
                <a:gd name="T4" fmla="*/ 6 w 61"/>
                <a:gd name="T5" fmla="*/ 10 h 19"/>
                <a:gd name="T6" fmla="*/ 10 w 61"/>
                <a:gd name="T7" fmla="*/ 6 h 19"/>
                <a:gd name="T8" fmla="*/ 16 w 61"/>
                <a:gd name="T9" fmla="*/ 2 h 19"/>
                <a:gd name="T10" fmla="*/ 19 w 61"/>
                <a:gd name="T11" fmla="*/ 1 h 19"/>
                <a:gd name="T12" fmla="*/ 23 w 61"/>
                <a:gd name="T13" fmla="*/ 0 h 19"/>
                <a:gd name="T14" fmla="*/ 27 w 61"/>
                <a:gd name="T15" fmla="*/ 0 h 19"/>
                <a:gd name="T16" fmla="*/ 29 w 61"/>
                <a:gd name="T17" fmla="*/ 0 h 19"/>
                <a:gd name="T18" fmla="*/ 30 w 61"/>
                <a:gd name="T19" fmla="*/ 0 h 19"/>
                <a:gd name="T20" fmla="*/ 37 w 61"/>
                <a:gd name="T21" fmla="*/ 1 h 19"/>
                <a:gd name="T22" fmla="*/ 44 w 61"/>
                <a:gd name="T23" fmla="*/ 3 h 19"/>
                <a:gd name="T24" fmla="*/ 50 w 61"/>
                <a:gd name="T25" fmla="*/ 6 h 19"/>
                <a:gd name="T26" fmla="*/ 55 w 61"/>
                <a:gd name="T27" fmla="*/ 10 h 19"/>
                <a:gd name="T28" fmla="*/ 60 w 61"/>
                <a:gd name="T29" fmla="*/ 16 h 19"/>
                <a:gd name="T30" fmla="*/ 61 w 61"/>
                <a:gd name="T31" fmla="*/ 19 h 19"/>
                <a:gd name="T32" fmla="*/ 52 w 61"/>
                <a:gd name="T33" fmla="*/ 12 h 19"/>
                <a:gd name="T34" fmla="*/ 48 w 61"/>
                <a:gd name="T35" fmla="*/ 10 h 19"/>
                <a:gd name="T36" fmla="*/ 42 w 61"/>
                <a:gd name="T37" fmla="*/ 8 h 19"/>
                <a:gd name="T38" fmla="*/ 36 w 61"/>
                <a:gd name="T39" fmla="*/ 7 h 19"/>
                <a:gd name="T40" fmla="*/ 30 w 61"/>
                <a:gd name="T41" fmla="*/ 6 h 19"/>
                <a:gd name="T42" fmla="*/ 28 w 61"/>
                <a:gd name="T43" fmla="*/ 6 h 19"/>
                <a:gd name="T44" fmla="*/ 27 w 61"/>
                <a:gd name="T45" fmla="*/ 6 h 19"/>
                <a:gd name="T46" fmla="*/ 24 w 61"/>
                <a:gd name="T47" fmla="*/ 6 h 19"/>
                <a:gd name="T48" fmla="*/ 18 w 61"/>
                <a:gd name="T49" fmla="*/ 7 h 19"/>
                <a:gd name="T50" fmla="*/ 8 w 61"/>
                <a:gd name="T51" fmla="*/ 12 h 19"/>
                <a:gd name="T52" fmla="*/ 2 w 61"/>
                <a:gd name="T53" fmla="*/ 17 h 19"/>
                <a:gd name="T54" fmla="*/ 0 w 61"/>
                <a:gd name="T5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1" h="19">
                  <a:moveTo>
                    <a:pt x="0" y="19"/>
                  </a:moveTo>
                  <a:cubicBezTo>
                    <a:pt x="0" y="19"/>
                    <a:pt x="0" y="18"/>
                    <a:pt x="1" y="17"/>
                  </a:cubicBezTo>
                  <a:cubicBezTo>
                    <a:pt x="2" y="15"/>
                    <a:pt x="4" y="12"/>
                    <a:pt x="6" y="10"/>
                  </a:cubicBezTo>
                  <a:cubicBezTo>
                    <a:pt x="7" y="8"/>
                    <a:pt x="9" y="7"/>
                    <a:pt x="10" y="6"/>
                  </a:cubicBezTo>
                  <a:cubicBezTo>
                    <a:pt x="12" y="5"/>
                    <a:pt x="14" y="3"/>
                    <a:pt x="16" y="2"/>
                  </a:cubicBezTo>
                  <a:cubicBezTo>
                    <a:pt x="17" y="2"/>
                    <a:pt x="18" y="1"/>
                    <a:pt x="19" y="1"/>
                  </a:cubicBezTo>
                  <a:cubicBezTo>
                    <a:pt x="21" y="1"/>
                    <a:pt x="22" y="0"/>
                    <a:pt x="23" y="0"/>
                  </a:cubicBezTo>
                  <a:cubicBezTo>
                    <a:pt x="24" y="0"/>
                    <a:pt x="25" y="0"/>
                    <a:pt x="27" y="0"/>
                  </a:cubicBezTo>
                  <a:cubicBezTo>
                    <a:pt x="27" y="0"/>
                    <a:pt x="28" y="0"/>
                    <a:pt x="2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5" y="1"/>
                    <a:pt x="37" y="1"/>
                  </a:cubicBezTo>
                  <a:cubicBezTo>
                    <a:pt x="40" y="2"/>
                    <a:pt x="42" y="2"/>
                    <a:pt x="44" y="3"/>
                  </a:cubicBezTo>
                  <a:cubicBezTo>
                    <a:pt x="46" y="4"/>
                    <a:pt x="48" y="5"/>
                    <a:pt x="50" y="6"/>
                  </a:cubicBezTo>
                  <a:cubicBezTo>
                    <a:pt x="52" y="7"/>
                    <a:pt x="53" y="8"/>
                    <a:pt x="55" y="10"/>
                  </a:cubicBezTo>
                  <a:cubicBezTo>
                    <a:pt x="57" y="12"/>
                    <a:pt x="59" y="15"/>
                    <a:pt x="60" y="16"/>
                  </a:cubicBezTo>
                  <a:cubicBezTo>
                    <a:pt x="61" y="18"/>
                    <a:pt x="61" y="19"/>
                    <a:pt x="61" y="19"/>
                  </a:cubicBezTo>
                  <a:cubicBezTo>
                    <a:pt x="61" y="19"/>
                    <a:pt x="58" y="16"/>
                    <a:pt x="52" y="12"/>
                  </a:cubicBezTo>
                  <a:cubicBezTo>
                    <a:pt x="51" y="12"/>
                    <a:pt x="49" y="11"/>
                    <a:pt x="48" y="10"/>
                  </a:cubicBezTo>
                  <a:cubicBezTo>
                    <a:pt x="46" y="9"/>
                    <a:pt x="44" y="9"/>
                    <a:pt x="42" y="8"/>
                  </a:cubicBezTo>
                  <a:cubicBezTo>
                    <a:pt x="40" y="8"/>
                    <a:pt x="38" y="7"/>
                    <a:pt x="36" y="7"/>
                  </a:cubicBezTo>
                  <a:cubicBezTo>
                    <a:pt x="34" y="6"/>
                    <a:pt x="32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6" y="6"/>
                    <a:pt x="25" y="6"/>
                    <a:pt x="24" y="6"/>
                  </a:cubicBezTo>
                  <a:cubicBezTo>
                    <a:pt x="22" y="6"/>
                    <a:pt x="20" y="7"/>
                    <a:pt x="18" y="7"/>
                  </a:cubicBezTo>
                  <a:cubicBezTo>
                    <a:pt x="14" y="8"/>
                    <a:pt x="11" y="10"/>
                    <a:pt x="8" y="12"/>
                  </a:cubicBezTo>
                  <a:cubicBezTo>
                    <a:pt x="6" y="14"/>
                    <a:pt x="3" y="16"/>
                    <a:pt x="2" y="17"/>
                  </a:cubicBezTo>
                  <a:cubicBezTo>
                    <a:pt x="1" y="19"/>
                    <a:pt x="0" y="19"/>
                    <a:pt x="0" y="19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ṣļïḋe">
              <a:extLst>
                <a:ext uri="{FF2B5EF4-FFF2-40B4-BE49-F238E27FC236}">
                  <a16:creationId xmlns:a16="http://schemas.microsoft.com/office/drawing/2014/main" id="{7C902CAD-EEF4-48B3-A111-32B16768A465}"/>
                </a:ext>
              </a:extLst>
            </p:cNvPr>
            <p:cNvSpPr/>
            <p:nvPr/>
          </p:nvSpPr>
          <p:spPr bwMode="auto">
            <a:xfrm>
              <a:off x="6289701" y="2545267"/>
              <a:ext cx="275324" cy="95024"/>
            </a:xfrm>
            <a:custGeom>
              <a:avLst/>
              <a:gdLst>
                <a:gd name="T0" fmla="*/ 54 w 54"/>
                <a:gd name="T1" fmla="*/ 19 h 19"/>
                <a:gd name="T2" fmla="*/ 47 w 54"/>
                <a:gd name="T3" fmla="*/ 12 h 19"/>
                <a:gd name="T4" fmla="*/ 43 w 54"/>
                <a:gd name="T5" fmla="*/ 10 h 19"/>
                <a:gd name="T6" fmla="*/ 38 w 54"/>
                <a:gd name="T7" fmla="*/ 7 h 19"/>
                <a:gd name="T8" fmla="*/ 33 w 54"/>
                <a:gd name="T9" fmla="*/ 6 h 19"/>
                <a:gd name="T10" fmla="*/ 27 w 54"/>
                <a:gd name="T11" fmla="*/ 6 h 19"/>
                <a:gd name="T12" fmla="*/ 21 w 54"/>
                <a:gd name="T13" fmla="*/ 7 h 19"/>
                <a:gd name="T14" fmla="*/ 16 w 54"/>
                <a:gd name="T15" fmla="*/ 8 h 19"/>
                <a:gd name="T16" fmla="*/ 7 w 54"/>
                <a:gd name="T17" fmla="*/ 12 h 19"/>
                <a:gd name="T18" fmla="*/ 4 w 54"/>
                <a:gd name="T19" fmla="*/ 14 h 19"/>
                <a:gd name="T20" fmla="*/ 2 w 54"/>
                <a:gd name="T21" fmla="*/ 17 h 19"/>
                <a:gd name="T22" fmla="*/ 0 w 54"/>
                <a:gd name="T23" fmla="*/ 19 h 19"/>
                <a:gd name="T24" fmla="*/ 1 w 54"/>
                <a:gd name="T25" fmla="*/ 16 h 19"/>
                <a:gd name="T26" fmla="*/ 4 w 54"/>
                <a:gd name="T27" fmla="*/ 9 h 19"/>
                <a:gd name="T28" fmla="*/ 8 w 54"/>
                <a:gd name="T29" fmla="*/ 5 h 19"/>
                <a:gd name="T30" fmla="*/ 11 w 54"/>
                <a:gd name="T31" fmla="*/ 4 h 19"/>
                <a:gd name="T32" fmla="*/ 14 w 54"/>
                <a:gd name="T33" fmla="*/ 2 h 19"/>
                <a:gd name="T34" fmla="*/ 20 w 54"/>
                <a:gd name="T35" fmla="*/ 1 h 19"/>
                <a:gd name="T36" fmla="*/ 27 w 54"/>
                <a:gd name="T37" fmla="*/ 0 h 19"/>
                <a:gd name="T38" fmla="*/ 34 w 54"/>
                <a:gd name="T39" fmla="*/ 1 h 19"/>
                <a:gd name="T40" fmla="*/ 40 w 54"/>
                <a:gd name="T41" fmla="*/ 3 h 19"/>
                <a:gd name="T42" fmla="*/ 45 w 54"/>
                <a:gd name="T43" fmla="*/ 6 h 19"/>
                <a:gd name="T44" fmla="*/ 49 w 54"/>
                <a:gd name="T45" fmla="*/ 10 h 19"/>
                <a:gd name="T46" fmla="*/ 53 w 54"/>
                <a:gd name="T47" fmla="*/ 17 h 19"/>
                <a:gd name="T48" fmla="*/ 54 w 54"/>
                <a:gd name="T4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19">
                  <a:moveTo>
                    <a:pt x="54" y="19"/>
                  </a:moveTo>
                  <a:cubicBezTo>
                    <a:pt x="54" y="19"/>
                    <a:pt x="52" y="16"/>
                    <a:pt x="47" y="12"/>
                  </a:cubicBezTo>
                  <a:cubicBezTo>
                    <a:pt x="46" y="11"/>
                    <a:pt x="44" y="10"/>
                    <a:pt x="43" y="10"/>
                  </a:cubicBezTo>
                  <a:cubicBezTo>
                    <a:pt x="41" y="9"/>
                    <a:pt x="40" y="8"/>
                    <a:pt x="38" y="7"/>
                  </a:cubicBezTo>
                  <a:cubicBezTo>
                    <a:pt x="36" y="7"/>
                    <a:pt x="35" y="6"/>
                    <a:pt x="33" y="6"/>
                  </a:cubicBezTo>
                  <a:cubicBezTo>
                    <a:pt x="31" y="6"/>
                    <a:pt x="29" y="6"/>
                    <a:pt x="27" y="6"/>
                  </a:cubicBezTo>
                  <a:cubicBezTo>
                    <a:pt x="25" y="6"/>
                    <a:pt x="23" y="6"/>
                    <a:pt x="21" y="7"/>
                  </a:cubicBezTo>
                  <a:cubicBezTo>
                    <a:pt x="19" y="7"/>
                    <a:pt x="17" y="7"/>
                    <a:pt x="16" y="8"/>
                  </a:cubicBezTo>
                  <a:cubicBezTo>
                    <a:pt x="12" y="9"/>
                    <a:pt x="9" y="10"/>
                    <a:pt x="7" y="12"/>
                  </a:cubicBezTo>
                  <a:cubicBezTo>
                    <a:pt x="6" y="13"/>
                    <a:pt x="5" y="13"/>
                    <a:pt x="4" y="14"/>
                  </a:cubicBezTo>
                  <a:cubicBezTo>
                    <a:pt x="3" y="15"/>
                    <a:pt x="2" y="16"/>
                    <a:pt x="2" y="17"/>
                  </a:cubicBezTo>
                  <a:cubicBezTo>
                    <a:pt x="1" y="18"/>
                    <a:pt x="0" y="19"/>
                    <a:pt x="0" y="19"/>
                  </a:cubicBezTo>
                  <a:cubicBezTo>
                    <a:pt x="0" y="19"/>
                    <a:pt x="0" y="18"/>
                    <a:pt x="1" y="16"/>
                  </a:cubicBezTo>
                  <a:cubicBezTo>
                    <a:pt x="1" y="15"/>
                    <a:pt x="2" y="12"/>
                    <a:pt x="4" y="9"/>
                  </a:cubicBezTo>
                  <a:cubicBezTo>
                    <a:pt x="5" y="8"/>
                    <a:pt x="7" y="6"/>
                    <a:pt x="8" y="5"/>
                  </a:cubicBezTo>
                  <a:cubicBezTo>
                    <a:pt x="9" y="5"/>
                    <a:pt x="10" y="4"/>
                    <a:pt x="11" y="4"/>
                  </a:cubicBezTo>
                  <a:cubicBezTo>
                    <a:pt x="12" y="3"/>
                    <a:pt x="13" y="3"/>
                    <a:pt x="14" y="2"/>
                  </a:cubicBezTo>
                  <a:cubicBezTo>
                    <a:pt x="16" y="2"/>
                    <a:pt x="18" y="1"/>
                    <a:pt x="20" y="1"/>
                  </a:cubicBezTo>
                  <a:cubicBezTo>
                    <a:pt x="23" y="0"/>
                    <a:pt x="25" y="0"/>
                    <a:pt x="27" y="0"/>
                  </a:cubicBezTo>
                  <a:cubicBezTo>
                    <a:pt x="29" y="0"/>
                    <a:pt x="31" y="0"/>
                    <a:pt x="34" y="1"/>
                  </a:cubicBezTo>
                  <a:cubicBezTo>
                    <a:pt x="36" y="1"/>
                    <a:pt x="38" y="2"/>
                    <a:pt x="40" y="3"/>
                  </a:cubicBezTo>
                  <a:cubicBezTo>
                    <a:pt x="42" y="4"/>
                    <a:pt x="44" y="5"/>
                    <a:pt x="45" y="6"/>
                  </a:cubicBezTo>
                  <a:cubicBezTo>
                    <a:pt x="47" y="7"/>
                    <a:pt x="48" y="9"/>
                    <a:pt x="49" y="10"/>
                  </a:cubicBezTo>
                  <a:cubicBezTo>
                    <a:pt x="51" y="12"/>
                    <a:pt x="53" y="15"/>
                    <a:pt x="53" y="17"/>
                  </a:cubicBezTo>
                  <a:cubicBezTo>
                    <a:pt x="54" y="18"/>
                    <a:pt x="54" y="19"/>
                    <a:pt x="54" y="19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şľíḓè">
              <a:extLst>
                <a:ext uri="{FF2B5EF4-FFF2-40B4-BE49-F238E27FC236}">
                  <a16:creationId xmlns:a16="http://schemas.microsoft.com/office/drawing/2014/main" id="{02A9F25B-35F2-467C-B0DF-4B9723FC0400}"/>
                </a:ext>
              </a:extLst>
            </p:cNvPr>
            <p:cNvSpPr/>
            <p:nvPr/>
          </p:nvSpPr>
          <p:spPr bwMode="auto">
            <a:xfrm>
              <a:off x="7020648" y="2939979"/>
              <a:ext cx="126698" cy="80405"/>
            </a:xfrm>
            <a:custGeom>
              <a:avLst/>
              <a:gdLst>
                <a:gd name="T0" fmla="*/ 0 w 25"/>
                <a:gd name="T1" fmla="*/ 13 h 16"/>
                <a:gd name="T2" fmla="*/ 5 w 25"/>
                <a:gd name="T3" fmla="*/ 11 h 16"/>
                <a:gd name="T4" fmla="*/ 9 w 25"/>
                <a:gd name="T5" fmla="*/ 10 h 16"/>
                <a:gd name="T6" fmla="*/ 14 w 25"/>
                <a:gd name="T7" fmla="*/ 8 h 16"/>
                <a:gd name="T8" fmla="*/ 16 w 25"/>
                <a:gd name="T9" fmla="*/ 7 h 16"/>
                <a:gd name="T10" fmla="*/ 18 w 25"/>
                <a:gd name="T11" fmla="*/ 6 h 16"/>
                <a:gd name="T12" fmla="*/ 20 w 25"/>
                <a:gd name="T13" fmla="*/ 4 h 16"/>
                <a:gd name="T14" fmla="*/ 22 w 25"/>
                <a:gd name="T15" fmla="*/ 3 h 16"/>
                <a:gd name="T16" fmla="*/ 23 w 25"/>
                <a:gd name="T17" fmla="*/ 2 h 16"/>
                <a:gd name="T18" fmla="*/ 24 w 25"/>
                <a:gd name="T19" fmla="*/ 1 h 16"/>
                <a:gd name="T20" fmla="*/ 25 w 25"/>
                <a:gd name="T21" fmla="*/ 0 h 16"/>
                <a:gd name="T22" fmla="*/ 25 w 25"/>
                <a:gd name="T23" fmla="*/ 1 h 16"/>
                <a:gd name="T24" fmla="*/ 24 w 25"/>
                <a:gd name="T25" fmla="*/ 5 h 16"/>
                <a:gd name="T26" fmla="*/ 23 w 25"/>
                <a:gd name="T27" fmla="*/ 7 h 16"/>
                <a:gd name="T28" fmla="*/ 22 w 25"/>
                <a:gd name="T29" fmla="*/ 10 h 16"/>
                <a:gd name="T30" fmla="*/ 19 w 25"/>
                <a:gd name="T31" fmla="*/ 12 h 16"/>
                <a:gd name="T32" fmla="*/ 16 w 25"/>
                <a:gd name="T33" fmla="*/ 14 h 16"/>
                <a:gd name="T34" fmla="*/ 5 w 25"/>
                <a:gd name="T35" fmla="*/ 15 h 16"/>
                <a:gd name="T36" fmla="*/ 0 w 25"/>
                <a:gd name="T37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16">
                  <a:moveTo>
                    <a:pt x="0" y="13"/>
                  </a:moveTo>
                  <a:cubicBezTo>
                    <a:pt x="0" y="13"/>
                    <a:pt x="2" y="12"/>
                    <a:pt x="5" y="11"/>
                  </a:cubicBezTo>
                  <a:cubicBezTo>
                    <a:pt x="6" y="11"/>
                    <a:pt x="8" y="11"/>
                    <a:pt x="9" y="10"/>
                  </a:cubicBezTo>
                  <a:cubicBezTo>
                    <a:pt x="11" y="10"/>
                    <a:pt x="12" y="9"/>
                    <a:pt x="14" y="8"/>
                  </a:cubicBezTo>
                  <a:cubicBezTo>
                    <a:pt x="15" y="8"/>
                    <a:pt x="15" y="7"/>
                    <a:pt x="16" y="7"/>
                  </a:cubicBezTo>
                  <a:cubicBezTo>
                    <a:pt x="17" y="7"/>
                    <a:pt x="17" y="6"/>
                    <a:pt x="18" y="6"/>
                  </a:cubicBezTo>
                  <a:cubicBezTo>
                    <a:pt x="19" y="5"/>
                    <a:pt x="19" y="5"/>
                    <a:pt x="20" y="4"/>
                  </a:cubicBezTo>
                  <a:cubicBezTo>
                    <a:pt x="21" y="4"/>
                    <a:pt x="21" y="3"/>
                    <a:pt x="22" y="3"/>
                  </a:cubicBezTo>
                  <a:cubicBezTo>
                    <a:pt x="22" y="2"/>
                    <a:pt x="23" y="2"/>
                    <a:pt x="23" y="2"/>
                  </a:cubicBezTo>
                  <a:cubicBezTo>
                    <a:pt x="23" y="1"/>
                    <a:pt x="24" y="1"/>
                    <a:pt x="24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1"/>
                  </a:cubicBezTo>
                  <a:cubicBezTo>
                    <a:pt x="25" y="2"/>
                    <a:pt x="25" y="3"/>
                    <a:pt x="24" y="5"/>
                  </a:cubicBezTo>
                  <a:cubicBezTo>
                    <a:pt x="24" y="6"/>
                    <a:pt x="24" y="6"/>
                    <a:pt x="23" y="7"/>
                  </a:cubicBezTo>
                  <a:cubicBezTo>
                    <a:pt x="23" y="8"/>
                    <a:pt x="22" y="9"/>
                    <a:pt x="22" y="10"/>
                  </a:cubicBezTo>
                  <a:cubicBezTo>
                    <a:pt x="21" y="10"/>
                    <a:pt x="20" y="11"/>
                    <a:pt x="19" y="12"/>
                  </a:cubicBezTo>
                  <a:cubicBezTo>
                    <a:pt x="18" y="13"/>
                    <a:pt x="17" y="13"/>
                    <a:pt x="16" y="14"/>
                  </a:cubicBezTo>
                  <a:cubicBezTo>
                    <a:pt x="12" y="16"/>
                    <a:pt x="8" y="16"/>
                    <a:pt x="5" y="15"/>
                  </a:cubicBezTo>
                  <a:cubicBezTo>
                    <a:pt x="2" y="14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ṥļidè">
              <a:extLst>
                <a:ext uri="{FF2B5EF4-FFF2-40B4-BE49-F238E27FC236}">
                  <a16:creationId xmlns:a16="http://schemas.microsoft.com/office/drawing/2014/main" id="{E303B21F-C0BC-4CEB-B034-5D12E807A8A7}"/>
                </a:ext>
              </a:extLst>
            </p:cNvPr>
            <p:cNvSpPr/>
            <p:nvPr/>
          </p:nvSpPr>
          <p:spPr bwMode="auto">
            <a:xfrm>
              <a:off x="7015775" y="2954598"/>
              <a:ext cx="56040" cy="5604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šļïḋè">
              <a:extLst>
                <a:ext uri="{FF2B5EF4-FFF2-40B4-BE49-F238E27FC236}">
                  <a16:creationId xmlns:a16="http://schemas.microsoft.com/office/drawing/2014/main" id="{1327894D-676A-4DE3-BD02-223C241ABEB1}"/>
                </a:ext>
              </a:extLst>
            </p:cNvPr>
            <p:cNvSpPr/>
            <p:nvPr/>
          </p:nvSpPr>
          <p:spPr bwMode="auto">
            <a:xfrm>
              <a:off x="6321376" y="2939979"/>
              <a:ext cx="126698" cy="80405"/>
            </a:xfrm>
            <a:custGeom>
              <a:avLst/>
              <a:gdLst>
                <a:gd name="T0" fmla="*/ 25 w 25"/>
                <a:gd name="T1" fmla="*/ 13 h 16"/>
                <a:gd name="T2" fmla="*/ 20 w 25"/>
                <a:gd name="T3" fmla="*/ 15 h 16"/>
                <a:gd name="T4" fmla="*/ 8 w 25"/>
                <a:gd name="T5" fmla="*/ 14 h 16"/>
                <a:gd name="T6" fmla="*/ 6 w 25"/>
                <a:gd name="T7" fmla="*/ 12 h 16"/>
                <a:gd name="T8" fmla="*/ 3 w 25"/>
                <a:gd name="T9" fmla="*/ 10 h 16"/>
                <a:gd name="T10" fmla="*/ 2 w 25"/>
                <a:gd name="T11" fmla="*/ 7 h 16"/>
                <a:gd name="T12" fmla="*/ 0 w 25"/>
                <a:gd name="T13" fmla="*/ 5 h 16"/>
                <a:gd name="T14" fmla="*/ 0 w 25"/>
                <a:gd name="T15" fmla="*/ 1 h 16"/>
                <a:gd name="T16" fmla="*/ 0 w 25"/>
                <a:gd name="T17" fmla="*/ 0 h 16"/>
                <a:gd name="T18" fmla="*/ 1 w 25"/>
                <a:gd name="T19" fmla="*/ 1 h 16"/>
                <a:gd name="T20" fmla="*/ 2 w 25"/>
                <a:gd name="T21" fmla="*/ 2 h 16"/>
                <a:gd name="T22" fmla="*/ 3 w 25"/>
                <a:gd name="T23" fmla="*/ 3 h 16"/>
                <a:gd name="T24" fmla="*/ 5 w 25"/>
                <a:gd name="T25" fmla="*/ 4 h 16"/>
                <a:gd name="T26" fmla="*/ 7 w 25"/>
                <a:gd name="T27" fmla="*/ 6 h 16"/>
                <a:gd name="T28" fmla="*/ 9 w 25"/>
                <a:gd name="T29" fmla="*/ 7 h 16"/>
                <a:gd name="T30" fmla="*/ 11 w 25"/>
                <a:gd name="T31" fmla="*/ 8 h 16"/>
                <a:gd name="T32" fmla="*/ 16 w 25"/>
                <a:gd name="T33" fmla="*/ 10 h 16"/>
                <a:gd name="T34" fmla="*/ 20 w 25"/>
                <a:gd name="T35" fmla="*/ 11 h 16"/>
                <a:gd name="T36" fmla="*/ 25 w 25"/>
                <a:gd name="T37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16">
                  <a:moveTo>
                    <a:pt x="25" y="13"/>
                  </a:moveTo>
                  <a:cubicBezTo>
                    <a:pt x="25" y="13"/>
                    <a:pt x="23" y="14"/>
                    <a:pt x="20" y="15"/>
                  </a:cubicBezTo>
                  <a:cubicBezTo>
                    <a:pt x="17" y="16"/>
                    <a:pt x="13" y="16"/>
                    <a:pt x="8" y="14"/>
                  </a:cubicBezTo>
                  <a:cubicBezTo>
                    <a:pt x="7" y="13"/>
                    <a:pt x="7" y="13"/>
                    <a:pt x="6" y="12"/>
                  </a:cubicBezTo>
                  <a:cubicBezTo>
                    <a:pt x="5" y="11"/>
                    <a:pt x="4" y="10"/>
                    <a:pt x="3" y="10"/>
                  </a:cubicBezTo>
                  <a:cubicBezTo>
                    <a:pt x="3" y="9"/>
                    <a:pt x="2" y="8"/>
                    <a:pt x="2" y="7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1" y="1"/>
                    <a:pt x="1" y="1"/>
                    <a:pt x="2" y="2"/>
                  </a:cubicBezTo>
                  <a:cubicBezTo>
                    <a:pt x="2" y="2"/>
                    <a:pt x="3" y="2"/>
                    <a:pt x="3" y="3"/>
                  </a:cubicBezTo>
                  <a:cubicBezTo>
                    <a:pt x="4" y="3"/>
                    <a:pt x="4" y="4"/>
                    <a:pt x="5" y="4"/>
                  </a:cubicBezTo>
                  <a:cubicBezTo>
                    <a:pt x="6" y="5"/>
                    <a:pt x="6" y="5"/>
                    <a:pt x="7" y="6"/>
                  </a:cubicBezTo>
                  <a:cubicBezTo>
                    <a:pt x="8" y="6"/>
                    <a:pt x="8" y="7"/>
                    <a:pt x="9" y="7"/>
                  </a:cubicBezTo>
                  <a:cubicBezTo>
                    <a:pt x="10" y="7"/>
                    <a:pt x="10" y="8"/>
                    <a:pt x="11" y="8"/>
                  </a:cubicBezTo>
                  <a:cubicBezTo>
                    <a:pt x="13" y="9"/>
                    <a:pt x="14" y="10"/>
                    <a:pt x="16" y="10"/>
                  </a:cubicBezTo>
                  <a:cubicBezTo>
                    <a:pt x="17" y="11"/>
                    <a:pt x="19" y="11"/>
                    <a:pt x="20" y="11"/>
                  </a:cubicBezTo>
                  <a:cubicBezTo>
                    <a:pt x="23" y="12"/>
                    <a:pt x="25" y="13"/>
                    <a:pt x="25" y="13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iśḻíḑe">
              <a:extLst>
                <a:ext uri="{FF2B5EF4-FFF2-40B4-BE49-F238E27FC236}">
                  <a16:creationId xmlns:a16="http://schemas.microsoft.com/office/drawing/2014/main" id="{C2A9F4A9-2982-4471-8FC2-B2EFC65AC647}"/>
                </a:ext>
              </a:extLst>
            </p:cNvPr>
            <p:cNvSpPr/>
            <p:nvPr/>
          </p:nvSpPr>
          <p:spPr bwMode="auto">
            <a:xfrm>
              <a:off x="6392033" y="4236192"/>
              <a:ext cx="207103" cy="1045256"/>
            </a:xfrm>
            <a:custGeom>
              <a:avLst/>
              <a:gdLst>
                <a:gd name="T0" fmla="*/ 41 w 41"/>
                <a:gd name="T1" fmla="*/ 0 h 206"/>
                <a:gd name="T2" fmla="*/ 4 w 41"/>
                <a:gd name="T3" fmla="*/ 129 h 206"/>
                <a:gd name="T4" fmla="*/ 2 w 41"/>
                <a:gd name="T5" fmla="*/ 164 h 206"/>
                <a:gd name="T6" fmla="*/ 9 w 41"/>
                <a:gd name="T7" fmla="*/ 206 h 206"/>
                <a:gd name="T8" fmla="*/ 24 w 41"/>
                <a:gd name="T9" fmla="*/ 198 h 206"/>
                <a:gd name="T10" fmla="*/ 41 w 41"/>
                <a:gd name="T11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06">
                  <a:moveTo>
                    <a:pt x="41" y="0"/>
                  </a:moveTo>
                  <a:cubicBezTo>
                    <a:pt x="4" y="129"/>
                    <a:pt x="4" y="129"/>
                    <a:pt x="4" y="129"/>
                  </a:cubicBezTo>
                  <a:cubicBezTo>
                    <a:pt x="1" y="140"/>
                    <a:pt x="0" y="152"/>
                    <a:pt x="2" y="164"/>
                  </a:cubicBezTo>
                  <a:cubicBezTo>
                    <a:pt x="9" y="206"/>
                    <a:pt x="9" y="206"/>
                    <a:pt x="9" y="206"/>
                  </a:cubicBezTo>
                  <a:cubicBezTo>
                    <a:pt x="24" y="198"/>
                    <a:pt x="24" y="198"/>
                    <a:pt x="24" y="198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işľîḍê">
              <a:extLst>
                <a:ext uri="{FF2B5EF4-FFF2-40B4-BE49-F238E27FC236}">
                  <a16:creationId xmlns:a16="http://schemas.microsoft.com/office/drawing/2014/main" id="{65E1AD08-9C6C-40D7-85E9-E6CEFB885FB0}"/>
                </a:ext>
              </a:extLst>
            </p:cNvPr>
            <p:cNvSpPr/>
            <p:nvPr/>
          </p:nvSpPr>
          <p:spPr bwMode="auto">
            <a:xfrm>
              <a:off x="6996283" y="2438061"/>
              <a:ext cx="667599" cy="1483824"/>
            </a:xfrm>
            <a:custGeom>
              <a:avLst/>
              <a:gdLst>
                <a:gd name="T0" fmla="*/ 94 w 132"/>
                <a:gd name="T1" fmla="*/ 130 h 293"/>
                <a:gd name="T2" fmla="*/ 62 w 132"/>
                <a:gd name="T3" fmla="*/ 14 h 293"/>
                <a:gd name="T4" fmla="*/ 131 w 132"/>
                <a:gd name="T5" fmla="*/ 18 h 293"/>
                <a:gd name="T6" fmla="*/ 132 w 132"/>
                <a:gd name="T7" fmla="*/ 153 h 293"/>
                <a:gd name="T8" fmla="*/ 0 w 132"/>
                <a:gd name="T9" fmla="*/ 293 h 293"/>
                <a:gd name="T10" fmla="*/ 94 w 132"/>
                <a:gd name="T11" fmla="*/ 13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293">
                  <a:moveTo>
                    <a:pt x="94" y="130"/>
                  </a:moveTo>
                  <a:cubicBezTo>
                    <a:pt x="92" y="66"/>
                    <a:pt x="62" y="14"/>
                    <a:pt x="62" y="14"/>
                  </a:cubicBezTo>
                  <a:cubicBezTo>
                    <a:pt x="62" y="14"/>
                    <a:pt x="91" y="0"/>
                    <a:pt x="131" y="18"/>
                  </a:cubicBezTo>
                  <a:cubicBezTo>
                    <a:pt x="132" y="153"/>
                    <a:pt x="132" y="153"/>
                    <a:pt x="132" y="153"/>
                  </a:cubicBezTo>
                  <a:cubicBezTo>
                    <a:pt x="129" y="213"/>
                    <a:pt x="69" y="279"/>
                    <a:pt x="0" y="293"/>
                  </a:cubicBezTo>
                  <a:cubicBezTo>
                    <a:pt x="54" y="259"/>
                    <a:pt x="96" y="194"/>
                    <a:pt x="94" y="130"/>
                  </a:cubicBezTo>
                  <a:close/>
                </a:path>
              </a:pathLst>
            </a:custGeom>
            <a:solidFill>
              <a:srgbClr val="DF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sḻiḑé">
              <a:extLst>
                <a:ext uri="{FF2B5EF4-FFF2-40B4-BE49-F238E27FC236}">
                  <a16:creationId xmlns:a16="http://schemas.microsoft.com/office/drawing/2014/main" id="{F1F1986F-D685-454A-9299-6098B05D4F6F}"/>
                </a:ext>
              </a:extLst>
            </p:cNvPr>
            <p:cNvSpPr/>
            <p:nvPr/>
          </p:nvSpPr>
          <p:spPr bwMode="auto">
            <a:xfrm>
              <a:off x="7176584" y="1982438"/>
              <a:ext cx="533593" cy="1013581"/>
            </a:xfrm>
            <a:custGeom>
              <a:avLst/>
              <a:gdLst>
                <a:gd name="T0" fmla="*/ 95 w 105"/>
                <a:gd name="T1" fmla="*/ 0 h 200"/>
                <a:gd name="T2" fmla="*/ 3 w 105"/>
                <a:gd name="T3" fmla="*/ 75 h 200"/>
                <a:gd name="T4" fmla="*/ 65 w 105"/>
                <a:gd name="T5" fmla="*/ 136 h 200"/>
                <a:gd name="T6" fmla="*/ 96 w 105"/>
                <a:gd name="T7" fmla="*/ 200 h 200"/>
                <a:gd name="T8" fmla="*/ 105 w 105"/>
                <a:gd name="T9" fmla="*/ 78 h 200"/>
                <a:gd name="T10" fmla="*/ 95 w 105"/>
                <a:gd name="T11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200">
                  <a:moveTo>
                    <a:pt x="95" y="0"/>
                  </a:moveTo>
                  <a:cubicBezTo>
                    <a:pt x="95" y="0"/>
                    <a:pt x="6" y="52"/>
                    <a:pt x="3" y="75"/>
                  </a:cubicBezTo>
                  <a:cubicBezTo>
                    <a:pt x="0" y="98"/>
                    <a:pt x="42" y="105"/>
                    <a:pt x="65" y="136"/>
                  </a:cubicBezTo>
                  <a:cubicBezTo>
                    <a:pt x="88" y="167"/>
                    <a:pt x="96" y="200"/>
                    <a:pt x="96" y="200"/>
                  </a:cubicBezTo>
                  <a:cubicBezTo>
                    <a:pt x="105" y="78"/>
                    <a:pt x="105" y="78"/>
                    <a:pt x="105" y="78"/>
                  </a:cubicBezTo>
                  <a:lnTo>
                    <a:pt x="95" y="0"/>
                  </a:lnTo>
                  <a:close/>
                </a:path>
              </a:pathLst>
            </a:custGeom>
            <a:solidFill>
              <a:srgbClr val="B949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îSľiḍê">
              <a:extLst>
                <a:ext uri="{FF2B5EF4-FFF2-40B4-BE49-F238E27FC236}">
                  <a16:creationId xmlns:a16="http://schemas.microsoft.com/office/drawing/2014/main" id="{E19B776E-C571-4458-84FA-72EE5E8D25A9}"/>
                </a:ext>
              </a:extLst>
            </p:cNvPr>
            <p:cNvSpPr/>
            <p:nvPr/>
          </p:nvSpPr>
          <p:spPr bwMode="auto">
            <a:xfrm>
              <a:off x="6189805" y="1699805"/>
              <a:ext cx="1454587" cy="677345"/>
            </a:xfrm>
            <a:custGeom>
              <a:avLst/>
              <a:gdLst>
                <a:gd name="T0" fmla="*/ 232 w 287"/>
                <a:gd name="T1" fmla="*/ 82 h 134"/>
                <a:gd name="T2" fmla="*/ 189 w 287"/>
                <a:gd name="T3" fmla="*/ 121 h 134"/>
                <a:gd name="T4" fmla="*/ 104 w 287"/>
                <a:gd name="T5" fmla="*/ 111 h 134"/>
                <a:gd name="T6" fmla="*/ 37 w 287"/>
                <a:gd name="T7" fmla="*/ 134 h 134"/>
                <a:gd name="T8" fmla="*/ 71 w 287"/>
                <a:gd name="T9" fmla="*/ 40 h 134"/>
                <a:gd name="T10" fmla="*/ 227 w 287"/>
                <a:gd name="T11" fmla="*/ 9 h 134"/>
                <a:gd name="T12" fmla="*/ 287 w 287"/>
                <a:gd name="T13" fmla="*/ 51 h 134"/>
                <a:gd name="T14" fmla="*/ 232 w 287"/>
                <a:gd name="T15" fmla="*/ 8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134">
                  <a:moveTo>
                    <a:pt x="232" y="82"/>
                  </a:moveTo>
                  <a:cubicBezTo>
                    <a:pt x="207" y="99"/>
                    <a:pt x="189" y="121"/>
                    <a:pt x="189" y="121"/>
                  </a:cubicBezTo>
                  <a:cubicBezTo>
                    <a:pt x="189" y="121"/>
                    <a:pt x="144" y="107"/>
                    <a:pt x="104" y="111"/>
                  </a:cubicBezTo>
                  <a:cubicBezTo>
                    <a:pt x="64" y="115"/>
                    <a:pt x="37" y="134"/>
                    <a:pt x="37" y="134"/>
                  </a:cubicBezTo>
                  <a:cubicBezTo>
                    <a:pt x="37" y="134"/>
                    <a:pt x="0" y="85"/>
                    <a:pt x="71" y="40"/>
                  </a:cubicBezTo>
                  <a:cubicBezTo>
                    <a:pt x="128" y="4"/>
                    <a:pt x="184" y="0"/>
                    <a:pt x="227" y="9"/>
                  </a:cubicBezTo>
                  <a:cubicBezTo>
                    <a:pt x="269" y="17"/>
                    <a:pt x="287" y="51"/>
                    <a:pt x="287" y="51"/>
                  </a:cubicBezTo>
                  <a:cubicBezTo>
                    <a:pt x="287" y="51"/>
                    <a:pt x="268" y="58"/>
                    <a:pt x="232" y="82"/>
                  </a:cubicBezTo>
                  <a:close/>
                </a:path>
              </a:pathLst>
            </a:custGeom>
            <a:solidFill>
              <a:srgbClr val="B949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š1ide">
              <a:extLst>
                <a:ext uri="{FF2B5EF4-FFF2-40B4-BE49-F238E27FC236}">
                  <a16:creationId xmlns:a16="http://schemas.microsoft.com/office/drawing/2014/main" id="{2E68F7F4-3CF6-4472-9C64-FB2743EB3461}"/>
                </a:ext>
              </a:extLst>
            </p:cNvPr>
            <p:cNvSpPr/>
            <p:nvPr/>
          </p:nvSpPr>
          <p:spPr bwMode="auto">
            <a:xfrm>
              <a:off x="7288663" y="2316237"/>
              <a:ext cx="782115" cy="1033073"/>
            </a:xfrm>
            <a:custGeom>
              <a:avLst/>
              <a:gdLst>
                <a:gd name="T0" fmla="*/ 58 w 154"/>
                <a:gd name="T1" fmla="*/ 36 h 204"/>
                <a:gd name="T2" fmla="*/ 58 w 154"/>
                <a:gd name="T3" fmla="*/ 36 h 204"/>
                <a:gd name="T4" fmla="*/ 64 w 154"/>
                <a:gd name="T5" fmla="*/ 34 h 204"/>
                <a:gd name="T6" fmla="*/ 64 w 154"/>
                <a:gd name="T7" fmla="*/ 34 h 204"/>
                <a:gd name="T8" fmla="*/ 70 w 154"/>
                <a:gd name="T9" fmla="*/ 31 h 204"/>
                <a:gd name="T10" fmla="*/ 74 w 154"/>
                <a:gd name="T11" fmla="*/ 29 h 204"/>
                <a:gd name="T12" fmla="*/ 75 w 154"/>
                <a:gd name="T13" fmla="*/ 28 h 204"/>
                <a:gd name="T14" fmla="*/ 77 w 154"/>
                <a:gd name="T15" fmla="*/ 26 h 204"/>
                <a:gd name="T16" fmla="*/ 79 w 154"/>
                <a:gd name="T17" fmla="*/ 25 h 204"/>
                <a:gd name="T18" fmla="*/ 81 w 154"/>
                <a:gd name="T19" fmla="*/ 24 h 204"/>
                <a:gd name="T20" fmla="*/ 82 w 154"/>
                <a:gd name="T21" fmla="*/ 23 h 204"/>
                <a:gd name="T22" fmla="*/ 99 w 154"/>
                <a:gd name="T23" fmla="*/ 0 h 204"/>
                <a:gd name="T24" fmla="*/ 95 w 154"/>
                <a:gd name="T25" fmla="*/ 28 h 204"/>
                <a:gd name="T26" fmla="*/ 86 w 154"/>
                <a:gd name="T27" fmla="*/ 46 h 204"/>
                <a:gd name="T28" fmla="*/ 124 w 154"/>
                <a:gd name="T29" fmla="*/ 46 h 204"/>
                <a:gd name="T30" fmla="*/ 136 w 154"/>
                <a:gd name="T31" fmla="*/ 8 h 204"/>
                <a:gd name="T32" fmla="*/ 150 w 154"/>
                <a:gd name="T33" fmla="*/ 72 h 204"/>
                <a:gd name="T34" fmla="*/ 69 w 154"/>
                <a:gd name="T35" fmla="*/ 204 h 204"/>
                <a:gd name="T36" fmla="*/ 62 w 154"/>
                <a:gd name="T37" fmla="*/ 104 h 204"/>
                <a:gd name="T38" fmla="*/ 43 w 154"/>
                <a:gd name="T39" fmla="*/ 70 h 204"/>
                <a:gd name="T40" fmla="*/ 0 w 154"/>
                <a:gd name="T41" fmla="*/ 36 h 204"/>
                <a:gd name="T42" fmla="*/ 58 w 154"/>
                <a:gd name="T43" fmla="*/ 3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4" h="204">
                  <a:moveTo>
                    <a:pt x="58" y="36"/>
                  </a:moveTo>
                  <a:cubicBezTo>
                    <a:pt x="58" y="36"/>
                    <a:pt x="58" y="36"/>
                    <a:pt x="58" y="36"/>
                  </a:cubicBezTo>
                  <a:cubicBezTo>
                    <a:pt x="60" y="35"/>
                    <a:pt x="62" y="34"/>
                    <a:pt x="64" y="34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6" y="33"/>
                    <a:pt x="68" y="32"/>
                    <a:pt x="70" y="31"/>
                  </a:cubicBezTo>
                  <a:cubicBezTo>
                    <a:pt x="71" y="30"/>
                    <a:pt x="72" y="30"/>
                    <a:pt x="74" y="29"/>
                  </a:cubicBezTo>
                  <a:cubicBezTo>
                    <a:pt x="74" y="28"/>
                    <a:pt x="75" y="28"/>
                    <a:pt x="75" y="28"/>
                  </a:cubicBezTo>
                  <a:cubicBezTo>
                    <a:pt x="76" y="27"/>
                    <a:pt x="77" y="27"/>
                    <a:pt x="77" y="26"/>
                  </a:cubicBezTo>
                  <a:cubicBezTo>
                    <a:pt x="78" y="26"/>
                    <a:pt x="78" y="26"/>
                    <a:pt x="79" y="25"/>
                  </a:cubicBezTo>
                  <a:cubicBezTo>
                    <a:pt x="80" y="25"/>
                    <a:pt x="80" y="24"/>
                    <a:pt x="81" y="24"/>
                  </a:cubicBezTo>
                  <a:cubicBezTo>
                    <a:pt x="81" y="24"/>
                    <a:pt x="82" y="23"/>
                    <a:pt x="82" y="23"/>
                  </a:cubicBezTo>
                  <a:cubicBezTo>
                    <a:pt x="97" y="11"/>
                    <a:pt x="99" y="0"/>
                    <a:pt x="99" y="0"/>
                  </a:cubicBezTo>
                  <a:cubicBezTo>
                    <a:pt x="99" y="0"/>
                    <a:pt x="100" y="15"/>
                    <a:pt x="95" y="28"/>
                  </a:cubicBezTo>
                  <a:cubicBezTo>
                    <a:pt x="90" y="41"/>
                    <a:pt x="86" y="46"/>
                    <a:pt x="86" y="46"/>
                  </a:cubicBezTo>
                  <a:cubicBezTo>
                    <a:pt x="86" y="46"/>
                    <a:pt x="110" y="57"/>
                    <a:pt x="124" y="46"/>
                  </a:cubicBezTo>
                  <a:cubicBezTo>
                    <a:pt x="133" y="38"/>
                    <a:pt x="136" y="22"/>
                    <a:pt x="136" y="8"/>
                  </a:cubicBezTo>
                  <a:cubicBezTo>
                    <a:pt x="143" y="26"/>
                    <a:pt x="148" y="47"/>
                    <a:pt x="150" y="72"/>
                  </a:cubicBezTo>
                  <a:cubicBezTo>
                    <a:pt x="154" y="163"/>
                    <a:pt x="69" y="204"/>
                    <a:pt x="69" y="20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58" y="93"/>
                    <a:pt x="51" y="82"/>
                    <a:pt x="43" y="70"/>
                  </a:cubicBezTo>
                  <a:cubicBezTo>
                    <a:pt x="31" y="54"/>
                    <a:pt x="13" y="44"/>
                    <a:pt x="0" y="36"/>
                  </a:cubicBezTo>
                  <a:cubicBezTo>
                    <a:pt x="0" y="36"/>
                    <a:pt x="33" y="43"/>
                    <a:pt x="58" y="36"/>
                  </a:cubicBezTo>
                  <a:close/>
                </a:path>
              </a:pathLst>
            </a:custGeom>
            <a:solidFill>
              <a:srgbClr val="A03F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îṥlíďê">
              <a:extLst>
                <a:ext uri="{FF2B5EF4-FFF2-40B4-BE49-F238E27FC236}">
                  <a16:creationId xmlns:a16="http://schemas.microsoft.com/office/drawing/2014/main" id="{5401B182-3ADD-448E-9E6A-AC7B27431E8F}"/>
                </a:ext>
              </a:extLst>
            </p:cNvPr>
            <p:cNvSpPr/>
            <p:nvPr/>
          </p:nvSpPr>
          <p:spPr bwMode="auto">
            <a:xfrm>
              <a:off x="7110799" y="3938940"/>
              <a:ext cx="913685" cy="2202589"/>
            </a:xfrm>
            <a:custGeom>
              <a:avLst/>
              <a:gdLst>
                <a:gd name="T0" fmla="*/ 15 w 180"/>
                <a:gd name="T1" fmla="*/ 292 h 435"/>
                <a:gd name="T2" fmla="*/ 0 w 180"/>
                <a:gd name="T3" fmla="*/ 435 h 435"/>
                <a:gd name="T4" fmla="*/ 140 w 180"/>
                <a:gd name="T5" fmla="*/ 435 h 435"/>
                <a:gd name="T6" fmla="*/ 126 w 180"/>
                <a:gd name="T7" fmla="*/ 369 h 435"/>
                <a:gd name="T8" fmla="*/ 173 w 180"/>
                <a:gd name="T9" fmla="*/ 127 h 435"/>
                <a:gd name="T10" fmla="*/ 134 w 180"/>
                <a:gd name="T11" fmla="*/ 35 h 435"/>
                <a:gd name="T12" fmla="*/ 79 w 180"/>
                <a:gd name="T13" fmla="*/ 0 h 435"/>
                <a:gd name="T14" fmla="*/ 34 w 180"/>
                <a:gd name="T15" fmla="*/ 114 h 435"/>
                <a:gd name="T16" fmla="*/ 30 w 180"/>
                <a:gd name="T17" fmla="*/ 147 h 435"/>
                <a:gd name="T18" fmla="*/ 11 w 180"/>
                <a:gd name="T19" fmla="*/ 215 h 435"/>
                <a:gd name="T20" fmla="*/ 9 w 180"/>
                <a:gd name="T21" fmla="*/ 251 h 435"/>
                <a:gd name="T22" fmla="*/ 15 w 180"/>
                <a:gd name="T23" fmla="*/ 292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0" h="435">
                  <a:moveTo>
                    <a:pt x="15" y="292"/>
                  </a:moveTo>
                  <a:cubicBezTo>
                    <a:pt x="0" y="435"/>
                    <a:pt x="0" y="435"/>
                    <a:pt x="0" y="435"/>
                  </a:cubicBezTo>
                  <a:cubicBezTo>
                    <a:pt x="140" y="435"/>
                    <a:pt x="140" y="435"/>
                    <a:pt x="140" y="435"/>
                  </a:cubicBezTo>
                  <a:cubicBezTo>
                    <a:pt x="126" y="369"/>
                    <a:pt x="126" y="369"/>
                    <a:pt x="126" y="369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80" y="91"/>
                    <a:pt x="164" y="55"/>
                    <a:pt x="134" y="3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30" y="147"/>
                    <a:pt x="30" y="147"/>
                    <a:pt x="30" y="147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8" y="227"/>
                    <a:pt x="7" y="239"/>
                    <a:pt x="9" y="251"/>
                  </a:cubicBezTo>
                  <a:lnTo>
                    <a:pt x="15" y="292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ṧľídé">
              <a:extLst>
                <a:ext uri="{FF2B5EF4-FFF2-40B4-BE49-F238E27FC236}">
                  <a16:creationId xmlns:a16="http://schemas.microsoft.com/office/drawing/2014/main" id="{34FB5143-4A22-4670-9ED9-2E4E2E60198C}"/>
                </a:ext>
              </a:extLst>
            </p:cNvPr>
            <p:cNvSpPr/>
            <p:nvPr/>
          </p:nvSpPr>
          <p:spPr bwMode="auto">
            <a:xfrm>
              <a:off x="7110799" y="5103583"/>
              <a:ext cx="679782" cy="1037946"/>
            </a:xfrm>
            <a:custGeom>
              <a:avLst/>
              <a:gdLst>
                <a:gd name="T0" fmla="*/ 134 w 134"/>
                <a:gd name="T1" fmla="*/ 205 h 205"/>
                <a:gd name="T2" fmla="*/ 109 w 134"/>
                <a:gd name="T3" fmla="*/ 128 h 205"/>
                <a:gd name="T4" fmla="*/ 109 w 134"/>
                <a:gd name="T5" fmla="*/ 60 h 205"/>
                <a:gd name="T6" fmla="*/ 74 w 134"/>
                <a:gd name="T7" fmla="*/ 47 h 205"/>
                <a:gd name="T8" fmla="*/ 56 w 134"/>
                <a:gd name="T9" fmla="*/ 40 h 205"/>
                <a:gd name="T10" fmla="*/ 51 w 134"/>
                <a:gd name="T11" fmla="*/ 0 h 205"/>
                <a:gd name="T12" fmla="*/ 28 w 134"/>
                <a:gd name="T13" fmla="*/ 70 h 205"/>
                <a:gd name="T14" fmla="*/ 3 w 134"/>
                <a:gd name="T15" fmla="*/ 180 h 205"/>
                <a:gd name="T16" fmla="*/ 0 w 134"/>
                <a:gd name="T17" fmla="*/ 205 h 205"/>
                <a:gd name="T18" fmla="*/ 134 w 134"/>
                <a:gd name="T1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205">
                  <a:moveTo>
                    <a:pt x="134" y="205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58" y="48"/>
                    <a:pt x="56" y="40"/>
                  </a:cubicBezTo>
                  <a:cubicBezTo>
                    <a:pt x="53" y="33"/>
                    <a:pt x="51" y="0"/>
                    <a:pt x="51" y="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3" y="180"/>
                    <a:pt x="3" y="180"/>
                    <a:pt x="3" y="180"/>
                  </a:cubicBezTo>
                  <a:cubicBezTo>
                    <a:pt x="0" y="205"/>
                    <a:pt x="0" y="205"/>
                    <a:pt x="0" y="205"/>
                  </a:cubicBezTo>
                  <a:lnTo>
                    <a:pt x="134" y="205"/>
                  </a:lnTo>
                  <a:close/>
                </a:path>
              </a:pathLst>
            </a:custGeom>
            <a:solidFill>
              <a:srgbClr val="3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ṩ1îdê">
              <a:extLst>
                <a:ext uri="{FF2B5EF4-FFF2-40B4-BE49-F238E27FC236}">
                  <a16:creationId xmlns:a16="http://schemas.microsoft.com/office/drawing/2014/main" id="{037A57A5-53BE-4A80-8882-6BC4ECA322E1}"/>
                </a:ext>
              </a:extLst>
            </p:cNvPr>
            <p:cNvSpPr/>
            <p:nvPr/>
          </p:nvSpPr>
          <p:spPr bwMode="auto">
            <a:xfrm>
              <a:off x="7127854" y="4606539"/>
              <a:ext cx="302125" cy="1408292"/>
            </a:xfrm>
            <a:custGeom>
              <a:avLst/>
              <a:gdLst>
                <a:gd name="T0" fmla="*/ 5 w 60"/>
                <a:gd name="T1" fmla="*/ 245 h 278"/>
                <a:gd name="T2" fmla="*/ 4 w 60"/>
                <a:gd name="T3" fmla="*/ 243 h 278"/>
                <a:gd name="T4" fmla="*/ 12 w 60"/>
                <a:gd name="T5" fmla="*/ 160 h 278"/>
                <a:gd name="T6" fmla="*/ 6 w 60"/>
                <a:gd name="T7" fmla="*/ 119 h 278"/>
                <a:gd name="T8" fmla="*/ 8 w 60"/>
                <a:gd name="T9" fmla="*/ 83 h 278"/>
                <a:gd name="T10" fmla="*/ 27 w 60"/>
                <a:gd name="T11" fmla="*/ 17 h 278"/>
                <a:gd name="T12" fmla="*/ 52 w 60"/>
                <a:gd name="T13" fmla="*/ 0 h 278"/>
                <a:gd name="T14" fmla="*/ 60 w 60"/>
                <a:gd name="T15" fmla="*/ 52 h 278"/>
                <a:gd name="T16" fmla="*/ 52 w 60"/>
                <a:gd name="T17" fmla="*/ 80 h 278"/>
                <a:gd name="T18" fmla="*/ 40 w 60"/>
                <a:gd name="T19" fmla="*/ 137 h 278"/>
                <a:gd name="T20" fmla="*/ 35 w 60"/>
                <a:gd name="T21" fmla="*/ 209 h 278"/>
                <a:gd name="T22" fmla="*/ 0 w 60"/>
                <a:gd name="T23" fmla="*/ 278 h 278"/>
                <a:gd name="T24" fmla="*/ 5 w 60"/>
                <a:gd name="T25" fmla="*/ 245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278">
                  <a:moveTo>
                    <a:pt x="5" y="245"/>
                  </a:moveTo>
                  <a:cubicBezTo>
                    <a:pt x="5" y="245"/>
                    <a:pt x="4" y="244"/>
                    <a:pt x="4" y="243"/>
                  </a:cubicBezTo>
                  <a:cubicBezTo>
                    <a:pt x="12" y="160"/>
                    <a:pt x="12" y="160"/>
                    <a:pt x="12" y="160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4" y="107"/>
                    <a:pt x="5" y="95"/>
                    <a:pt x="8" y="83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101"/>
                    <a:pt x="39" y="130"/>
                    <a:pt x="40" y="137"/>
                  </a:cubicBezTo>
                  <a:cubicBezTo>
                    <a:pt x="41" y="150"/>
                    <a:pt x="43" y="190"/>
                    <a:pt x="35" y="209"/>
                  </a:cubicBezTo>
                  <a:cubicBezTo>
                    <a:pt x="27" y="227"/>
                    <a:pt x="0" y="278"/>
                    <a:pt x="0" y="278"/>
                  </a:cubicBezTo>
                  <a:lnTo>
                    <a:pt x="5" y="245"/>
                  </a:ln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ŝlïḋe">
              <a:extLst>
                <a:ext uri="{FF2B5EF4-FFF2-40B4-BE49-F238E27FC236}">
                  <a16:creationId xmlns:a16="http://schemas.microsoft.com/office/drawing/2014/main" id="{8317232D-1EB3-47B9-8D0C-062A2864AB57}"/>
                </a:ext>
              </a:extLst>
            </p:cNvPr>
            <p:cNvSpPr/>
            <p:nvPr/>
          </p:nvSpPr>
          <p:spPr bwMode="auto">
            <a:xfrm>
              <a:off x="6299447" y="4019345"/>
              <a:ext cx="609123" cy="2122185"/>
            </a:xfrm>
            <a:custGeom>
              <a:avLst/>
              <a:gdLst>
                <a:gd name="T0" fmla="*/ 62 w 120"/>
                <a:gd name="T1" fmla="*/ 419 h 419"/>
                <a:gd name="T2" fmla="*/ 84 w 120"/>
                <a:gd name="T3" fmla="*/ 263 h 419"/>
                <a:gd name="T4" fmla="*/ 79 w 120"/>
                <a:gd name="T5" fmla="*/ 227 h 419"/>
                <a:gd name="T6" fmla="*/ 81 w 120"/>
                <a:gd name="T7" fmla="*/ 192 h 419"/>
                <a:gd name="T8" fmla="*/ 109 w 120"/>
                <a:gd name="T9" fmla="*/ 94 h 419"/>
                <a:gd name="T10" fmla="*/ 120 w 120"/>
                <a:gd name="T11" fmla="*/ 20 h 419"/>
                <a:gd name="T12" fmla="*/ 118 w 120"/>
                <a:gd name="T13" fmla="*/ 0 h 419"/>
                <a:gd name="T14" fmla="*/ 59 w 120"/>
                <a:gd name="T15" fmla="*/ 43 h 419"/>
                <a:gd name="T16" fmla="*/ 13 w 120"/>
                <a:gd name="T17" fmla="*/ 339 h 419"/>
                <a:gd name="T18" fmla="*/ 0 w 120"/>
                <a:gd name="T19" fmla="*/ 419 h 419"/>
                <a:gd name="T20" fmla="*/ 62 w 120"/>
                <a:gd name="T21" fmla="*/ 4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419">
                  <a:moveTo>
                    <a:pt x="62" y="419"/>
                  </a:moveTo>
                  <a:cubicBezTo>
                    <a:pt x="84" y="263"/>
                    <a:pt x="84" y="263"/>
                    <a:pt x="84" y="263"/>
                  </a:cubicBezTo>
                  <a:cubicBezTo>
                    <a:pt x="79" y="227"/>
                    <a:pt x="79" y="227"/>
                    <a:pt x="79" y="227"/>
                  </a:cubicBezTo>
                  <a:cubicBezTo>
                    <a:pt x="77" y="216"/>
                    <a:pt x="78" y="204"/>
                    <a:pt x="81" y="192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13" y="339"/>
                    <a:pt x="13" y="339"/>
                    <a:pt x="13" y="339"/>
                  </a:cubicBezTo>
                  <a:cubicBezTo>
                    <a:pt x="0" y="419"/>
                    <a:pt x="0" y="419"/>
                    <a:pt x="0" y="419"/>
                  </a:cubicBezTo>
                  <a:lnTo>
                    <a:pt x="62" y="419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Sḷidé">
              <a:extLst>
                <a:ext uri="{FF2B5EF4-FFF2-40B4-BE49-F238E27FC236}">
                  <a16:creationId xmlns:a16="http://schemas.microsoft.com/office/drawing/2014/main" id="{D81EBC3E-0581-4560-91A4-661C9186F21C}"/>
                </a:ext>
              </a:extLst>
            </p:cNvPr>
            <p:cNvSpPr/>
            <p:nvPr/>
          </p:nvSpPr>
          <p:spPr bwMode="auto">
            <a:xfrm>
              <a:off x="6360360" y="5052418"/>
              <a:ext cx="309435" cy="799169"/>
            </a:xfrm>
            <a:custGeom>
              <a:avLst/>
              <a:gdLst>
                <a:gd name="T0" fmla="*/ 43 w 61"/>
                <a:gd name="T1" fmla="*/ 3 h 158"/>
                <a:gd name="T2" fmla="*/ 26 w 61"/>
                <a:gd name="T3" fmla="*/ 5 h 158"/>
                <a:gd name="T4" fmla="*/ 11 w 61"/>
                <a:gd name="T5" fmla="*/ 0 h 158"/>
                <a:gd name="T6" fmla="*/ 18 w 61"/>
                <a:gd name="T7" fmla="*/ 46 h 158"/>
                <a:gd name="T8" fmla="*/ 9 w 61"/>
                <a:gd name="T9" fmla="*/ 92 h 158"/>
                <a:gd name="T10" fmla="*/ 0 w 61"/>
                <a:gd name="T11" fmla="*/ 153 h 158"/>
                <a:gd name="T12" fmla="*/ 59 w 61"/>
                <a:gd name="T13" fmla="*/ 158 h 158"/>
                <a:gd name="T14" fmla="*/ 61 w 61"/>
                <a:gd name="T15" fmla="*/ 99 h 158"/>
                <a:gd name="T16" fmla="*/ 43 w 61"/>
                <a:gd name="T17" fmla="*/ 3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58">
                  <a:moveTo>
                    <a:pt x="43" y="3"/>
                  </a:moveTo>
                  <a:cubicBezTo>
                    <a:pt x="43" y="3"/>
                    <a:pt x="36" y="5"/>
                    <a:pt x="26" y="5"/>
                  </a:cubicBezTo>
                  <a:cubicBezTo>
                    <a:pt x="15" y="4"/>
                    <a:pt x="11" y="0"/>
                    <a:pt x="11" y="0"/>
                  </a:cubicBezTo>
                  <a:cubicBezTo>
                    <a:pt x="11" y="0"/>
                    <a:pt x="20" y="37"/>
                    <a:pt x="18" y="46"/>
                  </a:cubicBezTo>
                  <a:cubicBezTo>
                    <a:pt x="17" y="54"/>
                    <a:pt x="9" y="92"/>
                    <a:pt x="9" y="9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59" y="158"/>
                    <a:pt x="59" y="158"/>
                    <a:pt x="59" y="158"/>
                  </a:cubicBezTo>
                  <a:cubicBezTo>
                    <a:pt x="61" y="99"/>
                    <a:pt x="61" y="99"/>
                    <a:pt x="61" y="99"/>
                  </a:cubicBezTo>
                  <a:lnTo>
                    <a:pt x="43" y="3"/>
                  </a:lnTo>
                  <a:close/>
                </a:path>
              </a:pathLst>
            </a:custGeom>
            <a:solidFill>
              <a:srgbClr val="3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şḻidê">
              <a:extLst>
                <a:ext uri="{FF2B5EF4-FFF2-40B4-BE49-F238E27FC236}">
                  <a16:creationId xmlns:a16="http://schemas.microsoft.com/office/drawing/2014/main" id="{85C22B47-4F96-479B-A867-EC0643345DC4}"/>
                </a:ext>
              </a:extLst>
            </p:cNvPr>
            <p:cNvSpPr/>
            <p:nvPr/>
          </p:nvSpPr>
          <p:spPr bwMode="auto">
            <a:xfrm>
              <a:off x="6538223" y="4550501"/>
              <a:ext cx="258268" cy="1115913"/>
            </a:xfrm>
            <a:custGeom>
              <a:avLst/>
              <a:gdLst>
                <a:gd name="T0" fmla="*/ 12 w 51"/>
                <a:gd name="T1" fmla="*/ 50 h 220"/>
                <a:gd name="T2" fmla="*/ 42 w 51"/>
                <a:gd name="T3" fmla="*/ 0 h 220"/>
                <a:gd name="T4" fmla="*/ 51 w 51"/>
                <a:gd name="T5" fmla="*/ 28 h 220"/>
                <a:gd name="T6" fmla="*/ 34 w 51"/>
                <a:gd name="T7" fmla="*/ 87 h 220"/>
                <a:gd name="T8" fmla="*/ 32 w 51"/>
                <a:gd name="T9" fmla="*/ 122 h 220"/>
                <a:gd name="T10" fmla="*/ 37 w 51"/>
                <a:gd name="T11" fmla="*/ 158 h 220"/>
                <a:gd name="T12" fmla="*/ 28 w 51"/>
                <a:gd name="T13" fmla="*/ 220 h 220"/>
                <a:gd name="T14" fmla="*/ 7 w 51"/>
                <a:gd name="T15" fmla="*/ 130 h 220"/>
                <a:gd name="T16" fmla="*/ 12 w 51"/>
                <a:gd name="T17" fmla="*/ 5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220">
                  <a:moveTo>
                    <a:pt x="12" y="5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34" y="87"/>
                    <a:pt x="34" y="87"/>
                    <a:pt x="34" y="87"/>
                  </a:cubicBezTo>
                  <a:cubicBezTo>
                    <a:pt x="31" y="99"/>
                    <a:pt x="30" y="111"/>
                    <a:pt x="32" y="122"/>
                  </a:cubicBezTo>
                  <a:cubicBezTo>
                    <a:pt x="37" y="158"/>
                    <a:pt x="37" y="158"/>
                    <a:pt x="37" y="158"/>
                  </a:cubicBezTo>
                  <a:cubicBezTo>
                    <a:pt x="28" y="220"/>
                    <a:pt x="28" y="220"/>
                    <a:pt x="28" y="220"/>
                  </a:cubicBezTo>
                  <a:cubicBezTo>
                    <a:pt x="28" y="220"/>
                    <a:pt x="14" y="163"/>
                    <a:pt x="7" y="130"/>
                  </a:cubicBezTo>
                  <a:cubicBezTo>
                    <a:pt x="0" y="98"/>
                    <a:pt x="12" y="50"/>
                    <a:pt x="12" y="50"/>
                  </a:cubicBez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şlïďê">
              <a:extLst>
                <a:ext uri="{FF2B5EF4-FFF2-40B4-BE49-F238E27FC236}">
                  <a16:creationId xmlns:a16="http://schemas.microsoft.com/office/drawing/2014/main" id="{7100BD07-2BB5-428B-8A52-7E7547463F1C}"/>
                </a:ext>
              </a:extLst>
            </p:cNvPr>
            <p:cNvSpPr/>
            <p:nvPr/>
          </p:nvSpPr>
          <p:spPr bwMode="auto">
            <a:xfrm>
              <a:off x="7264298" y="3938940"/>
              <a:ext cx="333800" cy="752877"/>
            </a:xfrm>
            <a:custGeom>
              <a:avLst/>
              <a:gdLst>
                <a:gd name="T0" fmla="*/ 137 w 137"/>
                <a:gd name="T1" fmla="*/ 25 h 309"/>
                <a:gd name="T2" fmla="*/ 73 w 137"/>
                <a:gd name="T3" fmla="*/ 259 h 309"/>
                <a:gd name="T4" fmla="*/ 0 w 137"/>
                <a:gd name="T5" fmla="*/ 309 h 309"/>
                <a:gd name="T6" fmla="*/ 8 w 137"/>
                <a:gd name="T7" fmla="*/ 237 h 309"/>
                <a:gd name="T8" fmla="*/ 102 w 137"/>
                <a:gd name="T9" fmla="*/ 0 h 309"/>
                <a:gd name="T10" fmla="*/ 137 w 137"/>
                <a:gd name="T11" fmla="*/ 25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" h="309">
                  <a:moveTo>
                    <a:pt x="137" y="25"/>
                  </a:moveTo>
                  <a:lnTo>
                    <a:pt x="73" y="259"/>
                  </a:lnTo>
                  <a:lnTo>
                    <a:pt x="0" y="309"/>
                  </a:lnTo>
                  <a:lnTo>
                    <a:pt x="8" y="237"/>
                  </a:lnTo>
                  <a:lnTo>
                    <a:pt x="102" y="0"/>
                  </a:lnTo>
                  <a:lnTo>
                    <a:pt x="137" y="25"/>
                  </a:ln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$ḻîdê">
              <a:extLst>
                <a:ext uri="{FF2B5EF4-FFF2-40B4-BE49-F238E27FC236}">
                  <a16:creationId xmlns:a16="http://schemas.microsoft.com/office/drawing/2014/main" id="{C7D9BC21-CEDD-4A0A-A1DD-5CE3F67DD26C}"/>
                </a:ext>
              </a:extLst>
            </p:cNvPr>
            <p:cNvSpPr/>
            <p:nvPr/>
          </p:nvSpPr>
          <p:spPr bwMode="auto">
            <a:xfrm>
              <a:off x="6735580" y="4019345"/>
              <a:ext cx="172992" cy="672472"/>
            </a:xfrm>
            <a:custGeom>
              <a:avLst/>
              <a:gdLst>
                <a:gd name="T0" fmla="*/ 46 w 71"/>
                <a:gd name="T1" fmla="*/ 17 h 276"/>
                <a:gd name="T2" fmla="*/ 0 w 71"/>
                <a:gd name="T3" fmla="*/ 197 h 276"/>
                <a:gd name="T4" fmla="*/ 25 w 71"/>
                <a:gd name="T5" fmla="*/ 276 h 276"/>
                <a:gd name="T6" fmla="*/ 48 w 71"/>
                <a:gd name="T7" fmla="*/ 195 h 276"/>
                <a:gd name="T8" fmla="*/ 71 w 71"/>
                <a:gd name="T9" fmla="*/ 41 h 276"/>
                <a:gd name="T10" fmla="*/ 67 w 71"/>
                <a:gd name="T11" fmla="*/ 0 h 276"/>
                <a:gd name="T12" fmla="*/ 46 w 71"/>
                <a:gd name="T13" fmla="*/ 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276">
                  <a:moveTo>
                    <a:pt x="46" y="17"/>
                  </a:moveTo>
                  <a:lnTo>
                    <a:pt x="0" y="197"/>
                  </a:lnTo>
                  <a:lnTo>
                    <a:pt x="25" y="276"/>
                  </a:lnTo>
                  <a:lnTo>
                    <a:pt x="48" y="195"/>
                  </a:lnTo>
                  <a:lnTo>
                    <a:pt x="71" y="41"/>
                  </a:lnTo>
                  <a:lnTo>
                    <a:pt x="67" y="0"/>
                  </a:lnTo>
                  <a:lnTo>
                    <a:pt x="46" y="17"/>
                  </a:ln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ṩḻiďè">
              <a:extLst>
                <a:ext uri="{FF2B5EF4-FFF2-40B4-BE49-F238E27FC236}">
                  <a16:creationId xmlns:a16="http://schemas.microsoft.com/office/drawing/2014/main" id="{E3D0599A-1CF9-4FBB-A4C2-604FD92E7440}"/>
                </a:ext>
              </a:extLst>
            </p:cNvPr>
            <p:cNvSpPr/>
            <p:nvPr/>
          </p:nvSpPr>
          <p:spPr bwMode="auto">
            <a:xfrm>
              <a:off x="7624898" y="2888813"/>
              <a:ext cx="231468" cy="355728"/>
            </a:xfrm>
            <a:custGeom>
              <a:avLst/>
              <a:gdLst>
                <a:gd name="T0" fmla="*/ 2 w 46"/>
                <a:gd name="T1" fmla="*/ 68 h 70"/>
                <a:gd name="T2" fmla="*/ 0 w 46"/>
                <a:gd name="T3" fmla="*/ 1 h 70"/>
                <a:gd name="T4" fmla="*/ 11 w 46"/>
                <a:gd name="T5" fmla="*/ 0 h 70"/>
                <a:gd name="T6" fmla="*/ 46 w 46"/>
                <a:gd name="T7" fmla="*/ 35 h 70"/>
                <a:gd name="T8" fmla="*/ 11 w 46"/>
                <a:gd name="T9" fmla="*/ 70 h 70"/>
                <a:gd name="T10" fmla="*/ 2 w 46"/>
                <a:gd name="T11" fmla="*/ 69 h 70"/>
                <a:gd name="T12" fmla="*/ 2 w 46"/>
                <a:gd name="T13" fmla="*/ 6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70">
                  <a:moveTo>
                    <a:pt x="2" y="68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0"/>
                    <a:pt x="7" y="0"/>
                    <a:pt x="11" y="0"/>
                  </a:cubicBezTo>
                  <a:cubicBezTo>
                    <a:pt x="30" y="0"/>
                    <a:pt x="46" y="15"/>
                    <a:pt x="46" y="35"/>
                  </a:cubicBezTo>
                  <a:cubicBezTo>
                    <a:pt x="46" y="54"/>
                    <a:pt x="30" y="70"/>
                    <a:pt x="11" y="70"/>
                  </a:cubicBezTo>
                  <a:cubicBezTo>
                    <a:pt x="8" y="70"/>
                    <a:pt x="5" y="69"/>
                    <a:pt x="2" y="69"/>
                  </a:cubicBezTo>
                  <a:lnTo>
                    <a:pt x="2" y="68"/>
                  </a:ln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ïṣliḍê">
              <a:extLst>
                <a:ext uri="{FF2B5EF4-FFF2-40B4-BE49-F238E27FC236}">
                  <a16:creationId xmlns:a16="http://schemas.microsoft.com/office/drawing/2014/main" id="{97830FC8-7A0B-4AB5-9BB8-DB8C54399E6D}"/>
                </a:ext>
              </a:extLst>
            </p:cNvPr>
            <p:cNvSpPr/>
            <p:nvPr/>
          </p:nvSpPr>
          <p:spPr bwMode="auto">
            <a:xfrm>
              <a:off x="7527439" y="2667091"/>
              <a:ext cx="163246" cy="409331"/>
            </a:xfrm>
            <a:custGeom>
              <a:avLst/>
              <a:gdLst>
                <a:gd name="T0" fmla="*/ 0 w 32"/>
                <a:gd name="T1" fmla="*/ 7 h 81"/>
                <a:gd name="T2" fmla="*/ 0 w 32"/>
                <a:gd name="T3" fmla="*/ 7 h 81"/>
                <a:gd name="T4" fmla="*/ 17 w 32"/>
                <a:gd name="T5" fmla="*/ 66 h 81"/>
                <a:gd name="T6" fmla="*/ 18 w 32"/>
                <a:gd name="T7" fmla="*/ 81 h 81"/>
                <a:gd name="T8" fmla="*/ 32 w 32"/>
                <a:gd name="T9" fmla="*/ 0 h 81"/>
                <a:gd name="T10" fmla="*/ 0 w 32"/>
                <a:gd name="T11" fmla="*/ 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81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10" y="25"/>
                    <a:pt x="16" y="45"/>
                    <a:pt x="17" y="66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A03F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$ļîḋe">
              <a:extLst>
                <a:ext uri="{FF2B5EF4-FFF2-40B4-BE49-F238E27FC236}">
                  <a16:creationId xmlns:a16="http://schemas.microsoft.com/office/drawing/2014/main" id="{841E0A79-A108-46C7-B982-6172EF83C789}"/>
                </a:ext>
              </a:extLst>
            </p:cNvPr>
            <p:cNvSpPr/>
            <p:nvPr/>
          </p:nvSpPr>
          <p:spPr bwMode="auto">
            <a:xfrm>
              <a:off x="7390995" y="2123755"/>
              <a:ext cx="389839" cy="285070"/>
            </a:xfrm>
            <a:custGeom>
              <a:avLst/>
              <a:gdLst>
                <a:gd name="T0" fmla="*/ 4 w 77"/>
                <a:gd name="T1" fmla="*/ 36 h 56"/>
                <a:gd name="T2" fmla="*/ 28 w 77"/>
                <a:gd name="T3" fmla="*/ 11 h 56"/>
                <a:gd name="T4" fmla="*/ 68 w 77"/>
                <a:gd name="T5" fmla="*/ 6 h 56"/>
                <a:gd name="T6" fmla="*/ 33 w 77"/>
                <a:gd name="T7" fmla="*/ 50 h 56"/>
                <a:gd name="T8" fmla="*/ 4 w 77"/>
                <a:gd name="T9" fmla="*/ 3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6">
                  <a:moveTo>
                    <a:pt x="4" y="36"/>
                  </a:moveTo>
                  <a:cubicBezTo>
                    <a:pt x="4" y="36"/>
                    <a:pt x="8" y="21"/>
                    <a:pt x="28" y="11"/>
                  </a:cubicBezTo>
                  <a:cubicBezTo>
                    <a:pt x="47" y="1"/>
                    <a:pt x="60" y="0"/>
                    <a:pt x="68" y="6"/>
                  </a:cubicBezTo>
                  <a:cubicBezTo>
                    <a:pt x="77" y="13"/>
                    <a:pt x="58" y="44"/>
                    <a:pt x="33" y="50"/>
                  </a:cubicBezTo>
                  <a:cubicBezTo>
                    <a:pt x="12" y="56"/>
                    <a:pt x="0" y="49"/>
                    <a:pt x="4" y="36"/>
                  </a:cubicBezTo>
                  <a:close/>
                </a:path>
              </a:pathLst>
            </a:custGeom>
            <a:solidFill>
              <a:srgbClr val="D35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ïŝlíde">
              <a:extLst>
                <a:ext uri="{FF2B5EF4-FFF2-40B4-BE49-F238E27FC236}">
                  <a16:creationId xmlns:a16="http://schemas.microsoft.com/office/drawing/2014/main" id="{05187BE7-F5D1-4D40-BBF6-0446EFD901C7}"/>
                </a:ext>
              </a:extLst>
            </p:cNvPr>
            <p:cNvSpPr/>
            <p:nvPr/>
          </p:nvSpPr>
          <p:spPr bwMode="auto">
            <a:xfrm>
              <a:off x="6681977" y="1770462"/>
              <a:ext cx="484863" cy="258268"/>
            </a:xfrm>
            <a:custGeom>
              <a:avLst/>
              <a:gdLst>
                <a:gd name="T0" fmla="*/ 11 w 96"/>
                <a:gd name="T1" fmla="*/ 19 h 51"/>
                <a:gd name="T2" fmla="*/ 47 w 96"/>
                <a:gd name="T3" fmla="*/ 3 h 51"/>
                <a:gd name="T4" fmla="*/ 90 w 96"/>
                <a:gd name="T5" fmla="*/ 15 h 51"/>
                <a:gd name="T6" fmla="*/ 33 w 96"/>
                <a:gd name="T7" fmla="*/ 47 h 51"/>
                <a:gd name="T8" fmla="*/ 11 w 96"/>
                <a:gd name="T9" fmla="*/ 1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1">
                  <a:moveTo>
                    <a:pt x="11" y="19"/>
                  </a:moveTo>
                  <a:cubicBezTo>
                    <a:pt x="11" y="19"/>
                    <a:pt x="23" y="5"/>
                    <a:pt x="47" y="3"/>
                  </a:cubicBezTo>
                  <a:cubicBezTo>
                    <a:pt x="72" y="0"/>
                    <a:pt x="85" y="5"/>
                    <a:pt x="90" y="15"/>
                  </a:cubicBezTo>
                  <a:cubicBezTo>
                    <a:pt x="96" y="27"/>
                    <a:pt x="61" y="51"/>
                    <a:pt x="33" y="47"/>
                  </a:cubicBezTo>
                  <a:cubicBezTo>
                    <a:pt x="9" y="44"/>
                    <a:pt x="0" y="32"/>
                    <a:pt x="11" y="19"/>
                  </a:cubicBezTo>
                  <a:close/>
                </a:path>
              </a:pathLst>
            </a:custGeom>
            <a:solidFill>
              <a:srgbClr val="D35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śḷîḑe">
              <a:extLst>
                <a:ext uri="{FF2B5EF4-FFF2-40B4-BE49-F238E27FC236}">
                  <a16:creationId xmlns:a16="http://schemas.microsoft.com/office/drawing/2014/main" id="{AA405C12-31F4-4253-8124-371358AC0559}"/>
                </a:ext>
              </a:extLst>
            </p:cNvPr>
            <p:cNvSpPr/>
            <p:nvPr/>
          </p:nvSpPr>
          <p:spPr bwMode="auto">
            <a:xfrm>
              <a:off x="6331122" y="1789954"/>
              <a:ext cx="1281595" cy="587195"/>
            </a:xfrm>
            <a:custGeom>
              <a:avLst/>
              <a:gdLst>
                <a:gd name="T0" fmla="*/ 7 w 253"/>
                <a:gd name="T1" fmla="*/ 68 h 116"/>
                <a:gd name="T2" fmla="*/ 50 w 253"/>
                <a:gd name="T3" fmla="*/ 26 h 116"/>
                <a:gd name="T4" fmla="*/ 50 w 253"/>
                <a:gd name="T5" fmla="*/ 57 h 116"/>
                <a:gd name="T6" fmla="*/ 180 w 253"/>
                <a:gd name="T7" fmla="*/ 39 h 116"/>
                <a:gd name="T8" fmla="*/ 188 w 253"/>
                <a:gd name="T9" fmla="*/ 0 h 116"/>
                <a:gd name="T10" fmla="*/ 227 w 253"/>
                <a:gd name="T11" fmla="*/ 12 h 116"/>
                <a:gd name="T12" fmla="*/ 253 w 253"/>
                <a:gd name="T13" fmla="*/ 35 h 116"/>
                <a:gd name="T14" fmla="*/ 204 w 253"/>
                <a:gd name="T15" fmla="*/ 64 h 116"/>
                <a:gd name="T16" fmla="*/ 161 w 253"/>
                <a:gd name="T17" fmla="*/ 103 h 116"/>
                <a:gd name="T18" fmla="*/ 76 w 253"/>
                <a:gd name="T19" fmla="*/ 93 h 116"/>
                <a:gd name="T20" fmla="*/ 9 w 253"/>
                <a:gd name="T21" fmla="*/ 116 h 116"/>
                <a:gd name="T22" fmla="*/ 0 w 253"/>
                <a:gd name="T23" fmla="*/ 89 h 116"/>
                <a:gd name="T24" fmla="*/ 7 w 253"/>
                <a:gd name="T25" fmla="*/ 6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3" h="116">
                  <a:moveTo>
                    <a:pt x="7" y="68"/>
                  </a:moveTo>
                  <a:cubicBezTo>
                    <a:pt x="18" y="45"/>
                    <a:pt x="50" y="26"/>
                    <a:pt x="50" y="26"/>
                  </a:cubicBezTo>
                  <a:cubicBezTo>
                    <a:pt x="50" y="26"/>
                    <a:pt x="30" y="51"/>
                    <a:pt x="50" y="57"/>
                  </a:cubicBezTo>
                  <a:cubicBezTo>
                    <a:pt x="70" y="63"/>
                    <a:pt x="154" y="65"/>
                    <a:pt x="180" y="39"/>
                  </a:cubicBezTo>
                  <a:cubicBezTo>
                    <a:pt x="207" y="14"/>
                    <a:pt x="188" y="0"/>
                    <a:pt x="188" y="0"/>
                  </a:cubicBezTo>
                  <a:cubicBezTo>
                    <a:pt x="188" y="0"/>
                    <a:pt x="208" y="2"/>
                    <a:pt x="227" y="12"/>
                  </a:cubicBezTo>
                  <a:cubicBezTo>
                    <a:pt x="240" y="18"/>
                    <a:pt x="249" y="29"/>
                    <a:pt x="253" y="35"/>
                  </a:cubicBezTo>
                  <a:cubicBezTo>
                    <a:pt x="245" y="39"/>
                    <a:pt x="229" y="47"/>
                    <a:pt x="204" y="64"/>
                  </a:cubicBezTo>
                  <a:cubicBezTo>
                    <a:pt x="179" y="81"/>
                    <a:pt x="161" y="103"/>
                    <a:pt x="161" y="103"/>
                  </a:cubicBezTo>
                  <a:cubicBezTo>
                    <a:pt x="161" y="103"/>
                    <a:pt x="116" y="89"/>
                    <a:pt x="76" y="93"/>
                  </a:cubicBezTo>
                  <a:cubicBezTo>
                    <a:pt x="36" y="97"/>
                    <a:pt x="9" y="116"/>
                    <a:pt x="9" y="116"/>
                  </a:cubicBezTo>
                  <a:cubicBezTo>
                    <a:pt x="9" y="116"/>
                    <a:pt x="1" y="105"/>
                    <a:pt x="0" y="89"/>
                  </a:cubicBezTo>
                  <a:cubicBezTo>
                    <a:pt x="1" y="83"/>
                    <a:pt x="3" y="75"/>
                    <a:pt x="7" y="68"/>
                  </a:cubicBezTo>
                  <a:close/>
                </a:path>
              </a:pathLst>
            </a:custGeom>
            <a:solidFill>
              <a:srgbClr val="A03F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$ḻïḋé">
              <a:extLst>
                <a:ext uri="{FF2B5EF4-FFF2-40B4-BE49-F238E27FC236}">
                  <a16:creationId xmlns:a16="http://schemas.microsoft.com/office/drawing/2014/main" id="{28D33AEE-E8F4-4A6F-912C-848E17A940E1}"/>
                </a:ext>
              </a:extLst>
            </p:cNvPr>
            <p:cNvSpPr/>
            <p:nvPr/>
          </p:nvSpPr>
          <p:spPr bwMode="auto">
            <a:xfrm>
              <a:off x="7320338" y="5944174"/>
              <a:ext cx="343546" cy="155935"/>
            </a:xfrm>
            <a:custGeom>
              <a:avLst/>
              <a:gdLst>
                <a:gd name="T0" fmla="*/ 0 w 141"/>
                <a:gd name="T1" fmla="*/ 23 h 64"/>
                <a:gd name="T2" fmla="*/ 135 w 141"/>
                <a:gd name="T3" fmla="*/ 0 h 64"/>
                <a:gd name="T4" fmla="*/ 141 w 141"/>
                <a:gd name="T5" fmla="*/ 33 h 64"/>
                <a:gd name="T6" fmla="*/ 77 w 141"/>
                <a:gd name="T7" fmla="*/ 64 h 64"/>
                <a:gd name="T8" fmla="*/ 6 w 141"/>
                <a:gd name="T9" fmla="*/ 56 h 64"/>
                <a:gd name="T10" fmla="*/ 0 w 141"/>
                <a:gd name="T11" fmla="*/ 2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64">
                  <a:moveTo>
                    <a:pt x="0" y="23"/>
                  </a:moveTo>
                  <a:lnTo>
                    <a:pt x="135" y="0"/>
                  </a:lnTo>
                  <a:lnTo>
                    <a:pt x="141" y="33"/>
                  </a:lnTo>
                  <a:lnTo>
                    <a:pt x="77" y="64"/>
                  </a:lnTo>
                  <a:lnTo>
                    <a:pt x="6" y="56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ş1îḍè">
              <a:extLst>
                <a:ext uri="{FF2B5EF4-FFF2-40B4-BE49-F238E27FC236}">
                  <a16:creationId xmlns:a16="http://schemas.microsoft.com/office/drawing/2014/main" id="{E6DCC85A-8D33-492D-B0DF-37D9079805BF}"/>
                </a:ext>
              </a:extLst>
            </p:cNvPr>
            <p:cNvSpPr/>
            <p:nvPr/>
          </p:nvSpPr>
          <p:spPr bwMode="auto">
            <a:xfrm>
              <a:off x="6589390" y="3349309"/>
              <a:ext cx="426387" cy="421514"/>
            </a:xfrm>
            <a:custGeom>
              <a:avLst/>
              <a:gdLst>
                <a:gd name="T0" fmla="*/ 42 w 84"/>
                <a:gd name="T1" fmla="*/ 83 h 83"/>
                <a:gd name="T2" fmla="*/ 42 w 84"/>
                <a:gd name="T3" fmla="*/ 83 h 83"/>
                <a:gd name="T4" fmla="*/ 0 w 84"/>
                <a:gd name="T5" fmla="*/ 41 h 83"/>
                <a:gd name="T6" fmla="*/ 0 w 84"/>
                <a:gd name="T7" fmla="*/ 5 h 83"/>
                <a:gd name="T8" fmla="*/ 5 w 84"/>
                <a:gd name="T9" fmla="*/ 0 h 83"/>
                <a:gd name="T10" fmla="*/ 79 w 84"/>
                <a:gd name="T11" fmla="*/ 0 h 83"/>
                <a:gd name="T12" fmla="*/ 84 w 84"/>
                <a:gd name="T13" fmla="*/ 5 h 83"/>
                <a:gd name="T14" fmla="*/ 84 w 84"/>
                <a:gd name="T15" fmla="*/ 41 h 83"/>
                <a:gd name="T16" fmla="*/ 42 w 84"/>
                <a:gd name="T17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83">
                  <a:moveTo>
                    <a:pt x="42" y="83"/>
                  </a:moveTo>
                  <a:cubicBezTo>
                    <a:pt x="42" y="83"/>
                    <a:pt x="42" y="83"/>
                    <a:pt x="42" y="83"/>
                  </a:cubicBezTo>
                  <a:cubicBezTo>
                    <a:pt x="18" y="83"/>
                    <a:pt x="0" y="64"/>
                    <a:pt x="0" y="4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4" y="2"/>
                    <a:pt x="84" y="5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64"/>
                    <a:pt x="65" y="83"/>
                    <a:pt x="42" y="83"/>
                  </a:cubicBezTo>
                  <a:close/>
                </a:path>
              </a:pathLst>
            </a:custGeom>
            <a:solidFill>
              <a:srgbClr val="E241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ṩļíďé">
              <a:extLst>
                <a:ext uri="{FF2B5EF4-FFF2-40B4-BE49-F238E27FC236}">
                  <a16:creationId xmlns:a16="http://schemas.microsoft.com/office/drawing/2014/main" id="{0E00F752-DF96-4C2E-9B7D-658571F5E789}"/>
                </a:ext>
              </a:extLst>
            </p:cNvPr>
            <p:cNvSpPr/>
            <p:nvPr/>
          </p:nvSpPr>
          <p:spPr bwMode="auto">
            <a:xfrm>
              <a:off x="6599136" y="3361492"/>
              <a:ext cx="406895" cy="95024"/>
            </a:xfrm>
            <a:custGeom>
              <a:avLst/>
              <a:gdLst>
                <a:gd name="T0" fmla="*/ 70 w 80"/>
                <a:gd name="T1" fmla="*/ 19 h 19"/>
                <a:gd name="T2" fmla="*/ 9 w 80"/>
                <a:gd name="T3" fmla="*/ 19 h 19"/>
                <a:gd name="T4" fmla="*/ 0 w 80"/>
                <a:gd name="T5" fmla="*/ 9 h 19"/>
                <a:gd name="T6" fmla="*/ 0 w 80"/>
                <a:gd name="T7" fmla="*/ 6 h 19"/>
                <a:gd name="T8" fmla="*/ 6 w 80"/>
                <a:gd name="T9" fmla="*/ 0 h 19"/>
                <a:gd name="T10" fmla="*/ 74 w 80"/>
                <a:gd name="T11" fmla="*/ 0 h 19"/>
                <a:gd name="T12" fmla="*/ 80 w 80"/>
                <a:gd name="T13" fmla="*/ 6 h 19"/>
                <a:gd name="T14" fmla="*/ 80 w 80"/>
                <a:gd name="T15" fmla="*/ 9 h 19"/>
                <a:gd name="T16" fmla="*/ 70 w 80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19">
                  <a:moveTo>
                    <a:pt x="70" y="19"/>
                  </a:moveTo>
                  <a:cubicBezTo>
                    <a:pt x="9" y="19"/>
                    <a:pt x="9" y="19"/>
                    <a:pt x="9" y="19"/>
                  </a:cubicBezTo>
                  <a:cubicBezTo>
                    <a:pt x="4" y="19"/>
                    <a:pt x="0" y="14"/>
                    <a:pt x="0" y="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7" y="0"/>
                    <a:pt x="80" y="3"/>
                    <a:pt x="80" y="6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0" y="14"/>
                    <a:pt x="75" y="19"/>
                    <a:pt x="70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ṣḻïďè">
              <a:extLst>
                <a:ext uri="{FF2B5EF4-FFF2-40B4-BE49-F238E27FC236}">
                  <a16:creationId xmlns:a16="http://schemas.microsoft.com/office/drawing/2014/main" id="{AD0AFAF1-04CB-47E2-B70F-59908B11279B}"/>
                </a:ext>
              </a:extLst>
            </p:cNvPr>
            <p:cNvSpPr/>
            <p:nvPr/>
          </p:nvSpPr>
          <p:spPr bwMode="auto">
            <a:xfrm>
              <a:off x="6613755" y="3541793"/>
              <a:ext cx="370347" cy="229030"/>
            </a:xfrm>
            <a:custGeom>
              <a:avLst/>
              <a:gdLst>
                <a:gd name="T0" fmla="*/ 37 w 73"/>
                <a:gd name="T1" fmla="*/ 0 h 45"/>
                <a:gd name="T2" fmla="*/ 37 w 73"/>
                <a:gd name="T3" fmla="*/ 0 h 45"/>
                <a:gd name="T4" fmla="*/ 0 w 73"/>
                <a:gd name="T5" fmla="*/ 24 h 45"/>
                <a:gd name="T6" fmla="*/ 37 w 73"/>
                <a:gd name="T7" fmla="*/ 45 h 45"/>
                <a:gd name="T8" fmla="*/ 73 w 73"/>
                <a:gd name="T9" fmla="*/ 24 h 45"/>
                <a:gd name="T10" fmla="*/ 37 w 73"/>
                <a:gd name="T1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45">
                  <a:moveTo>
                    <a:pt x="37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20" y="0"/>
                    <a:pt x="6" y="10"/>
                    <a:pt x="0" y="24"/>
                  </a:cubicBezTo>
                  <a:cubicBezTo>
                    <a:pt x="7" y="36"/>
                    <a:pt x="21" y="45"/>
                    <a:pt x="37" y="45"/>
                  </a:cubicBezTo>
                  <a:cubicBezTo>
                    <a:pt x="52" y="45"/>
                    <a:pt x="66" y="36"/>
                    <a:pt x="73" y="24"/>
                  </a:cubicBezTo>
                  <a:cubicBezTo>
                    <a:pt x="67" y="10"/>
                    <a:pt x="53" y="0"/>
                    <a:pt x="37" y="0"/>
                  </a:cubicBezTo>
                  <a:close/>
                </a:path>
              </a:pathLst>
            </a:custGeom>
            <a:solidFill>
              <a:srgbClr val="F564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ṩľïḍé">
              <a:extLst>
                <a:ext uri="{FF2B5EF4-FFF2-40B4-BE49-F238E27FC236}">
                  <a16:creationId xmlns:a16="http://schemas.microsoft.com/office/drawing/2014/main" id="{F0CB1785-8E52-4D83-9675-50E28BCAA460}"/>
                </a:ext>
              </a:extLst>
            </p:cNvPr>
            <p:cNvSpPr/>
            <p:nvPr/>
          </p:nvSpPr>
          <p:spPr bwMode="auto">
            <a:xfrm>
              <a:off x="5585555" y="4606539"/>
              <a:ext cx="806480" cy="1074494"/>
            </a:xfrm>
            <a:custGeom>
              <a:avLst/>
              <a:gdLst>
                <a:gd name="T0" fmla="*/ 159 w 159"/>
                <a:gd name="T1" fmla="*/ 161 h 212"/>
                <a:gd name="T2" fmla="*/ 137 w 159"/>
                <a:gd name="T3" fmla="*/ 145 h 212"/>
                <a:gd name="T4" fmla="*/ 108 w 159"/>
                <a:gd name="T5" fmla="*/ 153 h 212"/>
                <a:gd name="T6" fmla="*/ 59 w 159"/>
                <a:gd name="T7" fmla="*/ 141 h 212"/>
                <a:gd name="T8" fmla="*/ 0 w 159"/>
                <a:gd name="T9" fmla="*/ 0 h 212"/>
                <a:gd name="T10" fmla="*/ 56 w 159"/>
                <a:gd name="T11" fmla="*/ 178 h 212"/>
                <a:gd name="T12" fmla="*/ 99 w 159"/>
                <a:gd name="T13" fmla="*/ 212 h 212"/>
                <a:gd name="T14" fmla="*/ 103 w 159"/>
                <a:gd name="T15" fmla="*/ 212 h 212"/>
                <a:gd name="T16" fmla="*/ 147 w 159"/>
                <a:gd name="T17" fmla="*/ 185 h 212"/>
                <a:gd name="T18" fmla="*/ 159 w 159"/>
                <a:gd name="T19" fmla="*/ 161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212">
                  <a:moveTo>
                    <a:pt x="159" y="161"/>
                  </a:moveTo>
                  <a:cubicBezTo>
                    <a:pt x="137" y="145"/>
                    <a:pt x="137" y="145"/>
                    <a:pt x="137" y="145"/>
                  </a:cubicBezTo>
                  <a:cubicBezTo>
                    <a:pt x="131" y="147"/>
                    <a:pt x="121" y="151"/>
                    <a:pt x="108" y="153"/>
                  </a:cubicBezTo>
                  <a:cubicBezTo>
                    <a:pt x="85" y="158"/>
                    <a:pt x="67" y="149"/>
                    <a:pt x="59" y="141"/>
                  </a:cubicBezTo>
                  <a:cubicBezTo>
                    <a:pt x="51" y="133"/>
                    <a:pt x="0" y="0"/>
                    <a:pt x="0" y="0"/>
                  </a:cubicBezTo>
                  <a:cubicBezTo>
                    <a:pt x="56" y="178"/>
                    <a:pt x="56" y="178"/>
                    <a:pt x="56" y="178"/>
                  </a:cubicBezTo>
                  <a:cubicBezTo>
                    <a:pt x="62" y="197"/>
                    <a:pt x="79" y="211"/>
                    <a:pt x="99" y="212"/>
                  </a:cubicBezTo>
                  <a:cubicBezTo>
                    <a:pt x="100" y="212"/>
                    <a:pt x="101" y="212"/>
                    <a:pt x="103" y="212"/>
                  </a:cubicBezTo>
                  <a:cubicBezTo>
                    <a:pt x="121" y="212"/>
                    <a:pt x="139" y="202"/>
                    <a:pt x="147" y="185"/>
                  </a:cubicBezTo>
                  <a:lnTo>
                    <a:pt x="159" y="161"/>
                  </a:lnTo>
                  <a:close/>
                </a:path>
              </a:pathLst>
            </a:custGeom>
            <a:solidFill>
              <a:srgbClr val="DF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îṡ1iḓe">
              <a:extLst>
                <a:ext uri="{FF2B5EF4-FFF2-40B4-BE49-F238E27FC236}">
                  <a16:creationId xmlns:a16="http://schemas.microsoft.com/office/drawing/2014/main" id="{82C0EE91-FEEF-474E-A2BD-9145A18867F0}"/>
                </a:ext>
              </a:extLst>
            </p:cNvPr>
            <p:cNvSpPr/>
            <p:nvPr/>
          </p:nvSpPr>
          <p:spPr bwMode="auto">
            <a:xfrm>
              <a:off x="7395868" y="4292232"/>
              <a:ext cx="613996" cy="1230429"/>
            </a:xfrm>
            <a:custGeom>
              <a:avLst/>
              <a:gdLst>
                <a:gd name="T0" fmla="*/ 94 w 121"/>
                <a:gd name="T1" fmla="*/ 5 h 243"/>
                <a:gd name="T2" fmla="*/ 54 w 121"/>
                <a:gd name="T3" fmla="*/ 27 h 243"/>
                <a:gd name="T4" fmla="*/ 0 w 121"/>
                <a:gd name="T5" fmla="*/ 217 h 243"/>
                <a:gd name="T6" fmla="*/ 60 w 121"/>
                <a:gd name="T7" fmla="*/ 243 h 243"/>
                <a:gd name="T8" fmla="*/ 62 w 121"/>
                <a:gd name="T9" fmla="*/ 235 h 243"/>
                <a:gd name="T10" fmla="*/ 117 w 121"/>
                <a:gd name="T11" fmla="*/ 45 h 243"/>
                <a:gd name="T12" fmla="*/ 94 w 121"/>
                <a:gd name="T13" fmla="*/ 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243">
                  <a:moveTo>
                    <a:pt x="94" y="5"/>
                  </a:moveTo>
                  <a:cubicBezTo>
                    <a:pt x="77" y="0"/>
                    <a:pt x="59" y="10"/>
                    <a:pt x="54" y="2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60" y="243"/>
                    <a:pt x="60" y="243"/>
                    <a:pt x="60" y="243"/>
                  </a:cubicBezTo>
                  <a:cubicBezTo>
                    <a:pt x="61" y="240"/>
                    <a:pt x="62" y="238"/>
                    <a:pt x="62" y="235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21" y="27"/>
                    <a:pt x="111" y="9"/>
                    <a:pt x="94" y="5"/>
                  </a:cubicBez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śḻïďè">
              <a:extLst>
                <a:ext uri="{FF2B5EF4-FFF2-40B4-BE49-F238E27FC236}">
                  <a16:creationId xmlns:a16="http://schemas.microsoft.com/office/drawing/2014/main" id="{D7152DB6-5AB7-4B19-8E8A-F53342A0150D}"/>
                </a:ext>
              </a:extLst>
            </p:cNvPr>
            <p:cNvSpPr/>
            <p:nvPr/>
          </p:nvSpPr>
          <p:spPr bwMode="auto">
            <a:xfrm>
              <a:off x="5885243" y="5422765"/>
              <a:ext cx="182738" cy="248522"/>
            </a:xfrm>
            <a:custGeom>
              <a:avLst/>
              <a:gdLst>
                <a:gd name="T0" fmla="*/ 10 w 36"/>
                <a:gd name="T1" fmla="*/ 13 h 49"/>
                <a:gd name="T2" fmla="*/ 0 w 36"/>
                <a:gd name="T3" fmla="*/ 25 h 49"/>
                <a:gd name="T4" fmla="*/ 29 w 36"/>
                <a:gd name="T5" fmla="*/ 49 h 49"/>
                <a:gd name="T6" fmla="*/ 31 w 36"/>
                <a:gd name="T7" fmla="*/ 45 h 49"/>
                <a:gd name="T8" fmla="*/ 34 w 36"/>
                <a:gd name="T9" fmla="*/ 0 h 49"/>
                <a:gd name="T10" fmla="*/ 10 w 36"/>
                <a:gd name="T1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49">
                  <a:moveTo>
                    <a:pt x="10" y="13"/>
                  </a:moveTo>
                  <a:cubicBezTo>
                    <a:pt x="5" y="18"/>
                    <a:pt x="2" y="22"/>
                    <a:pt x="0" y="25"/>
                  </a:cubicBezTo>
                  <a:cubicBezTo>
                    <a:pt x="6" y="36"/>
                    <a:pt x="16" y="45"/>
                    <a:pt x="29" y="49"/>
                  </a:cubicBezTo>
                  <a:cubicBezTo>
                    <a:pt x="29" y="48"/>
                    <a:pt x="30" y="47"/>
                    <a:pt x="31" y="45"/>
                  </a:cubicBezTo>
                  <a:cubicBezTo>
                    <a:pt x="36" y="32"/>
                    <a:pt x="34" y="0"/>
                    <a:pt x="34" y="0"/>
                  </a:cubicBezTo>
                  <a:cubicBezTo>
                    <a:pt x="34" y="0"/>
                    <a:pt x="22" y="1"/>
                    <a:pt x="10" y="13"/>
                  </a:cubicBezTo>
                  <a:close/>
                </a:path>
              </a:pathLst>
            </a:custGeom>
            <a:solidFill>
              <a:srgbClr val="CF9E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i$lïḓé">
              <a:extLst>
                <a:ext uri="{FF2B5EF4-FFF2-40B4-BE49-F238E27FC236}">
                  <a16:creationId xmlns:a16="http://schemas.microsoft.com/office/drawing/2014/main" id="{C38A0164-DF15-4FB4-B61E-41C9C0219CC1}"/>
                </a:ext>
              </a:extLst>
            </p:cNvPr>
            <p:cNvSpPr/>
            <p:nvPr/>
          </p:nvSpPr>
          <p:spPr bwMode="auto">
            <a:xfrm>
              <a:off x="5941283" y="5391089"/>
              <a:ext cx="1759147" cy="421514"/>
            </a:xfrm>
            <a:custGeom>
              <a:avLst/>
              <a:gdLst>
                <a:gd name="T0" fmla="*/ 261 w 347"/>
                <a:gd name="T1" fmla="*/ 18 h 83"/>
                <a:gd name="T2" fmla="*/ 36 w 347"/>
                <a:gd name="T3" fmla="*/ 4 h 83"/>
                <a:gd name="T4" fmla="*/ 2 w 347"/>
                <a:gd name="T5" fmla="*/ 34 h 83"/>
                <a:gd name="T6" fmla="*/ 32 w 347"/>
                <a:gd name="T7" fmla="*/ 68 h 83"/>
                <a:gd name="T8" fmla="*/ 257 w 347"/>
                <a:gd name="T9" fmla="*/ 83 h 83"/>
                <a:gd name="T10" fmla="*/ 263 w 347"/>
                <a:gd name="T11" fmla="*/ 83 h 83"/>
                <a:gd name="T12" fmla="*/ 347 w 347"/>
                <a:gd name="T13" fmla="*/ 26 h 83"/>
                <a:gd name="T14" fmla="*/ 287 w 347"/>
                <a:gd name="T15" fmla="*/ 0 h 83"/>
                <a:gd name="T16" fmla="*/ 261 w 347"/>
                <a:gd name="T17" fmla="*/ 1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7" h="83">
                  <a:moveTo>
                    <a:pt x="261" y="18"/>
                  </a:moveTo>
                  <a:cubicBezTo>
                    <a:pt x="36" y="4"/>
                    <a:pt x="36" y="4"/>
                    <a:pt x="36" y="4"/>
                  </a:cubicBezTo>
                  <a:cubicBezTo>
                    <a:pt x="18" y="3"/>
                    <a:pt x="3" y="16"/>
                    <a:pt x="2" y="34"/>
                  </a:cubicBezTo>
                  <a:cubicBezTo>
                    <a:pt x="0" y="52"/>
                    <a:pt x="14" y="67"/>
                    <a:pt x="32" y="68"/>
                  </a:cubicBezTo>
                  <a:cubicBezTo>
                    <a:pt x="257" y="83"/>
                    <a:pt x="257" y="83"/>
                    <a:pt x="257" y="83"/>
                  </a:cubicBezTo>
                  <a:cubicBezTo>
                    <a:pt x="259" y="83"/>
                    <a:pt x="261" y="83"/>
                    <a:pt x="263" y="83"/>
                  </a:cubicBezTo>
                  <a:cubicBezTo>
                    <a:pt x="300" y="83"/>
                    <a:pt x="333" y="60"/>
                    <a:pt x="347" y="26"/>
                  </a:cubicBezTo>
                  <a:cubicBezTo>
                    <a:pt x="287" y="0"/>
                    <a:pt x="287" y="0"/>
                    <a:pt x="287" y="0"/>
                  </a:cubicBezTo>
                  <a:cubicBezTo>
                    <a:pt x="284" y="11"/>
                    <a:pt x="273" y="19"/>
                    <a:pt x="261" y="18"/>
                  </a:cubicBez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$ľiḍê">
              <a:extLst>
                <a:ext uri="{FF2B5EF4-FFF2-40B4-BE49-F238E27FC236}">
                  <a16:creationId xmlns:a16="http://schemas.microsoft.com/office/drawing/2014/main" id="{2570FCF0-1A45-451E-8A3E-D37556ACD1BB}"/>
                </a:ext>
              </a:extLst>
            </p:cNvPr>
            <p:cNvSpPr/>
            <p:nvPr/>
          </p:nvSpPr>
          <p:spPr bwMode="auto">
            <a:xfrm>
              <a:off x="5941283" y="5427638"/>
              <a:ext cx="1759147" cy="384966"/>
            </a:xfrm>
            <a:custGeom>
              <a:avLst/>
              <a:gdLst>
                <a:gd name="T0" fmla="*/ 263 w 347"/>
                <a:gd name="T1" fmla="*/ 76 h 76"/>
                <a:gd name="T2" fmla="*/ 347 w 347"/>
                <a:gd name="T3" fmla="*/ 19 h 76"/>
                <a:gd name="T4" fmla="*/ 302 w 347"/>
                <a:gd name="T5" fmla="*/ 0 h 76"/>
                <a:gd name="T6" fmla="*/ 303 w 347"/>
                <a:gd name="T7" fmla="*/ 22 h 76"/>
                <a:gd name="T8" fmla="*/ 249 w 347"/>
                <a:gd name="T9" fmla="*/ 47 h 76"/>
                <a:gd name="T10" fmla="*/ 11 w 347"/>
                <a:gd name="T11" fmla="*/ 6 h 76"/>
                <a:gd name="T12" fmla="*/ 2 w 347"/>
                <a:gd name="T13" fmla="*/ 27 h 76"/>
                <a:gd name="T14" fmla="*/ 32 w 347"/>
                <a:gd name="T15" fmla="*/ 61 h 76"/>
                <a:gd name="T16" fmla="*/ 257 w 347"/>
                <a:gd name="T17" fmla="*/ 76 h 76"/>
                <a:gd name="T18" fmla="*/ 263 w 347"/>
                <a:gd name="T1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7" h="76">
                  <a:moveTo>
                    <a:pt x="263" y="76"/>
                  </a:moveTo>
                  <a:cubicBezTo>
                    <a:pt x="300" y="76"/>
                    <a:pt x="333" y="53"/>
                    <a:pt x="347" y="19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4" y="3"/>
                    <a:pt x="305" y="11"/>
                    <a:pt x="303" y="22"/>
                  </a:cubicBezTo>
                  <a:cubicBezTo>
                    <a:pt x="299" y="40"/>
                    <a:pt x="274" y="48"/>
                    <a:pt x="249" y="47"/>
                  </a:cubicBezTo>
                  <a:cubicBezTo>
                    <a:pt x="227" y="46"/>
                    <a:pt x="29" y="52"/>
                    <a:pt x="11" y="6"/>
                  </a:cubicBezTo>
                  <a:cubicBezTo>
                    <a:pt x="6" y="12"/>
                    <a:pt x="2" y="19"/>
                    <a:pt x="2" y="27"/>
                  </a:cubicBezTo>
                  <a:cubicBezTo>
                    <a:pt x="0" y="45"/>
                    <a:pt x="14" y="60"/>
                    <a:pt x="32" y="61"/>
                  </a:cubicBezTo>
                  <a:cubicBezTo>
                    <a:pt x="257" y="76"/>
                    <a:pt x="257" y="76"/>
                    <a:pt x="257" y="76"/>
                  </a:cubicBezTo>
                  <a:cubicBezTo>
                    <a:pt x="259" y="76"/>
                    <a:pt x="261" y="76"/>
                    <a:pt x="263" y="76"/>
                  </a:cubicBezTo>
                  <a:close/>
                </a:path>
              </a:pathLst>
            </a:custGeom>
            <a:solidFill>
              <a:srgbClr val="DF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iṥľídê">
              <a:extLst>
                <a:ext uri="{FF2B5EF4-FFF2-40B4-BE49-F238E27FC236}">
                  <a16:creationId xmlns:a16="http://schemas.microsoft.com/office/drawing/2014/main" id="{D16B2FD1-B2C2-413B-855C-DDCBDE6D8A05}"/>
                </a:ext>
              </a:extLst>
            </p:cNvPr>
            <p:cNvSpPr/>
            <p:nvPr/>
          </p:nvSpPr>
          <p:spPr bwMode="auto">
            <a:xfrm>
              <a:off x="7334957" y="5225408"/>
              <a:ext cx="465371" cy="319181"/>
            </a:xfrm>
            <a:custGeom>
              <a:avLst/>
              <a:gdLst>
                <a:gd name="T0" fmla="*/ 17 w 92"/>
                <a:gd name="T1" fmla="*/ 1 h 63"/>
                <a:gd name="T2" fmla="*/ 88 w 92"/>
                <a:gd name="T3" fmla="*/ 30 h 63"/>
                <a:gd name="T4" fmla="*/ 91 w 92"/>
                <a:gd name="T5" fmla="*/ 37 h 63"/>
                <a:gd name="T6" fmla="*/ 83 w 92"/>
                <a:gd name="T7" fmla="*/ 59 h 63"/>
                <a:gd name="T8" fmla="*/ 76 w 92"/>
                <a:gd name="T9" fmla="*/ 62 h 63"/>
                <a:gd name="T10" fmla="*/ 4 w 92"/>
                <a:gd name="T11" fmla="*/ 31 h 63"/>
                <a:gd name="T12" fmla="*/ 1 w 92"/>
                <a:gd name="T13" fmla="*/ 24 h 63"/>
                <a:gd name="T14" fmla="*/ 10 w 92"/>
                <a:gd name="T15" fmla="*/ 4 h 63"/>
                <a:gd name="T16" fmla="*/ 17 w 92"/>
                <a:gd name="T17" fmla="*/ 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3">
                  <a:moveTo>
                    <a:pt x="17" y="1"/>
                  </a:moveTo>
                  <a:cubicBezTo>
                    <a:pt x="88" y="30"/>
                    <a:pt x="88" y="30"/>
                    <a:pt x="88" y="30"/>
                  </a:cubicBezTo>
                  <a:cubicBezTo>
                    <a:pt x="91" y="31"/>
                    <a:pt x="92" y="34"/>
                    <a:pt x="91" y="37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2" y="61"/>
                    <a:pt x="78" y="63"/>
                    <a:pt x="76" y="62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1" y="30"/>
                    <a:pt x="0" y="27"/>
                    <a:pt x="1" y="2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1"/>
                    <a:pt x="14" y="0"/>
                    <a:pt x="1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şļíde">
              <a:extLst>
                <a:ext uri="{FF2B5EF4-FFF2-40B4-BE49-F238E27FC236}">
                  <a16:creationId xmlns:a16="http://schemas.microsoft.com/office/drawing/2014/main" id="{27BCFA97-6A0D-4ED6-9060-40FD4654958C}"/>
                </a:ext>
              </a:extLst>
            </p:cNvPr>
            <p:cNvSpPr/>
            <p:nvPr/>
          </p:nvSpPr>
          <p:spPr bwMode="auto">
            <a:xfrm>
              <a:off x="5743926" y="4202081"/>
              <a:ext cx="192484" cy="263141"/>
            </a:xfrm>
            <a:custGeom>
              <a:avLst/>
              <a:gdLst>
                <a:gd name="T0" fmla="*/ 6 w 38"/>
                <a:gd name="T1" fmla="*/ 50 h 52"/>
                <a:gd name="T2" fmla="*/ 6 w 38"/>
                <a:gd name="T3" fmla="*/ 50 h 52"/>
                <a:gd name="T4" fmla="*/ 2 w 38"/>
                <a:gd name="T5" fmla="*/ 37 h 52"/>
                <a:gd name="T6" fmla="*/ 18 w 38"/>
                <a:gd name="T7" fmla="*/ 7 h 52"/>
                <a:gd name="T8" fmla="*/ 31 w 38"/>
                <a:gd name="T9" fmla="*/ 3 h 52"/>
                <a:gd name="T10" fmla="*/ 35 w 38"/>
                <a:gd name="T11" fmla="*/ 16 h 52"/>
                <a:gd name="T12" fmla="*/ 19 w 38"/>
                <a:gd name="T13" fmla="*/ 46 h 52"/>
                <a:gd name="T14" fmla="*/ 6 w 38"/>
                <a:gd name="T15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52">
                  <a:moveTo>
                    <a:pt x="6" y="50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2" y="47"/>
                    <a:pt x="0" y="41"/>
                    <a:pt x="2" y="3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1" y="2"/>
                    <a:pt x="27" y="0"/>
                    <a:pt x="31" y="3"/>
                  </a:cubicBezTo>
                  <a:cubicBezTo>
                    <a:pt x="36" y="5"/>
                    <a:pt x="38" y="11"/>
                    <a:pt x="35" y="1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50"/>
                    <a:pt x="11" y="52"/>
                    <a:pt x="6" y="50"/>
                  </a:cubicBez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ṩḷíḍé">
              <a:extLst>
                <a:ext uri="{FF2B5EF4-FFF2-40B4-BE49-F238E27FC236}">
                  <a16:creationId xmlns:a16="http://schemas.microsoft.com/office/drawing/2014/main" id="{297027DD-1076-4BBE-8C31-B1FDCDFD1BCB}"/>
                </a:ext>
              </a:extLst>
            </p:cNvPr>
            <p:cNvSpPr/>
            <p:nvPr/>
          </p:nvSpPr>
          <p:spPr bwMode="auto">
            <a:xfrm>
              <a:off x="5605047" y="4019345"/>
              <a:ext cx="148627" cy="358165"/>
            </a:xfrm>
            <a:custGeom>
              <a:avLst/>
              <a:gdLst>
                <a:gd name="T0" fmla="*/ 24 w 29"/>
                <a:gd name="T1" fmla="*/ 59 h 71"/>
                <a:gd name="T2" fmla="*/ 26 w 29"/>
                <a:gd name="T3" fmla="*/ 24 h 71"/>
                <a:gd name="T4" fmla="*/ 5 w 29"/>
                <a:gd name="T5" fmla="*/ 9 h 71"/>
                <a:gd name="T6" fmla="*/ 11 w 29"/>
                <a:gd name="T7" fmla="*/ 34 h 71"/>
                <a:gd name="T8" fmla="*/ 4 w 29"/>
                <a:gd name="T9" fmla="*/ 71 h 71"/>
                <a:gd name="T10" fmla="*/ 24 w 29"/>
                <a:gd name="T11" fmla="*/ 5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71">
                  <a:moveTo>
                    <a:pt x="24" y="59"/>
                  </a:moveTo>
                  <a:cubicBezTo>
                    <a:pt x="24" y="59"/>
                    <a:pt x="29" y="37"/>
                    <a:pt x="26" y="24"/>
                  </a:cubicBezTo>
                  <a:cubicBezTo>
                    <a:pt x="24" y="10"/>
                    <a:pt x="11" y="0"/>
                    <a:pt x="5" y="9"/>
                  </a:cubicBezTo>
                  <a:cubicBezTo>
                    <a:pt x="0" y="18"/>
                    <a:pt x="10" y="21"/>
                    <a:pt x="11" y="34"/>
                  </a:cubicBezTo>
                  <a:cubicBezTo>
                    <a:pt x="11" y="46"/>
                    <a:pt x="4" y="71"/>
                    <a:pt x="4" y="71"/>
                  </a:cubicBezTo>
                  <a:lnTo>
                    <a:pt x="24" y="59"/>
                  </a:ln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ï$ḷîḓé">
              <a:extLst>
                <a:ext uri="{FF2B5EF4-FFF2-40B4-BE49-F238E27FC236}">
                  <a16:creationId xmlns:a16="http://schemas.microsoft.com/office/drawing/2014/main" id="{91115BC6-DCDB-4F72-9BAE-67E6C9A97E7A}"/>
                </a:ext>
              </a:extLst>
            </p:cNvPr>
            <p:cNvSpPr/>
            <p:nvPr/>
          </p:nvSpPr>
          <p:spPr bwMode="auto">
            <a:xfrm>
              <a:off x="5059273" y="5671287"/>
              <a:ext cx="1362000" cy="151062"/>
            </a:xfrm>
            <a:custGeom>
              <a:avLst/>
              <a:gdLst>
                <a:gd name="T0" fmla="*/ 251 w 269"/>
                <a:gd name="T1" fmla="*/ 0 h 30"/>
                <a:gd name="T2" fmla="*/ 0 w 269"/>
                <a:gd name="T3" fmla="*/ 0 h 30"/>
                <a:gd name="T4" fmla="*/ 0 w 269"/>
                <a:gd name="T5" fmla="*/ 30 h 30"/>
                <a:gd name="T6" fmla="*/ 269 w 269"/>
                <a:gd name="T7" fmla="*/ 30 h 30"/>
                <a:gd name="T8" fmla="*/ 269 w 269"/>
                <a:gd name="T9" fmla="*/ 18 h 30"/>
                <a:gd name="T10" fmla="*/ 251 w 26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9" h="30">
                  <a:moveTo>
                    <a:pt x="25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69" y="30"/>
                    <a:pt x="269" y="30"/>
                    <a:pt x="269" y="30"/>
                  </a:cubicBezTo>
                  <a:cubicBezTo>
                    <a:pt x="269" y="18"/>
                    <a:pt x="269" y="18"/>
                    <a:pt x="269" y="18"/>
                  </a:cubicBezTo>
                  <a:cubicBezTo>
                    <a:pt x="269" y="8"/>
                    <a:pt x="261" y="0"/>
                    <a:pt x="251" y="0"/>
                  </a:cubicBezTo>
                  <a:close/>
                </a:path>
              </a:pathLst>
            </a:custGeom>
            <a:solidFill>
              <a:srgbClr val="888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šḷïḋe">
              <a:extLst>
                <a:ext uri="{FF2B5EF4-FFF2-40B4-BE49-F238E27FC236}">
                  <a16:creationId xmlns:a16="http://schemas.microsoft.com/office/drawing/2014/main" id="{F7972035-CA68-45CC-B41C-C860FEE45444}"/>
                </a:ext>
              </a:extLst>
            </p:cNvPr>
            <p:cNvSpPr/>
            <p:nvPr/>
          </p:nvSpPr>
          <p:spPr bwMode="auto">
            <a:xfrm>
              <a:off x="3248959" y="4282486"/>
              <a:ext cx="2543698" cy="1539863"/>
            </a:xfrm>
            <a:custGeom>
              <a:avLst/>
              <a:gdLst>
                <a:gd name="T0" fmla="*/ 502 w 502"/>
                <a:gd name="T1" fmla="*/ 304 h 304"/>
                <a:gd name="T2" fmla="*/ 107 w 502"/>
                <a:gd name="T3" fmla="*/ 304 h 304"/>
                <a:gd name="T4" fmla="*/ 0 w 502"/>
                <a:gd name="T5" fmla="*/ 0 h 304"/>
                <a:gd name="T6" fmla="*/ 377 w 502"/>
                <a:gd name="T7" fmla="*/ 0 h 304"/>
                <a:gd name="T8" fmla="*/ 400 w 502"/>
                <a:gd name="T9" fmla="*/ 16 h 304"/>
                <a:gd name="T10" fmla="*/ 502 w 502"/>
                <a:gd name="T11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2" h="304">
                  <a:moveTo>
                    <a:pt x="502" y="304"/>
                  </a:moveTo>
                  <a:cubicBezTo>
                    <a:pt x="107" y="304"/>
                    <a:pt x="107" y="304"/>
                    <a:pt x="107" y="30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7" y="0"/>
                    <a:pt x="377" y="0"/>
                    <a:pt x="377" y="0"/>
                  </a:cubicBezTo>
                  <a:cubicBezTo>
                    <a:pt x="387" y="0"/>
                    <a:pt x="396" y="6"/>
                    <a:pt x="400" y="16"/>
                  </a:cubicBezTo>
                  <a:lnTo>
                    <a:pt x="502" y="304"/>
                  </a:lnTo>
                  <a:close/>
                </a:path>
              </a:pathLst>
            </a:custGeom>
            <a:solidFill>
              <a:srgbClr val="888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ṡ1iďe">
              <a:extLst>
                <a:ext uri="{FF2B5EF4-FFF2-40B4-BE49-F238E27FC236}">
                  <a16:creationId xmlns:a16="http://schemas.microsoft.com/office/drawing/2014/main" id="{64E95BC1-CF20-41DB-B37D-0F743C311B63}"/>
                </a:ext>
              </a:extLst>
            </p:cNvPr>
            <p:cNvSpPr/>
            <p:nvPr/>
          </p:nvSpPr>
          <p:spPr bwMode="auto">
            <a:xfrm>
              <a:off x="3102769" y="4282486"/>
              <a:ext cx="2519333" cy="1539863"/>
            </a:xfrm>
            <a:custGeom>
              <a:avLst/>
              <a:gdLst>
                <a:gd name="T0" fmla="*/ 497 w 497"/>
                <a:gd name="T1" fmla="*/ 304 h 304"/>
                <a:gd name="T2" fmla="*/ 103 w 497"/>
                <a:gd name="T3" fmla="*/ 304 h 304"/>
                <a:gd name="T4" fmla="*/ 5 w 497"/>
                <a:gd name="T5" fmla="*/ 27 h 304"/>
                <a:gd name="T6" fmla="*/ 24 w 497"/>
                <a:gd name="T7" fmla="*/ 0 h 304"/>
                <a:gd name="T8" fmla="*/ 372 w 497"/>
                <a:gd name="T9" fmla="*/ 0 h 304"/>
                <a:gd name="T10" fmla="*/ 396 w 497"/>
                <a:gd name="T11" fmla="*/ 16 h 304"/>
                <a:gd name="T12" fmla="*/ 497 w 497"/>
                <a:gd name="T13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7" h="304">
                  <a:moveTo>
                    <a:pt x="497" y="304"/>
                  </a:moveTo>
                  <a:cubicBezTo>
                    <a:pt x="103" y="304"/>
                    <a:pt x="103" y="304"/>
                    <a:pt x="103" y="304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0" y="14"/>
                    <a:pt x="10" y="0"/>
                    <a:pt x="24" y="0"/>
                  </a:cubicBezTo>
                  <a:cubicBezTo>
                    <a:pt x="372" y="0"/>
                    <a:pt x="372" y="0"/>
                    <a:pt x="372" y="0"/>
                  </a:cubicBezTo>
                  <a:cubicBezTo>
                    <a:pt x="383" y="0"/>
                    <a:pt x="392" y="6"/>
                    <a:pt x="396" y="16"/>
                  </a:cubicBezTo>
                  <a:lnTo>
                    <a:pt x="497" y="304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ṣ1ïḑê">
              <a:extLst>
                <a:ext uri="{FF2B5EF4-FFF2-40B4-BE49-F238E27FC236}">
                  <a16:creationId xmlns:a16="http://schemas.microsoft.com/office/drawing/2014/main" id="{09C58345-5D3B-48E6-9C0B-87E9EE970645}"/>
                </a:ext>
              </a:extLst>
            </p:cNvPr>
            <p:cNvSpPr/>
            <p:nvPr/>
          </p:nvSpPr>
          <p:spPr bwMode="auto">
            <a:xfrm>
              <a:off x="7710176" y="4338525"/>
              <a:ext cx="268014" cy="238776"/>
            </a:xfrm>
            <a:custGeom>
              <a:avLst/>
              <a:gdLst>
                <a:gd name="T0" fmla="*/ 50 w 53"/>
                <a:gd name="T1" fmla="*/ 31 h 47"/>
                <a:gd name="T2" fmla="*/ 21 w 53"/>
                <a:gd name="T3" fmla="*/ 44 h 47"/>
                <a:gd name="T4" fmla="*/ 3 w 53"/>
                <a:gd name="T5" fmla="*/ 17 h 47"/>
                <a:gd name="T6" fmla="*/ 32 w 53"/>
                <a:gd name="T7" fmla="*/ 4 h 47"/>
                <a:gd name="T8" fmla="*/ 50 w 53"/>
                <a:gd name="T9" fmla="*/ 3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47">
                  <a:moveTo>
                    <a:pt x="50" y="31"/>
                  </a:moveTo>
                  <a:cubicBezTo>
                    <a:pt x="47" y="42"/>
                    <a:pt x="34" y="47"/>
                    <a:pt x="21" y="44"/>
                  </a:cubicBezTo>
                  <a:cubicBezTo>
                    <a:pt x="8" y="40"/>
                    <a:pt x="0" y="28"/>
                    <a:pt x="3" y="17"/>
                  </a:cubicBezTo>
                  <a:cubicBezTo>
                    <a:pt x="6" y="6"/>
                    <a:pt x="19" y="0"/>
                    <a:pt x="32" y="4"/>
                  </a:cubicBezTo>
                  <a:cubicBezTo>
                    <a:pt x="45" y="8"/>
                    <a:pt x="53" y="20"/>
                    <a:pt x="50" y="31"/>
                  </a:cubicBezTo>
                  <a:close/>
                </a:path>
              </a:pathLst>
            </a:custGeom>
            <a:solidFill>
              <a:srgbClr val="5D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îṣ1íḍe">
              <a:extLst>
                <a:ext uri="{FF2B5EF4-FFF2-40B4-BE49-F238E27FC236}">
                  <a16:creationId xmlns:a16="http://schemas.microsoft.com/office/drawing/2014/main" id="{22AD5F62-CA4F-4867-8245-741448815CB0}"/>
                </a:ext>
              </a:extLst>
            </p:cNvPr>
            <p:cNvSpPr/>
            <p:nvPr/>
          </p:nvSpPr>
          <p:spPr bwMode="auto">
            <a:xfrm>
              <a:off x="5570936" y="4377509"/>
              <a:ext cx="243649" cy="309435"/>
            </a:xfrm>
            <a:custGeom>
              <a:avLst/>
              <a:gdLst>
                <a:gd name="T0" fmla="*/ 32 w 48"/>
                <a:gd name="T1" fmla="*/ 58 h 61"/>
                <a:gd name="T2" fmla="*/ 5 w 48"/>
                <a:gd name="T3" fmla="*/ 36 h 61"/>
                <a:gd name="T4" fmla="*/ 17 w 48"/>
                <a:gd name="T5" fmla="*/ 3 h 61"/>
                <a:gd name="T6" fmla="*/ 44 w 48"/>
                <a:gd name="T7" fmla="*/ 25 h 61"/>
                <a:gd name="T8" fmla="*/ 32 w 48"/>
                <a:gd name="T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1">
                  <a:moveTo>
                    <a:pt x="32" y="58"/>
                  </a:moveTo>
                  <a:cubicBezTo>
                    <a:pt x="21" y="61"/>
                    <a:pt x="9" y="51"/>
                    <a:pt x="5" y="36"/>
                  </a:cubicBezTo>
                  <a:cubicBezTo>
                    <a:pt x="0" y="21"/>
                    <a:pt x="6" y="7"/>
                    <a:pt x="17" y="3"/>
                  </a:cubicBezTo>
                  <a:cubicBezTo>
                    <a:pt x="28" y="0"/>
                    <a:pt x="40" y="10"/>
                    <a:pt x="44" y="25"/>
                  </a:cubicBezTo>
                  <a:cubicBezTo>
                    <a:pt x="48" y="40"/>
                    <a:pt x="43" y="55"/>
                    <a:pt x="32" y="58"/>
                  </a:cubicBezTo>
                  <a:close/>
                </a:path>
              </a:pathLst>
            </a:custGeom>
            <a:solidFill>
              <a:srgbClr val="F0D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śḷïḋe">
              <a:extLst>
                <a:ext uri="{FF2B5EF4-FFF2-40B4-BE49-F238E27FC236}">
                  <a16:creationId xmlns:a16="http://schemas.microsoft.com/office/drawing/2014/main" id="{0E5BAB88-9220-44AD-8047-ADFF824517D5}"/>
                </a:ext>
              </a:extLst>
            </p:cNvPr>
            <p:cNvSpPr/>
            <p:nvPr/>
          </p:nvSpPr>
          <p:spPr bwMode="auto">
            <a:xfrm>
              <a:off x="6119146" y="5432511"/>
              <a:ext cx="596941" cy="141317"/>
            </a:xfrm>
            <a:custGeom>
              <a:avLst/>
              <a:gdLst>
                <a:gd name="T0" fmla="*/ 118 w 118"/>
                <a:gd name="T1" fmla="*/ 19 h 28"/>
                <a:gd name="T2" fmla="*/ 58 w 118"/>
                <a:gd name="T3" fmla="*/ 25 h 28"/>
                <a:gd name="T4" fmla="*/ 0 w 118"/>
                <a:gd name="T5" fmla="*/ 9 h 28"/>
                <a:gd name="T6" fmla="*/ 60 w 118"/>
                <a:gd name="T7" fmla="*/ 3 h 28"/>
                <a:gd name="T8" fmla="*/ 118 w 118"/>
                <a:gd name="T9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28">
                  <a:moveTo>
                    <a:pt x="118" y="19"/>
                  </a:moveTo>
                  <a:cubicBezTo>
                    <a:pt x="117" y="25"/>
                    <a:pt x="91" y="28"/>
                    <a:pt x="58" y="25"/>
                  </a:cubicBezTo>
                  <a:cubicBezTo>
                    <a:pt x="26" y="22"/>
                    <a:pt x="0" y="15"/>
                    <a:pt x="0" y="9"/>
                  </a:cubicBezTo>
                  <a:cubicBezTo>
                    <a:pt x="1" y="3"/>
                    <a:pt x="28" y="0"/>
                    <a:pt x="60" y="3"/>
                  </a:cubicBezTo>
                  <a:cubicBezTo>
                    <a:pt x="92" y="5"/>
                    <a:pt x="118" y="12"/>
                    <a:pt x="118" y="19"/>
                  </a:cubicBezTo>
                  <a:close/>
                </a:path>
              </a:pathLst>
            </a:custGeom>
            <a:solidFill>
              <a:srgbClr val="F0D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ṩḻîḋè">
              <a:extLst>
                <a:ext uri="{FF2B5EF4-FFF2-40B4-BE49-F238E27FC236}">
                  <a16:creationId xmlns:a16="http://schemas.microsoft.com/office/drawing/2014/main" id="{BDD737EF-4992-4DC6-A3EB-8FBF7DC91658}"/>
                </a:ext>
              </a:extLst>
            </p:cNvPr>
            <p:cNvSpPr/>
            <p:nvPr/>
          </p:nvSpPr>
          <p:spPr bwMode="auto">
            <a:xfrm>
              <a:off x="3862955" y="4377509"/>
              <a:ext cx="1089113" cy="82841"/>
            </a:xfrm>
            <a:custGeom>
              <a:avLst/>
              <a:gdLst>
                <a:gd name="T0" fmla="*/ 207 w 215"/>
                <a:gd name="T1" fmla="*/ 16 h 16"/>
                <a:gd name="T2" fmla="*/ 8 w 215"/>
                <a:gd name="T3" fmla="*/ 16 h 16"/>
                <a:gd name="T4" fmla="*/ 0 w 215"/>
                <a:gd name="T5" fmla="*/ 8 h 16"/>
                <a:gd name="T6" fmla="*/ 8 w 215"/>
                <a:gd name="T7" fmla="*/ 0 h 16"/>
                <a:gd name="T8" fmla="*/ 207 w 215"/>
                <a:gd name="T9" fmla="*/ 0 h 16"/>
                <a:gd name="T10" fmla="*/ 215 w 215"/>
                <a:gd name="T11" fmla="*/ 8 h 16"/>
                <a:gd name="T12" fmla="*/ 207 w 21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6">
                  <a:moveTo>
                    <a:pt x="207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2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12" y="0"/>
                    <a:pt x="215" y="3"/>
                    <a:pt x="215" y="8"/>
                  </a:cubicBezTo>
                  <a:cubicBezTo>
                    <a:pt x="215" y="12"/>
                    <a:pt x="212" y="16"/>
                    <a:pt x="207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ṥḷíḋé">
              <a:extLst>
                <a:ext uri="{FF2B5EF4-FFF2-40B4-BE49-F238E27FC236}">
                  <a16:creationId xmlns:a16="http://schemas.microsoft.com/office/drawing/2014/main" id="{B1846F34-ED72-4F22-BCE0-A5084A3EF331}"/>
                </a:ext>
              </a:extLst>
            </p:cNvPr>
            <p:cNvSpPr/>
            <p:nvPr/>
          </p:nvSpPr>
          <p:spPr bwMode="auto">
            <a:xfrm>
              <a:off x="3290380" y="4377509"/>
              <a:ext cx="470244" cy="82841"/>
            </a:xfrm>
            <a:custGeom>
              <a:avLst/>
              <a:gdLst>
                <a:gd name="T0" fmla="*/ 85 w 93"/>
                <a:gd name="T1" fmla="*/ 16 h 16"/>
                <a:gd name="T2" fmla="*/ 8 w 93"/>
                <a:gd name="T3" fmla="*/ 16 h 16"/>
                <a:gd name="T4" fmla="*/ 0 w 93"/>
                <a:gd name="T5" fmla="*/ 8 h 16"/>
                <a:gd name="T6" fmla="*/ 8 w 93"/>
                <a:gd name="T7" fmla="*/ 0 h 16"/>
                <a:gd name="T8" fmla="*/ 85 w 93"/>
                <a:gd name="T9" fmla="*/ 0 h 16"/>
                <a:gd name="T10" fmla="*/ 93 w 93"/>
                <a:gd name="T11" fmla="*/ 8 h 16"/>
                <a:gd name="T12" fmla="*/ 85 w 93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16">
                  <a:moveTo>
                    <a:pt x="85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2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9" y="0"/>
                    <a:pt x="93" y="3"/>
                    <a:pt x="93" y="8"/>
                  </a:cubicBezTo>
                  <a:cubicBezTo>
                    <a:pt x="93" y="12"/>
                    <a:pt x="89" y="16"/>
                    <a:pt x="8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ṡľîḍê">
              <a:extLst>
                <a:ext uri="{FF2B5EF4-FFF2-40B4-BE49-F238E27FC236}">
                  <a16:creationId xmlns:a16="http://schemas.microsoft.com/office/drawing/2014/main" id="{C6440A03-01ED-4E3B-B854-C25881EDAE5F}"/>
                </a:ext>
              </a:extLst>
            </p:cNvPr>
            <p:cNvSpPr/>
            <p:nvPr/>
          </p:nvSpPr>
          <p:spPr bwMode="auto">
            <a:xfrm>
              <a:off x="3258704" y="4789277"/>
              <a:ext cx="2363397" cy="1033073"/>
            </a:xfrm>
            <a:custGeom>
              <a:avLst/>
              <a:gdLst>
                <a:gd name="T0" fmla="*/ 444 w 466"/>
                <a:gd name="T1" fmla="*/ 141 h 204"/>
                <a:gd name="T2" fmla="*/ 183 w 466"/>
                <a:gd name="T3" fmla="*/ 117 h 204"/>
                <a:gd name="T4" fmla="*/ 0 w 466"/>
                <a:gd name="T5" fmla="*/ 0 h 204"/>
                <a:gd name="T6" fmla="*/ 72 w 466"/>
                <a:gd name="T7" fmla="*/ 204 h 204"/>
                <a:gd name="T8" fmla="*/ 466 w 466"/>
                <a:gd name="T9" fmla="*/ 204 h 204"/>
                <a:gd name="T10" fmla="*/ 444 w 466"/>
                <a:gd name="T11" fmla="*/ 14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204">
                  <a:moveTo>
                    <a:pt x="444" y="141"/>
                  </a:moveTo>
                  <a:cubicBezTo>
                    <a:pt x="444" y="141"/>
                    <a:pt x="298" y="156"/>
                    <a:pt x="183" y="117"/>
                  </a:cubicBezTo>
                  <a:cubicBezTo>
                    <a:pt x="68" y="78"/>
                    <a:pt x="0" y="0"/>
                    <a:pt x="0" y="0"/>
                  </a:cubicBezTo>
                  <a:cubicBezTo>
                    <a:pt x="72" y="204"/>
                    <a:pt x="72" y="204"/>
                    <a:pt x="72" y="204"/>
                  </a:cubicBezTo>
                  <a:cubicBezTo>
                    <a:pt x="466" y="204"/>
                    <a:pt x="466" y="204"/>
                    <a:pt x="466" y="204"/>
                  </a:cubicBezTo>
                  <a:lnTo>
                    <a:pt x="444" y="141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íṧļïďe">
              <a:extLst>
                <a:ext uri="{FF2B5EF4-FFF2-40B4-BE49-F238E27FC236}">
                  <a16:creationId xmlns:a16="http://schemas.microsoft.com/office/drawing/2014/main" id="{4E725309-FFE6-4D7A-A464-A3382A9D85B7}"/>
                </a:ext>
              </a:extLst>
            </p:cNvPr>
            <p:cNvSpPr/>
            <p:nvPr/>
          </p:nvSpPr>
          <p:spPr bwMode="auto">
            <a:xfrm>
              <a:off x="3324491" y="5822349"/>
              <a:ext cx="4851057" cy="319181"/>
            </a:xfrm>
            <a:custGeom>
              <a:avLst/>
              <a:gdLst>
                <a:gd name="T0" fmla="*/ 946 w 957"/>
                <a:gd name="T1" fmla="*/ 63 h 63"/>
                <a:gd name="T2" fmla="*/ 10 w 957"/>
                <a:gd name="T3" fmla="*/ 63 h 63"/>
                <a:gd name="T4" fmla="*/ 0 w 957"/>
                <a:gd name="T5" fmla="*/ 52 h 63"/>
                <a:gd name="T6" fmla="*/ 0 w 957"/>
                <a:gd name="T7" fmla="*/ 10 h 63"/>
                <a:gd name="T8" fmla="*/ 10 w 957"/>
                <a:gd name="T9" fmla="*/ 0 h 63"/>
                <a:gd name="T10" fmla="*/ 946 w 957"/>
                <a:gd name="T11" fmla="*/ 0 h 63"/>
                <a:gd name="T12" fmla="*/ 957 w 957"/>
                <a:gd name="T13" fmla="*/ 10 h 63"/>
                <a:gd name="T14" fmla="*/ 957 w 957"/>
                <a:gd name="T15" fmla="*/ 52 h 63"/>
                <a:gd name="T16" fmla="*/ 946 w 957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7" h="63">
                  <a:moveTo>
                    <a:pt x="946" y="63"/>
                  </a:moveTo>
                  <a:cubicBezTo>
                    <a:pt x="10" y="63"/>
                    <a:pt x="10" y="63"/>
                    <a:pt x="10" y="63"/>
                  </a:cubicBezTo>
                  <a:cubicBezTo>
                    <a:pt x="4" y="63"/>
                    <a:pt x="0" y="58"/>
                    <a:pt x="0" y="5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946" y="0"/>
                    <a:pt x="946" y="0"/>
                    <a:pt x="946" y="0"/>
                  </a:cubicBezTo>
                  <a:cubicBezTo>
                    <a:pt x="952" y="0"/>
                    <a:pt x="957" y="4"/>
                    <a:pt x="957" y="10"/>
                  </a:cubicBezTo>
                  <a:cubicBezTo>
                    <a:pt x="957" y="52"/>
                    <a:pt x="957" y="52"/>
                    <a:pt x="957" y="52"/>
                  </a:cubicBezTo>
                  <a:cubicBezTo>
                    <a:pt x="957" y="58"/>
                    <a:pt x="952" y="63"/>
                    <a:pt x="946" y="63"/>
                  </a:cubicBezTo>
                  <a:close/>
                </a:path>
              </a:pathLst>
            </a:custGeom>
            <a:solidFill>
              <a:srgbClr val="A644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íşļîďê">
              <a:extLst>
                <a:ext uri="{FF2B5EF4-FFF2-40B4-BE49-F238E27FC236}">
                  <a16:creationId xmlns:a16="http://schemas.microsoft.com/office/drawing/2014/main" id="{FECE3F22-8202-4A1C-96E4-E1CBE0FDA2BC}"/>
                </a:ext>
              </a:extLst>
            </p:cNvPr>
            <p:cNvSpPr/>
            <p:nvPr/>
          </p:nvSpPr>
          <p:spPr bwMode="auto">
            <a:xfrm>
              <a:off x="5748799" y="3658744"/>
              <a:ext cx="75532" cy="294816"/>
            </a:xfrm>
            <a:custGeom>
              <a:avLst/>
              <a:gdLst>
                <a:gd name="T0" fmla="*/ 8 w 15"/>
                <a:gd name="T1" fmla="*/ 58 h 58"/>
                <a:gd name="T2" fmla="*/ 8 w 15"/>
                <a:gd name="T3" fmla="*/ 58 h 58"/>
                <a:gd name="T4" fmla="*/ 1 w 15"/>
                <a:gd name="T5" fmla="*/ 51 h 58"/>
                <a:gd name="T6" fmla="*/ 0 w 15"/>
                <a:gd name="T7" fmla="*/ 7 h 58"/>
                <a:gd name="T8" fmla="*/ 6 w 15"/>
                <a:gd name="T9" fmla="*/ 0 h 58"/>
                <a:gd name="T10" fmla="*/ 13 w 15"/>
                <a:gd name="T11" fmla="*/ 7 h 58"/>
                <a:gd name="T12" fmla="*/ 15 w 15"/>
                <a:gd name="T13" fmla="*/ 51 h 58"/>
                <a:gd name="T14" fmla="*/ 8 w 15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8">
                  <a:moveTo>
                    <a:pt x="8" y="58"/>
                  </a:moveTo>
                  <a:cubicBezTo>
                    <a:pt x="8" y="58"/>
                    <a:pt x="8" y="58"/>
                    <a:pt x="8" y="58"/>
                  </a:cubicBezTo>
                  <a:cubicBezTo>
                    <a:pt x="4" y="58"/>
                    <a:pt x="1" y="55"/>
                    <a:pt x="1" y="5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4"/>
                    <a:pt x="12" y="58"/>
                    <a:pt x="8" y="58"/>
                  </a:cubicBezTo>
                  <a:close/>
                </a:path>
              </a:pathLst>
            </a:custGeom>
            <a:solidFill>
              <a:srgbClr val="F7E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$1ïḓé">
              <a:extLst>
                <a:ext uri="{FF2B5EF4-FFF2-40B4-BE49-F238E27FC236}">
                  <a16:creationId xmlns:a16="http://schemas.microsoft.com/office/drawing/2014/main" id="{35DF3138-D2F8-42CE-A685-D20C617EA47B}"/>
                </a:ext>
              </a:extLst>
            </p:cNvPr>
            <p:cNvSpPr/>
            <p:nvPr/>
          </p:nvSpPr>
          <p:spPr bwMode="auto">
            <a:xfrm>
              <a:off x="5965648" y="3856100"/>
              <a:ext cx="258268" cy="209538"/>
            </a:xfrm>
            <a:custGeom>
              <a:avLst/>
              <a:gdLst>
                <a:gd name="T0" fmla="*/ 2 w 51"/>
                <a:gd name="T1" fmla="*/ 37 h 41"/>
                <a:gd name="T2" fmla="*/ 2 w 51"/>
                <a:gd name="T3" fmla="*/ 37 h 41"/>
                <a:gd name="T4" fmla="*/ 12 w 51"/>
                <a:gd name="T5" fmla="*/ 39 h 41"/>
                <a:gd name="T6" fmla="*/ 47 w 51"/>
                <a:gd name="T7" fmla="*/ 13 h 41"/>
                <a:gd name="T8" fmla="*/ 49 w 51"/>
                <a:gd name="T9" fmla="*/ 4 h 41"/>
                <a:gd name="T10" fmla="*/ 40 w 51"/>
                <a:gd name="T11" fmla="*/ 2 h 41"/>
                <a:gd name="T12" fmla="*/ 4 w 51"/>
                <a:gd name="T13" fmla="*/ 28 h 41"/>
                <a:gd name="T14" fmla="*/ 2 w 51"/>
                <a:gd name="T15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41">
                  <a:moveTo>
                    <a:pt x="2" y="37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4" y="40"/>
                    <a:pt x="9" y="41"/>
                    <a:pt x="12" y="39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50" y="11"/>
                    <a:pt x="51" y="7"/>
                    <a:pt x="49" y="4"/>
                  </a:cubicBezTo>
                  <a:cubicBezTo>
                    <a:pt x="47" y="1"/>
                    <a:pt x="43" y="0"/>
                    <a:pt x="40" y="2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30"/>
                    <a:pt x="0" y="34"/>
                    <a:pt x="2" y="37"/>
                  </a:cubicBezTo>
                  <a:close/>
                </a:path>
              </a:pathLst>
            </a:custGeom>
            <a:solidFill>
              <a:srgbClr val="F7E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sľïḓe">
              <a:extLst>
                <a:ext uri="{FF2B5EF4-FFF2-40B4-BE49-F238E27FC236}">
                  <a16:creationId xmlns:a16="http://schemas.microsoft.com/office/drawing/2014/main" id="{3796A0BC-4113-4C54-82C3-EB20A73684EA}"/>
                </a:ext>
              </a:extLst>
            </p:cNvPr>
            <p:cNvSpPr/>
            <p:nvPr/>
          </p:nvSpPr>
          <p:spPr bwMode="auto">
            <a:xfrm>
              <a:off x="5885243" y="3680672"/>
              <a:ext cx="177865" cy="277760"/>
            </a:xfrm>
            <a:custGeom>
              <a:avLst/>
              <a:gdLst>
                <a:gd name="T0" fmla="*/ 5 w 35"/>
                <a:gd name="T1" fmla="*/ 54 h 55"/>
                <a:gd name="T2" fmla="*/ 5 w 35"/>
                <a:gd name="T3" fmla="*/ 54 h 55"/>
                <a:gd name="T4" fmla="*/ 2 w 35"/>
                <a:gd name="T5" fmla="*/ 44 h 55"/>
                <a:gd name="T6" fmla="*/ 21 w 35"/>
                <a:gd name="T7" fmla="*/ 5 h 55"/>
                <a:gd name="T8" fmla="*/ 31 w 35"/>
                <a:gd name="T9" fmla="*/ 2 h 55"/>
                <a:gd name="T10" fmla="*/ 34 w 35"/>
                <a:gd name="T11" fmla="*/ 11 h 55"/>
                <a:gd name="T12" fmla="*/ 14 w 35"/>
                <a:gd name="T13" fmla="*/ 51 h 55"/>
                <a:gd name="T14" fmla="*/ 5 w 35"/>
                <a:gd name="T15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55">
                  <a:moveTo>
                    <a:pt x="5" y="54"/>
                  </a:moveTo>
                  <a:cubicBezTo>
                    <a:pt x="5" y="54"/>
                    <a:pt x="5" y="54"/>
                    <a:pt x="5" y="54"/>
                  </a:cubicBezTo>
                  <a:cubicBezTo>
                    <a:pt x="1" y="52"/>
                    <a:pt x="0" y="48"/>
                    <a:pt x="2" y="44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3" y="2"/>
                    <a:pt x="27" y="0"/>
                    <a:pt x="31" y="2"/>
                  </a:cubicBezTo>
                  <a:cubicBezTo>
                    <a:pt x="34" y="4"/>
                    <a:pt x="35" y="8"/>
                    <a:pt x="34" y="1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2" y="54"/>
                    <a:pt x="8" y="55"/>
                    <a:pt x="5" y="54"/>
                  </a:cubicBezTo>
                  <a:close/>
                </a:path>
              </a:pathLst>
            </a:custGeom>
            <a:solidFill>
              <a:srgbClr val="F7E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ślíḋê">
              <a:extLst>
                <a:ext uri="{FF2B5EF4-FFF2-40B4-BE49-F238E27FC236}">
                  <a16:creationId xmlns:a16="http://schemas.microsoft.com/office/drawing/2014/main" id="{04204280-984C-4716-8AD1-95CAA2B66FD0}"/>
                </a:ext>
              </a:extLst>
            </p:cNvPr>
            <p:cNvSpPr/>
            <p:nvPr/>
          </p:nvSpPr>
          <p:spPr bwMode="auto">
            <a:xfrm>
              <a:off x="3365910" y="2333293"/>
              <a:ext cx="1215810" cy="1220683"/>
            </a:xfrm>
            <a:prstGeom prst="ellipse">
              <a:avLst/>
            </a:prstGeom>
            <a:solidFill>
              <a:srgbClr val="F78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îśḷïḑè">
              <a:extLst>
                <a:ext uri="{FF2B5EF4-FFF2-40B4-BE49-F238E27FC236}">
                  <a16:creationId xmlns:a16="http://schemas.microsoft.com/office/drawing/2014/main" id="{5DE6107D-2454-42EB-8E2F-C895A4499B31}"/>
                </a:ext>
              </a:extLst>
            </p:cNvPr>
            <p:cNvSpPr/>
            <p:nvPr/>
          </p:nvSpPr>
          <p:spPr bwMode="auto">
            <a:xfrm>
              <a:off x="4684053" y="1132102"/>
              <a:ext cx="540901" cy="536028"/>
            </a:xfrm>
            <a:prstGeom prst="ellipse">
              <a:avLst/>
            </a:prstGeom>
            <a:solidFill>
              <a:srgbClr val="F78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ṩļïḋe">
              <a:extLst>
                <a:ext uri="{FF2B5EF4-FFF2-40B4-BE49-F238E27FC236}">
                  <a16:creationId xmlns:a16="http://schemas.microsoft.com/office/drawing/2014/main" id="{87990392-B110-4B80-997B-498C55B670AD}"/>
                </a:ext>
              </a:extLst>
            </p:cNvPr>
            <p:cNvSpPr/>
            <p:nvPr/>
          </p:nvSpPr>
          <p:spPr bwMode="auto">
            <a:xfrm>
              <a:off x="4014017" y="1982438"/>
              <a:ext cx="1308397" cy="238776"/>
            </a:xfrm>
            <a:custGeom>
              <a:avLst/>
              <a:gdLst>
                <a:gd name="T0" fmla="*/ 234 w 258"/>
                <a:gd name="T1" fmla="*/ 47 h 47"/>
                <a:gd name="T2" fmla="*/ 23 w 258"/>
                <a:gd name="T3" fmla="*/ 47 h 47"/>
                <a:gd name="T4" fmla="*/ 0 w 258"/>
                <a:gd name="T5" fmla="*/ 24 h 47"/>
                <a:gd name="T6" fmla="*/ 23 w 258"/>
                <a:gd name="T7" fmla="*/ 0 h 47"/>
                <a:gd name="T8" fmla="*/ 234 w 258"/>
                <a:gd name="T9" fmla="*/ 0 h 47"/>
                <a:gd name="T10" fmla="*/ 258 w 258"/>
                <a:gd name="T11" fmla="*/ 24 h 47"/>
                <a:gd name="T12" fmla="*/ 234 w 258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" h="47">
                  <a:moveTo>
                    <a:pt x="234" y="47"/>
                  </a:moveTo>
                  <a:cubicBezTo>
                    <a:pt x="23" y="47"/>
                    <a:pt x="23" y="47"/>
                    <a:pt x="23" y="47"/>
                  </a:cubicBezTo>
                  <a:cubicBezTo>
                    <a:pt x="10" y="47"/>
                    <a:pt x="0" y="36"/>
                    <a:pt x="0" y="24"/>
                  </a:cubicBezTo>
                  <a:cubicBezTo>
                    <a:pt x="0" y="11"/>
                    <a:pt x="10" y="0"/>
                    <a:pt x="23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47" y="0"/>
                    <a:pt x="258" y="11"/>
                    <a:pt x="258" y="24"/>
                  </a:cubicBezTo>
                  <a:cubicBezTo>
                    <a:pt x="258" y="36"/>
                    <a:pt x="247" y="47"/>
                    <a:pt x="234" y="47"/>
                  </a:cubicBezTo>
                  <a:close/>
                </a:path>
              </a:pathLst>
            </a:custGeom>
            <a:solidFill>
              <a:srgbClr val="F78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5/2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940018" y="312725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941134" y="402260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grpSp>
        <p:nvGrpSpPr>
          <p:cNvPr id="4" name="组合 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189F433-0688-4849-A28B-4537857AB6A7}"/>
              </a:ext>
            </a:extLst>
          </p:cNvPr>
          <p:cNvGrpSpPr/>
          <p:nvPr userDrawn="1"/>
        </p:nvGrpSpPr>
        <p:grpSpPr>
          <a:xfrm>
            <a:off x="669925" y="1349518"/>
            <a:ext cx="4772804" cy="4158964"/>
            <a:chOff x="3102769" y="1080936"/>
            <a:chExt cx="5986462" cy="5216530"/>
          </a:xfrm>
        </p:grpSpPr>
        <p:sp>
          <p:nvSpPr>
            <p:cNvPr id="5" name="iŝlïḍé">
              <a:extLst>
                <a:ext uri="{FF2B5EF4-FFF2-40B4-BE49-F238E27FC236}">
                  <a16:creationId xmlns:a16="http://schemas.microsoft.com/office/drawing/2014/main" id="{CC98D676-B4A7-4A3B-9707-EA03D24FAC88}"/>
                </a:ext>
              </a:extLst>
            </p:cNvPr>
            <p:cNvSpPr/>
            <p:nvPr/>
          </p:nvSpPr>
          <p:spPr bwMode="auto">
            <a:xfrm>
              <a:off x="3536465" y="1080936"/>
              <a:ext cx="5552766" cy="5216530"/>
            </a:xfrm>
            <a:custGeom>
              <a:avLst/>
              <a:gdLst>
                <a:gd name="T0" fmla="*/ 1050 w 1095"/>
                <a:gd name="T1" fmla="*/ 413 h 1030"/>
                <a:gd name="T2" fmla="*/ 516 w 1095"/>
                <a:gd name="T3" fmla="*/ 39 h 1030"/>
                <a:gd name="T4" fmla="*/ 1025 w 1095"/>
                <a:gd name="T5" fmla="*/ 416 h 1030"/>
                <a:gd name="T6" fmla="*/ 1034 w 1095"/>
                <a:gd name="T7" fmla="*/ 521 h 1030"/>
                <a:gd name="T8" fmla="*/ 993 w 1095"/>
                <a:gd name="T9" fmla="*/ 653 h 1030"/>
                <a:gd name="T10" fmla="*/ 997 w 1095"/>
                <a:gd name="T11" fmla="*/ 462 h 1030"/>
                <a:gd name="T12" fmla="*/ 445 w 1095"/>
                <a:gd name="T13" fmla="*/ 88 h 1030"/>
                <a:gd name="T14" fmla="*/ 440 w 1095"/>
                <a:gd name="T15" fmla="*/ 89 h 1030"/>
                <a:gd name="T16" fmla="*/ 325 w 1095"/>
                <a:gd name="T17" fmla="*/ 132 h 1030"/>
                <a:gd name="T18" fmla="*/ 432 w 1095"/>
                <a:gd name="T19" fmla="*/ 132 h 1030"/>
                <a:gd name="T20" fmla="*/ 455 w 1095"/>
                <a:gd name="T21" fmla="*/ 155 h 1030"/>
                <a:gd name="T22" fmla="*/ 432 w 1095"/>
                <a:gd name="T23" fmla="*/ 178 h 1030"/>
                <a:gd name="T24" fmla="*/ 260 w 1095"/>
                <a:gd name="T25" fmla="*/ 178 h 1030"/>
                <a:gd name="T26" fmla="*/ 153 w 1095"/>
                <a:gd name="T27" fmla="*/ 327 h 1030"/>
                <a:gd name="T28" fmla="*/ 128 w 1095"/>
                <a:gd name="T29" fmla="*/ 593 h 1030"/>
                <a:gd name="T30" fmla="*/ 455 w 1095"/>
                <a:gd name="T31" fmla="*/ 954 h 1030"/>
                <a:gd name="T32" fmla="*/ 182 w 1095"/>
                <a:gd name="T33" fmla="*/ 835 h 1030"/>
                <a:gd name="T34" fmla="*/ 0 w 1095"/>
                <a:gd name="T35" fmla="*/ 499 h 1030"/>
                <a:gd name="T36" fmla="*/ 185 w 1095"/>
                <a:gd name="T37" fmla="*/ 873 h 1030"/>
                <a:gd name="T38" fmla="*/ 745 w 1095"/>
                <a:gd name="T39" fmla="*/ 946 h 1030"/>
                <a:gd name="T40" fmla="*/ 1050 w 1095"/>
                <a:gd name="T41" fmla="*/ 413 h 1030"/>
                <a:gd name="T42" fmla="*/ 939 w 1095"/>
                <a:gd name="T43" fmla="*/ 790 h 1030"/>
                <a:gd name="T44" fmla="*/ 943 w 1095"/>
                <a:gd name="T45" fmla="*/ 783 h 1030"/>
                <a:gd name="T46" fmla="*/ 982 w 1095"/>
                <a:gd name="T47" fmla="*/ 721 h 1030"/>
                <a:gd name="T48" fmla="*/ 939 w 1095"/>
                <a:gd name="T49" fmla="*/ 79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95" h="1030">
                  <a:moveTo>
                    <a:pt x="1050" y="413"/>
                  </a:moveTo>
                  <a:cubicBezTo>
                    <a:pt x="1001" y="164"/>
                    <a:pt x="765" y="0"/>
                    <a:pt x="516" y="39"/>
                  </a:cubicBezTo>
                  <a:cubicBezTo>
                    <a:pt x="756" y="14"/>
                    <a:pt x="978" y="176"/>
                    <a:pt x="1025" y="416"/>
                  </a:cubicBezTo>
                  <a:cubicBezTo>
                    <a:pt x="1032" y="451"/>
                    <a:pt x="1035" y="486"/>
                    <a:pt x="1034" y="521"/>
                  </a:cubicBezTo>
                  <a:cubicBezTo>
                    <a:pt x="1026" y="566"/>
                    <a:pt x="1013" y="610"/>
                    <a:pt x="993" y="653"/>
                  </a:cubicBezTo>
                  <a:cubicBezTo>
                    <a:pt x="1007" y="592"/>
                    <a:pt x="1009" y="527"/>
                    <a:pt x="997" y="462"/>
                  </a:cubicBezTo>
                  <a:cubicBezTo>
                    <a:pt x="948" y="207"/>
                    <a:pt x="700" y="39"/>
                    <a:pt x="445" y="88"/>
                  </a:cubicBezTo>
                  <a:cubicBezTo>
                    <a:pt x="443" y="89"/>
                    <a:pt x="441" y="89"/>
                    <a:pt x="440" y="89"/>
                  </a:cubicBezTo>
                  <a:cubicBezTo>
                    <a:pt x="399" y="98"/>
                    <a:pt x="361" y="112"/>
                    <a:pt x="325" y="132"/>
                  </a:cubicBezTo>
                  <a:cubicBezTo>
                    <a:pt x="432" y="132"/>
                    <a:pt x="432" y="132"/>
                    <a:pt x="432" y="132"/>
                  </a:cubicBezTo>
                  <a:cubicBezTo>
                    <a:pt x="445" y="132"/>
                    <a:pt x="455" y="143"/>
                    <a:pt x="455" y="155"/>
                  </a:cubicBezTo>
                  <a:cubicBezTo>
                    <a:pt x="455" y="168"/>
                    <a:pt x="445" y="178"/>
                    <a:pt x="432" y="178"/>
                  </a:cubicBezTo>
                  <a:cubicBezTo>
                    <a:pt x="260" y="178"/>
                    <a:pt x="260" y="178"/>
                    <a:pt x="260" y="178"/>
                  </a:cubicBezTo>
                  <a:cubicBezTo>
                    <a:pt x="213" y="218"/>
                    <a:pt x="177" y="269"/>
                    <a:pt x="153" y="327"/>
                  </a:cubicBezTo>
                  <a:cubicBezTo>
                    <a:pt x="120" y="409"/>
                    <a:pt x="109" y="500"/>
                    <a:pt x="128" y="593"/>
                  </a:cubicBezTo>
                  <a:cubicBezTo>
                    <a:pt x="162" y="771"/>
                    <a:pt x="293" y="905"/>
                    <a:pt x="455" y="954"/>
                  </a:cubicBezTo>
                  <a:cubicBezTo>
                    <a:pt x="358" y="942"/>
                    <a:pt x="263" y="903"/>
                    <a:pt x="182" y="835"/>
                  </a:cubicBezTo>
                  <a:cubicBezTo>
                    <a:pt x="77" y="746"/>
                    <a:pt x="16" y="625"/>
                    <a:pt x="0" y="499"/>
                  </a:cubicBezTo>
                  <a:cubicBezTo>
                    <a:pt x="7" y="639"/>
                    <a:pt x="70" y="776"/>
                    <a:pt x="185" y="873"/>
                  </a:cubicBezTo>
                  <a:cubicBezTo>
                    <a:pt x="347" y="1009"/>
                    <a:pt x="566" y="1030"/>
                    <a:pt x="745" y="946"/>
                  </a:cubicBezTo>
                  <a:cubicBezTo>
                    <a:pt x="960" y="870"/>
                    <a:pt x="1095" y="643"/>
                    <a:pt x="1050" y="413"/>
                  </a:cubicBezTo>
                  <a:moveTo>
                    <a:pt x="939" y="790"/>
                  </a:moveTo>
                  <a:cubicBezTo>
                    <a:pt x="940" y="788"/>
                    <a:pt x="941" y="785"/>
                    <a:pt x="943" y="783"/>
                  </a:cubicBezTo>
                  <a:cubicBezTo>
                    <a:pt x="957" y="763"/>
                    <a:pt x="971" y="742"/>
                    <a:pt x="982" y="721"/>
                  </a:cubicBezTo>
                  <a:cubicBezTo>
                    <a:pt x="970" y="745"/>
                    <a:pt x="955" y="768"/>
                    <a:pt x="939" y="790"/>
                  </a:cubicBezTo>
                </a:path>
              </a:pathLst>
            </a:custGeom>
            <a:solidFill>
              <a:srgbClr val="F78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işḷïḍè">
              <a:extLst>
                <a:ext uri="{FF2B5EF4-FFF2-40B4-BE49-F238E27FC236}">
                  <a16:creationId xmlns:a16="http://schemas.microsoft.com/office/drawing/2014/main" id="{57E28025-B3B7-46DB-8370-2351CA9B3EE4}"/>
                </a:ext>
              </a:extLst>
            </p:cNvPr>
            <p:cNvSpPr/>
            <p:nvPr/>
          </p:nvSpPr>
          <p:spPr bwMode="auto">
            <a:xfrm>
              <a:off x="8109761" y="1967819"/>
              <a:ext cx="375220" cy="526282"/>
            </a:xfrm>
            <a:custGeom>
              <a:avLst/>
              <a:gdLst>
                <a:gd name="T0" fmla="*/ 45 w 74"/>
                <a:gd name="T1" fmla="*/ 23 h 104"/>
                <a:gd name="T2" fmla="*/ 45 w 74"/>
                <a:gd name="T3" fmla="*/ 23 h 104"/>
                <a:gd name="T4" fmla="*/ 45 w 74"/>
                <a:gd name="T5" fmla="*/ 23 h 104"/>
                <a:gd name="T6" fmla="*/ 44 w 74"/>
                <a:gd name="T7" fmla="*/ 23 h 104"/>
                <a:gd name="T8" fmla="*/ 44 w 74"/>
                <a:gd name="T9" fmla="*/ 23 h 104"/>
                <a:gd name="T10" fmla="*/ 44 w 74"/>
                <a:gd name="T11" fmla="*/ 23 h 104"/>
                <a:gd name="T12" fmla="*/ 0 w 74"/>
                <a:gd name="T13" fmla="*/ 4 h 104"/>
                <a:gd name="T14" fmla="*/ 0 w 74"/>
                <a:gd name="T15" fmla="*/ 4 h 104"/>
                <a:gd name="T16" fmla="*/ 74 w 74"/>
                <a:gd name="T17" fmla="*/ 104 h 104"/>
                <a:gd name="T18" fmla="*/ 74 w 74"/>
                <a:gd name="T19" fmla="*/ 104 h 104"/>
                <a:gd name="T20" fmla="*/ 0 w 74"/>
                <a:gd name="T21" fmla="*/ 4 h 104"/>
                <a:gd name="T22" fmla="*/ 23 w 74"/>
                <a:gd name="T23" fmla="*/ 0 h 104"/>
                <a:gd name="T24" fmla="*/ 44 w 74"/>
                <a:gd name="T25" fmla="*/ 22 h 104"/>
                <a:gd name="T26" fmla="*/ 23 w 74"/>
                <a:gd name="T27" fmla="*/ 0 h 104"/>
                <a:gd name="T28" fmla="*/ 23 w 74"/>
                <a:gd name="T2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104">
                  <a:moveTo>
                    <a:pt x="45" y="23"/>
                  </a:move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9" y="34"/>
                    <a:pt x="53" y="67"/>
                    <a:pt x="74" y="104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53" y="67"/>
                    <a:pt x="29" y="34"/>
                    <a:pt x="0" y="4"/>
                  </a:cubicBezTo>
                  <a:moveTo>
                    <a:pt x="23" y="0"/>
                  </a:moveTo>
                  <a:cubicBezTo>
                    <a:pt x="30" y="7"/>
                    <a:pt x="37" y="15"/>
                    <a:pt x="44" y="22"/>
                  </a:cubicBezTo>
                  <a:cubicBezTo>
                    <a:pt x="37" y="15"/>
                    <a:pt x="30" y="7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ïSlïḍé">
              <a:extLst>
                <a:ext uri="{FF2B5EF4-FFF2-40B4-BE49-F238E27FC236}">
                  <a16:creationId xmlns:a16="http://schemas.microsoft.com/office/drawing/2014/main" id="{514DF6BD-70F7-4D6F-8CF4-A5AB23FB09B2}"/>
                </a:ext>
              </a:extLst>
            </p:cNvPr>
            <p:cNvSpPr/>
            <p:nvPr/>
          </p:nvSpPr>
          <p:spPr bwMode="auto">
            <a:xfrm>
              <a:off x="8109761" y="1967819"/>
              <a:ext cx="436133" cy="526282"/>
            </a:xfrm>
            <a:custGeom>
              <a:avLst/>
              <a:gdLst>
                <a:gd name="T0" fmla="*/ 23 w 86"/>
                <a:gd name="T1" fmla="*/ 0 h 104"/>
                <a:gd name="T2" fmla="*/ 22 w 86"/>
                <a:gd name="T3" fmla="*/ 0 h 104"/>
                <a:gd name="T4" fmla="*/ 19 w 86"/>
                <a:gd name="T5" fmla="*/ 0 h 104"/>
                <a:gd name="T6" fmla="*/ 16 w 86"/>
                <a:gd name="T7" fmla="*/ 1 h 104"/>
                <a:gd name="T8" fmla="*/ 13 w 86"/>
                <a:gd name="T9" fmla="*/ 1 h 104"/>
                <a:gd name="T10" fmla="*/ 10 w 86"/>
                <a:gd name="T11" fmla="*/ 1 h 104"/>
                <a:gd name="T12" fmla="*/ 7 w 86"/>
                <a:gd name="T13" fmla="*/ 2 h 104"/>
                <a:gd name="T14" fmla="*/ 4 w 86"/>
                <a:gd name="T15" fmla="*/ 3 h 104"/>
                <a:gd name="T16" fmla="*/ 1 w 86"/>
                <a:gd name="T17" fmla="*/ 4 h 104"/>
                <a:gd name="T18" fmla="*/ 0 w 86"/>
                <a:gd name="T19" fmla="*/ 4 h 104"/>
                <a:gd name="T20" fmla="*/ 74 w 86"/>
                <a:gd name="T21" fmla="*/ 104 h 104"/>
                <a:gd name="T22" fmla="*/ 74 w 86"/>
                <a:gd name="T23" fmla="*/ 104 h 104"/>
                <a:gd name="T24" fmla="*/ 76 w 86"/>
                <a:gd name="T25" fmla="*/ 100 h 104"/>
                <a:gd name="T26" fmla="*/ 77 w 86"/>
                <a:gd name="T27" fmla="*/ 99 h 104"/>
                <a:gd name="T28" fmla="*/ 80 w 86"/>
                <a:gd name="T29" fmla="*/ 94 h 104"/>
                <a:gd name="T30" fmla="*/ 81 w 86"/>
                <a:gd name="T31" fmla="*/ 93 h 104"/>
                <a:gd name="T32" fmla="*/ 82 w 86"/>
                <a:gd name="T33" fmla="*/ 89 h 104"/>
                <a:gd name="T34" fmla="*/ 83 w 86"/>
                <a:gd name="T35" fmla="*/ 87 h 104"/>
                <a:gd name="T36" fmla="*/ 85 w 86"/>
                <a:gd name="T37" fmla="*/ 83 h 104"/>
                <a:gd name="T38" fmla="*/ 85 w 86"/>
                <a:gd name="T39" fmla="*/ 81 h 104"/>
                <a:gd name="T40" fmla="*/ 86 w 86"/>
                <a:gd name="T41" fmla="*/ 79 h 104"/>
                <a:gd name="T42" fmla="*/ 45 w 86"/>
                <a:gd name="T43" fmla="*/ 23 h 104"/>
                <a:gd name="T44" fmla="*/ 45 w 86"/>
                <a:gd name="T45" fmla="*/ 23 h 104"/>
                <a:gd name="T46" fmla="*/ 44 w 86"/>
                <a:gd name="T47" fmla="*/ 23 h 104"/>
                <a:gd name="T48" fmla="*/ 44 w 86"/>
                <a:gd name="T49" fmla="*/ 23 h 104"/>
                <a:gd name="T50" fmla="*/ 44 w 86"/>
                <a:gd name="T51" fmla="*/ 22 h 104"/>
                <a:gd name="T52" fmla="*/ 23 w 86"/>
                <a:gd name="T53" fmla="*/ 0 h 104"/>
                <a:gd name="T54" fmla="*/ 23 w 86"/>
                <a:gd name="T5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6" h="104">
                  <a:moveTo>
                    <a:pt x="23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18" y="0"/>
                    <a:pt x="17" y="0"/>
                    <a:pt x="16" y="1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2" y="1"/>
                    <a:pt x="11" y="1"/>
                    <a:pt x="10" y="1"/>
                  </a:cubicBezTo>
                  <a:cubicBezTo>
                    <a:pt x="9" y="2"/>
                    <a:pt x="8" y="2"/>
                    <a:pt x="7" y="2"/>
                  </a:cubicBezTo>
                  <a:cubicBezTo>
                    <a:pt x="6" y="3"/>
                    <a:pt x="5" y="3"/>
                    <a:pt x="4" y="3"/>
                  </a:cubicBezTo>
                  <a:cubicBezTo>
                    <a:pt x="3" y="3"/>
                    <a:pt x="2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9" y="34"/>
                    <a:pt x="53" y="67"/>
                    <a:pt x="74" y="104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75" y="103"/>
                    <a:pt x="76" y="101"/>
                    <a:pt x="76" y="100"/>
                  </a:cubicBezTo>
                  <a:cubicBezTo>
                    <a:pt x="77" y="100"/>
                    <a:pt x="77" y="99"/>
                    <a:pt x="77" y="99"/>
                  </a:cubicBezTo>
                  <a:cubicBezTo>
                    <a:pt x="78" y="98"/>
                    <a:pt x="79" y="96"/>
                    <a:pt x="80" y="94"/>
                  </a:cubicBezTo>
                  <a:cubicBezTo>
                    <a:pt x="80" y="94"/>
                    <a:pt x="81" y="93"/>
                    <a:pt x="81" y="93"/>
                  </a:cubicBezTo>
                  <a:cubicBezTo>
                    <a:pt x="81" y="92"/>
                    <a:pt x="82" y="90"/>
                    <a:pt x="82" y="89"/>
                  </a:cubicBezTo>
                  <a:cubicBezTo>
                    <a:pt x="83" y="89"/>
                    <a:pt x="83" y="88"/>
                    <a:pt x="83" y="87"/>
                  </a:cubicBezTo>
                  <a:cubicBezTo>
                    <a:pt x="84" y="86"/>
                    <a:pt x="84" y="85"/>
                    <a:pt x="85" y="83"/>
                  </a:cubicBezTo>
                  <a:cubicBezTo>
                    <a:pt x="85" y="82"/>
                    <a:pt x="85" y="81"/>
                    <a:pt x="85" y="81"/>
                  </a:cubicBezTo>
                  <a:cubicBezTo>
                    <a:pt x="85" y="80"/>
                    <a:pt x="86" y="80"/>
                    <a:pt x="86" y="79"/>
                  </a:cubicBezTo>
                  <a:cubicBezTo>
                    <a:pt x="73" y="60"/>
                    <a:pt x="60" y="41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2"/>
                    <a:pt x="44" y="22"/>
                  </a:cubicBezTo>
                  <a:cubicBezTo>
                    <a:pt x="37" y="15"/>
                    <a:pt x="30" y="7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CB6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ï$ľîḍê">
              <a:extLst>
                <a:ext uri="{FF2B5EF4-FFF2-40B4-BE49-F238E27FC236}">
                  <a16:creationId xmlns:a16="http://schemas.microsoft.com/office/drawing/2014/main" id="{305C1248-282E-40EC-A3C5-C378E35A3490}"/>
                </a:ext>
              </a:extLst>
            </p:cNvPr>
            <p:cNvSpPr/>
            <p:nvPr/>
          </p:nvSpPr>
          <p:spPr bwMode="auto">
            <a:xfrm>
              <a:off x="8502036" y="2520902"/>
              <a:ext cx="9746" cy="24365"/>
            </a:xfrm>
            <a:custGeom>
              <a:avLst/>
              <a:gdLst>
                <a:gd name="T0" fmla="*/ 0 w 2"/>
                <a:gd name="T1" fmla="*/ 0 h 5"/>
                <a:gd name="T2" fmla="*/ 0 w 2"/>
                <a:gd name="T3" fmla="*/ 0 h 5"/>
                <a:gd name="T4" fmla="*/ 2 w 2"/>
                <a:gd name="T5" fmla="*/ 5 h 5"/>
                <a:gd name="T6" fmla="*/ 2 w 2"/>
                <a:gd name="T7" fmla="*/ 5 h 5"/>
                <a:gd name="T8" fmla="*/ 0 w 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4"/>
                    <a:pt x="0" y="2"/>
                    <a:pt x="0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iṧľïḓè">
              <a:extLst>
                <a:ext uri="{FF2B5EF4-FFF2-40B4-BE49-F238E27FC236}">
                  <a16:creationId xmlns:a16="http://schemas.microsoft.com/office/drawing/2014/main" id="{9F032873-BAB5-4725-8F32-6E6B63BACA16}"/>
                </a:ext>
              </a:extLst>
            </p:cNvPr>
            <p:cNvSpPr/>
            <p:nvPr/>
          </p:nvSpPr>
          <p:spPr bwMode="auto">
            <a:xfrm>
              <a:off x="8502036" y="2474609"/>
              <a:ext cx="48730" cy="70659"/>
            </a:xfrm>
            <a:custGeom>
              <a:avLst/>
              <a:gdLst>
                <a:gd name="T0" fmla="*/ 10 w 10"/>
                <a:gd name="T1" fmla="*/ 0 h 14"/>
                <a:gd name="T2" fmla="*/ 0 w 10"/>
                <a:gd name="T3" fmla="*/ 9 h 14"/>
                <a:gd name="T4" fmla="*/ 2 w 10"/>
                <a:gd name="T5" fmla="*/ 14 h 14"/>
                <a:gd name="T6" fmla="*/ 10 w 10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4">
                  <a:moveTo>
                    <a:pt x="10" y="0"/>
                  </a:moveTo>
                  <a:cubicBezTo>
                    <a:pt x="10" y="0"/>
                    <a:pt x="6" y="5"/>
                    <a:pt x="0" y="9"/>
                  </a:cubicBezTo>
                  <a:cubicBezTo>
                    <a:pt x="0" y="11"/>
                    <a:pt x="1" y="13"/>
                    <a:pt x="2" y="14"/>
                  </a:cubicBezTo>
                  <a:cubicBezTo>
                    <a:pt x="7" y="7"/>
                    <a:pt x="10" y="0"/>
                    <a:pt x="10" y="0"/>
                  </a:cubicBezTo>
                </a:path>
              </a:pathLst>
            </a:custGeom>
            <a:solidFill>
              <a:srgbClr val="CB6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îŝľîďê">
              <a:extLst>
                <a:ext uri="{FF2B5EF4-FFF2-40B4-BE49-F238E27FC236}">
                  <a16:creationId xmlns:a16="http://schemas.microsoft.com/office/drawing/2014/main" id="{AEA9EECF-E508-4B54-8C70-1EA8EF2A8A74}"/>
                </a:ext>
              </a:extLst>
            </p:cNvPr>
            <p:cNvSpPr/>
            <p:nvPr/>
          </p:nvSpPr>
          <p:spPr bwMode="auto">
            <a:xfrm>
              <a:off x="3836154" y="4545628"/>
              <a:ext cx="4536748" cy="1366873"/>
            </a:xfrm>
            <a:custGeom>
              <a:avLst/>
              <a:gdLst>
                <a:gd name="T0" fmla="*/ 396 w 895"/>
                <a:gd name="T1" fmla="*/ 269 h 270"/>
                <a:gd name="T2" fmla="*/ 395 w 895"/>
                <a:gd name="T3" fmla="*/ 269 h 270"/>
                <a:gd name="T4" fmla="*/ 395 w 895"/>
                <a:gd name="T5" fmla="*/ 269 h 270"/>
                <a:gd name="T6" fmla="*/ 393 w 895"/>
                <a:gd name="T7" fmla="*/ 269 h 270"/>
                <a:gd name="T8" fmla="*/ 392 w 895"/>
                <a:gd name="T9" fmla="*/ 268 h 270"/>
                <a:gd name="T10" fmla="*/ 392 w 895"/>
                <a:gd name="T11" fmla="*/ 268 h 270"/>
                <a:gd name="T12" fmla="*/ 390 w 895"/>
                <a:gd name="T13" fmla="*/ 268 h 270"/>
                <a:gd name="T14" fmla="*/ 389 w 895"/>
                <a:gd name="T15" fmla="*/ 267 h 270"/>
                <a:gd name="T16" fmla="*/ 389 w 895"/>
                <a:gd name="T17" fmla="*/ 267 h 270"/>
                <a:gd name="T18" fmla="*/ 387 w 895"/>
                <a:gd name="T19" fmla="*/ 267 h 270"/>
                <a:gd name="T20" fmla="*/ 386 w 895"/>
                <a:gd name="T21" fmla="*/ 267 h 270"/>
                <a:gd name="T22" fmla="*/ 386 w 895"/>
                <a:gd name="T23" fmla="*/ 266 h 270"/>
                <a:gd name="T24" fmla="*/ 385 w 895"/>
                <a:gd name="T25" fmla="*/ 266 h 270"/>
                <a:gd name="T26" fmla="*/ 384 w 895"/>
                <a:gd name="T27" fmla="*/ 266 h 270"/>
                <a:gd name="T28" fmla="*/ 384 w 895"/>
                <a:gd name="T29" fmla="*/ 266 h 270"/>
                <a:gd name="T30" fmla="*/ 383 w 895"/>
                <a:gd name="T31" fmla="*/ 265 h 270"/>
                <a:gd name="T32" fmla="*/ 382 w 895"/>
                <a:gd name="T33" fmla="*/ 265 h 270"/>
                <a:gd name="T34" fmla="*/ 382 w 895"/>
                <a:gd name="T35" fmla="*/ 265 h 270"/>
                <a:gd name="T36" fmla="*/ 381 w 895"/>
                <a:gd name="T37" fmla="*/ 265 h 270"/>
                <a:gd name="T38" fmla="*/ 380 w 895"/>
                <a:gd name="T39" fmla="*/ 264 h 270"/>
                <a:gd name="T40" fmla="*/ 686 w 895"/>
                <a:gd name="T41" fmla="*/ 262 h 270"/>
                <a:gd name="T42" fmla="*/ 687 w 895"/>
                <a:gd name="T43" fmla="*/ 262 h 270"/>
                <a:gd name="T44" fmla="*/ 687 w 895"/>
                <a:gd name="T45" fmla="*/ 262 h 270"/>
                <a:gd name="T46" fmla="*/ 688 w 895"/>
                <a:gd name="T47" fmla="*/ 261 h 270"/>
                <a:gd name="T48" fmla="*/ 688 w 895"/>
                <a:gd name="T49" fmla="*/ 261 h 270"/>
                <a:gd name="T50" fmla="*/ 689 w 895"/>
                <a:gd name="T51" fmla="*/ 261 h 270"/>
                <a:gd name="T52" fmla="*/ 689 w 895"/>
                <a:gd name="T53" fmla="*/ 261 h 270"/>
                <a:gd name="T54" fmla="*/ 689 w 895"/>
                <a:gd name="T55" fmla="*/ 261 h 270"/>
                <a:gd name="T56" fmla="*/ 689 w 895"/>
                <a:gd name="T57" fmla="*/ 261 h 270"/>
                <a:gd name="T58" fmla="*/ 691 w 895"/>
                <a:gd name="T59" fmla="*/ 260 h 270"/>
                <a:gd name="T60" fmla="*/ 692 w 895"/>
                <a:gd name="T61" fmla="*/ 260 h 270"/>
                <a:gd name="T62" fmla="*/ 691 w 895"/>
                <a:gd name="T63" fmla="*/ 260 h 270"/>
                <a:gd name="T64" fmla="*/ 692 w 895"/>
                <a:gd name="T65" fmla="*/ 260 h 270"/>
                <a:gd name="T66" fmla="*/ 694 w 895"/>
                <a:gd name="T67" fmla="*/ 259 h 270"/>
                <a:gd name="T68" fmla="*/ 693 w 895"/>
                <a:gd name="T69" fmla="*/ 260 h 270"/>
                <a:gd name="T70" fmla="*/ 694 w 895"/>
                <a:gd name="T71" fmla="*/ 259 h 270"/>
                <a:gd name="T72" fmla="*/ 696 w 895"/>
                <a:gd name="T73" fmla="*/ 258 h 270"/>
                <a:gd name="T74" fmla="*/ 697 w 895"/>
                <a:gd name="T75" fmla="*/ 258 h 270"/>
                <a:gd name="T76" fmla="*/ 698 w 895"/>
                <a:gd name="T77" fmla="*/ 258 h 270"/>
                <a:gd name="T78" fmla="*/ 698 w 895"/>
                <a:gd name="T79" fmla="*/ 257 h 270"/>
                <a:gd name="T80" fmla="*/ 698 w 895"/>
                <a:gd name="T81" fmla="*/ 257 h 270"/>
                <a:gd name="T82" fmla="*/ 698 w 895"/>
                <a:gd name="T83" fmla="*/ 257 h 270"/>
                <a:gd name="T84" fmla="*/ 699 w 895"/>
                <a:gd name="T85" fmla="*/ 257 h 270"/>
                <a:gd name="T86" fmla="*/ 700 w 895"/>
                <a:gd name="T87" fmla="*/ 257 h 270"/>
                <a:gd name="T88" fmla="*/ 701 w 895"/>
                <a:gd name="T89" fmla="*/ 257 h 270"/>
                <a:gd name="T90" fmla="*/ 701 w 895"/>
                <a:gd name="T91" fmla="*/ 256 h 270"/>
                <a:gd name="T92" fmla="*/ 702 w 895"/>
                <a:gd name="T93" fmla="*/ 256 h 270"/>
                <a:gd name="T94" fmla="*/ 703 w 895"/>
                <a:gd name="T95" fmla="*/ 256 h 270"/>
                <a:gd name="T96" fmla="*/ 703 w 895"/>
                <a:gd name="T97" fmla="*/ 255 h 270"/>
                <a:gd name="T98" fmla="*/ 704 w 895"/>
                <a:gd name="T99" fmla="*/ 255 h 270"/>
                <a:gd name="T100" fmla="*/ 705 w 895"/>
                <a:gd name="T101" fmla="*/ 255 h 270"/>
                <a:gd name="T102" fmla="*/ 706 w 895"/>
                <a:gd name="T103" fmla="*/ 254 h 270"/>
                <a:gd name="T104" fmla="*/ 707 w 895"/>
                <a:gd name="T105" fmla="*/ 254 h 270"/>
                <a:gd name="T106" fmla="*/ 126 w 895"/>
                <a:gd name="T107" fmla="*/ 189 h 270"/>
                <a:gd name="T108" fmla="*/ 126 w 895"/>
                <a:gd name="T109" fmla="*/ 189 h 270"/>
                <a:gd name="T110" fmla="*/ 125 w 895"/>
                <a:gd name="T111" fmla="*/ 188 h 270"/>
                <a:gd name="T112" fmla="*/ 125 w 895"/>
                <a:gd name="T113" fmla="*/ 188 h 270"/>
                <a:gd name="T114" fmla="*/ 124 w 895"/>
                <a:gd name="T115" fmla="*/ 187 h 270"/>
                <a:gd name="T116" fmla="*/ 124 w 895"/>
                <a:gd name="T117" fmla="*/ 187 h 270"/>
                <a:gd name="T118" fmla="*/ 895 w 895"/>
                <a:gd name="T119" fmla="*/ 85 h 270"/>
                <a:gd name="T120" fmla="*/ 0 w 895"/>
                <a:gd name="T121" fmla="*/ 0 h 270"/>
                <a:gd name="T122" fmla="*/ 376 w 895"/>
                <a:gd name="T123" fmla="*/ 26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95" h="270">
                  <a:moveTo>
                    <a:pt x="396" y="269"/>
                  </a:moveTo>
                  <a:cubicBezTo>
                    <a:pt x="396" y="269"/>
                    <a:pt x="396" y="270"/>
                    <a:pt x="396" y="270"/>
                  </a:cubicBezTo>
                  <a:cubicBezTo>
                    <a:pt x="396" y="270"/>
                    <a:pt x="396" y="270"/>
                    <a:pt x="396" y="270"/>
                  </a:cubicBezTo>
                  <a:cubicBezTo>
                    <a:pt x="396" y="270"/>
                    <a:pt x="396" y="269"/>
                    <a:pt x="396" y="269"/>
                  </a:cubicBezTo>
                  <a:moveTo>
                    <a:pt x="395" y="269"/>
                  </a:moveTo>
                  <a:cubicBezTo>
                    <a:pt x="395" y="269"/>
                    <a:pt x="395" y="269"/>
                    <a:pt x="396" y="269"/>
                  </a:cubicBezTo>
                  <a:cubicBezTo>
                    <a:pt x="395" y="269"/>
                    <a:pt x="395" y="269"/>
                    <a:pt x="395" y="269"/>
                  </a:cubicBezTo>
                  <a:moveTo>
                    <a:pt x="395" y="269"/>
                  </a:moveTo>
                  <a:cubicBezTo>
                    <a:pt x="395" y="269"/>
                    <a:pt x="395" y="269"/>
                    <a:pt x="395" y="269"/>
                  </a:cubicBezTo>
                  <a:cubicBezTo>
                    <a:pt x="395" y="269"/>
                    <a:pt x="395" y="269"/>
                    <a:pt x="395" y="269"/>
                  </a:cubicBezTo>
                  <a:moveTo>
                    <a:pt x="394" y="269"/>
                  </a:moveTo>
                  <a:cubicBezTo>
                    <a:pt x="394" y="269"/>
                    <a:pt x="395" y="269"/>
                    <a:pt x="395" y="269"/>
                  </a:cubicBezTo>
                  <a:cubicBezTo>
                    <a:pt x="395" y="269"/>
                    <a:pt x="394" y="269"/>
                    <a:pt x="394" y="269"/>
                  </a:cubicBezTo>
                  <a:moveTo>
                    <a:pt x="393" y="269"/>
                  </a:moveTo>
                  <a:cubicBezTo>
                    <a:pt x="394" y="269"/>
                    <a:pt x="394" y="269"/>
                    <a:pt x="394" y="269"/>
                  </a:cubicBezTo>
                  <a:cubicBezTo>
                    <a:pt x="394" y="269"/>
                    <a:pt x="394" y="269"/>
                    <a:pt x="393" y="269"/>
                  </a:cubicBezTo>
                  <a:moveTo>
                    <a:pt x="393" y="269"/>
                  </a:moveTo>
                  <a:cubicBezTo>
                    <a:pt x="393" y="269"/>
                    <a:pt x="393" y="269"/>
                    <a:pt x="393" y="269"/>
                  </a:cubicBezTo>
                  <a:cubicBezTo>
                    <a:pt x="393" y="269"/>
                    <a:pt x="393" y="269"/>
                    <a:pt x="393" y="269"/>
                  </a:cubicBezTo>
                  <a:moveTo>
                    <a:pt x="392" y="268"/>
                  </a:moveTo>
                  <a:cubicBezTo>
                    <a:pt x="393" y="268"/>
                    <a:pt x="393" y="269"/>
                    <a:pt x="393" y="269"/>
                  </a:cubicBezTo>
                  <a:cubicBezTo>
                    <a:pt x="393" y="269"/>
                    <a:pt x="393" y="268"/>
                    <a:pt x="392" y="268"/>
                  </a:cubicBezTo>
                  <a:moveTo>
                    <a:pt x="391" y="268"/>
                  </a:moveTo>
                  <a:cubicBezTo>
                    <a:pt x="391" y="268"/>
                    <a:pt x="392" y="268"/>
                    <a:pt x="392" y="268"/>
                  </a:cubicBezTo>
                  <a:cubicBezTo>
                    <a:pt x="392" y="268"/>
                    <a:pt x="391" y="268"/>
                    <a:pt x="391" y="268"/>
                  </a:cubicBezTo>
                  <a:moveTo>
                    <a:pt x="390" y="268"/>
                  </a:moveTo>
                  <a:cubicBezTo>
                    <a:pt x="391" y="268"/>
                    <a:pt x="391" y="268"/>
                    <a:pt x="391" y="268"/>
                  </a:cubicBezTo>
                  <a:cubicBezTo>
                    <a:pt x="391" y="268"/>
                    <a:pt x="391" y="268"/>
                    <a:pt x="390" y="268"/>
                  </a:cubicBezTo>
                  <a:moveTo>
                    <a:pt x="389" y="267"/>
                  </a:moveTo>
                  <a:cubicBezTo>
                    <a:pt x="390" y="268"/>
                    <a:pt x="390" y="268"/>
                    <a:pt x="390" y="268"/>
                  </a:cubicBezTo>
                  <a:cubicBezTo>
                    <a:pt x="390" y="268"/>
                    <a:pt x="390" y="268"/>
                    <a:pt x="389" y="267"/>
                  </a:cubicBezTo>
                  <a:moveTo>
                    <a:pt x="389" y="267"/>
                  </a:moveTo>
                  <a:cubicBezTo>
                    <a:pt x="389" y="267"/>
                    <a:pt x="389" y="267"/>
                    <a:pt x="389" y="267"/>
                  </a:cubicBezTo>
                  <a:cubicBezTo>
                    <a:pt x="389" y="267"/>
                    <a:pt x="389" y="267"/>
                    <a:pt x="389" y="267"/>
                  </a:cubicBezTo>
                  <a:moveTo>
                    <a:pt x="388" y="267"/>
                  </a:moveTo>
                  <a:cubicBezTo>
                    <a:pt x="388" y="267"/>
                    <a:pt x="388" y="267"/>
                    <a:pt x="389" y="267"/>
                  </a:cubicBezTo>
                  <a:cubicBezTo>
                    <a:pt x="388" y="267"/>
                    <a:pt x="388" y="267"/>
                    <a:pt x="388" y="267"/>
                  </a:cubicBezTo>
                  <a:moveTo>
                    <a:pt x="387" y="267"/>
                  </a:moveTo>
                  <a:cubicBezTo>
                    <a:pt x="387" y="267"/>
                    <a:pt x="388" y="267"/>
                    <a:pt x="388" y="267"/>
                  </a:cubicBezTo>
                  <a:cubicBezTo>
                    <a:pt x="388" y="267"/>
                    <a:pt x="387" y="267"/>
                    <a:pt x="387" y="267"/>
                  </a:cubicBezTo>
                  <a:moveTo>
                    <a:pt x="387" y="267"/>
                  </a:moveTo>
                  <a:cubicBezTo>
                    <a:pt x="387" y="267"/>
                    <a:pt x="387" y="267"/>
                    <a:pt x="387" y="267"/>
                  </a:cubicBezTo>
                  <a:cubicBezTo>
                    <a:pt x="387" y="267"/>
                    <a:pt x="387" y="267"/>
                    <a:pt x="387" y="267"/>
                  </a:cubicBezTo>
                  <a:moveTo>
                    <a:pt x="386" y="267"/>
                  </a:moveTo>
                  <a:cubicBezTo>
                    <a:pt x="386" y="267"/>
                    <a:pt x="387" y="267"/>
                    <a:pt x="387" y="267"/>
                  </a:cubicBezTo>
                  <a:cubicBezTo>
                    <a:pt x="387" y="267"/>
                    <a:pt x="386" y="267"/>
                    <a:pt x="386" y="267"/>
                  </a:cubicBezTo>
                  <a:moveTo>
                    <a:pt x="386" y="266"/>
                  </a:moveTo>
                  <a:cubicBezTo>
                    <a:pt x="386" y="266"/>
                    <a:pt x="386" y="266"/>
                    <a:pt x="386" y="266"/>
                  </a:cubicBezTo>
                  <a:cubicBezTo>
                    <a:pt x="386" y="266"/>
                    <a:pt x="386" y="266"/>
                    <a:pt x="386" y="266"/>
                  </a:cubicBezTo>
                  <a:moveTo>
                    <a:pt x="385" y="266"/>
                  </a:moveTo>
                  <a:cubicBezTo>
                    <a:pt x="385" y="266"/>
                    <a:pt x="385" y="266"/>
                    <a:pt x="386" y="266"/>
                  </a:cubicBezTo>
                  <a:cubicBezTo>
                    <a:pt x="385" y="266"/>
                    <a:pt x="385" y="266"/>
                    <a:pt x="385" y="266"/>
                  </a:cubicBezTo>
                  <a:moveTo>
                    <a:pt x="384" y="266"/>
                  </a:moveTo>
                  <a:cubicBezTo>
                    <a:pt x="384" y="266"/>
                    <a:pt x="385" y="266"/>
                    <a:pt x="385" y="266"/>
                  </a:cubicBezTo>
                  <a:cubicBezTo>
                    <a:pt x="385" y="266"/>
                    <a:pt x="385" y="266"/>
                    <a:pt x="384" y="266"/>
                  </a:cubicBezTo>
                  <a:moveTo>
                    <a:pt x="384" y="266"/>
                  </a:moveTo>
                  <a:cubicBezTo>
                    <a:pt x="384" y="266"/>
                    <a:pt x="384" y="266"/>
                    <a:pt x="384" y="266"/>
                  </a:cubicBezTo>
                  <a:cubicBezTo>
                    <a:pt x="384" y="266"/>
                    <a:pt x="384" y="266"/>
                    <a:pt x="384" y="266"/>
                  </a:cubicBezTo>
                  <a:moveTo>
                    <a:pt x="383" y="266"/>
                  </a:moveTo>
                  <a:cubicBezTo>
                    <a:pt x="384" y="266"/>
                    <a:pt x="384" y="266"/>
                    <a:pt x="384" y="266"/>
                  </a:cubicBezTo>
                  <a:cubicBezTo>
                    <a:pt x="384" y="266"/>
                    <a:pt x="384" y="266"/>
                    <a:pt x="383" y="266"/>
                  </a:cubicBezTo>
                  <a:moveTo>
                    <a:pt x="383" y="265"/>
                  </a:moveTo>
                  <a:cubicBezTo>
                    <a:pt x="383" y="265"/>
                    <a:pt x="383" y="266"/>
                    <a:pt x="383" y="266"/>
                  </a:cubicBezTo>
                  <a:cubicBezTo>
                    <a:pt x="383" y="266"/>
                    <a:pt x="383" y="265"/>
                    <a:pt x="383" y="265"/>
                  </a:cubicBezTo>
                  <a:moveTo>
                    <a:pt x="383" y="265"/>
                  </a:moveTo>
                  <a:cubicBezTo>
                    <a:pt x="383" y="265"/>
                    <a:pt x="383" y="265"/>
                    <a:pt x="383" y="265"/>
                  </a:cubicBezTo>
                  <a:cubicBezTo>
                    <a:pt x="383" y="265"/>
                    <a:pt x="383" y="265"/>
                    <a:pt x="383" y="265"/>
                  </a:cubicBezTo>
                  <a:moveTo>
                    <a:pt x="382" y="265"/>
                  </a:moveTo>
                  <a:cubicBezTo>
                    <a:pt x="382" y="265"/>
                    <a:pt x="382" y="265"/>
                    <a:pt x="382" y="265"/>
                  </a:cubicBezTo>
                  <a:cubicBezTo>
                    <a:pt x="382" y="265"/>
                    <a:pt x="382" y="265"/>
                    <a:pt x="382" y="265"/>
                  </a:cubicBezTo>
                  <a:moveTo>
                    <a:pt x="382" y="265"/>
                  </a:moveTo>
                  <a:cubicBezTo>
                    <a:pt x="382" y="265"/>
                    <a:pt x="382" y="265"/>
                    <a:pt x="382" y="265"/>
                  </a:cubicBezTo>
                  <a:cubicBezTo>
                    <a:pt x="382" y="265"/>
                    <a:pt x="382" y="265"/>
                    <a:pt x="382" y="265"/>
                  </a:cubicBezTo>
                  <a:moveTo>
                    <a:pt x="381" y="265"/>
                  </a:moveTo>
                  <a:cubicBezTo>
                    <a:pt x="381" y="265"/>
                    <a:pt x="381" y="265"/>
                    <a:pt x="381" y="265"/>
                  </a:cubicBezTo>
                  <a:cubicBezTo>
                    <a:pt x="381" y="265"/>
                    <a:pt x="381" y="265"/>
                    <a:pt x="381" y="265"/>
                  </a:cubicBezTo>
                  <a:moveTo>
                    <a:pt x="380" y="265"/>
                  </a:moveTo>
                  <a:cubicBezTo>
                    <a:pt x="380" y="265"/>
                    <a:pt x="380" y="265"/>
                    <a:pt x="380" y="265"/>
                  </a:cubicBezTo>
                  <a:cubicBezTo>
                    <a:pt x="380" y="265"/>
                    <a:pt x="380" y="265"/>
                    <a:pt x="380" y="265"/>
                  </a:cubicBezTo>
                  <a:moveTo>
                    <a:pt x="380" y="264"/>
                  </a:moveTo>
                  <a:cubicBezTo>
                    <a:pt x="380" y="264"/>
                    <a:pt x="380" y="264"/>
                    <a:pt x="380" y="264"/>
                  </a:cubicBezTo>
                  <a:cubicBezTo>
                    <a:pt x="380" y="264"/>
                    <a:pt x="380" y="264"/>
                    <a:pt x="380" y="264"/>
                  </a:cubicBezTo>
                  <a:moveTo>
                    <a:pt x="686" y="262"/>
                  </a:moveTo>
                  <a:cubicBezTo>
                    <a:pt x="686" y="262"/>
                    <a:pt x="686" y="262"/>
                    <a:pt x="686" y="262"/>
                  </a:cubicBezTo>
                  <a:cubicBezTo>
                    <a:pt x="686" y="262"/>
                    <a:pt x="686" y="262"/>
                    <a:pt x="686" y="262"/>
                  </a:cubicBezTo>
                  <a:cubicBezTo>
                    <a:pt x="686" y="262"/>
                    <a:pt x="686" y="262"/>
                    <a:pt x="686" y="262"/>
                  </a:cubicBezTo>
                  <a:moveTo>
                    <a:pt x="687" y="262"/>
                  </a:moveTo>
                  <a:cubicBezTo>
                    <a:pt x="687" y="262"/>
                    <a:pt x="687" y="262"/>
                    <a:pt x="687" y="262"/>
                  </a:cubicBezTo>
                  <a:cubicBezTo>
                    <a:pt x="687" y="262"/>
                    <a:pt x="687" y="262"/>
                    <a:pt x="687" y="262"/>
                  </a:cubicBezTo>
                  <a:cubicBezTo>
                    <a:pt x="687" y="262"/>
                    <a:pt x="687" y="262"/>
                    <a:pt x="687" y="262"/>
                  </a:cubicBezTo>
                  <a:moveTo>
                    <a:pt x="688" y="261"/>
                  </a:moveTo>
                  <a:cubicBezTo>
                    <a:pt x="688" y="262"/>
                    <a:pt x="687" y="262"/>
                    <a:pt x="687" y="262"/>
                  </a:cubicBezTo>
                  <a:cubicBezTo>
                    <a:pt x="687" y="262"/>
                    <a:pt x="687" y="262"/>
                    <a:pt x="687" y="262"/>
                  </a:cubicBezTo>
                  <a:cubicBezTo>
                    <a:pt x="687" y="262"/>
                    <a:pt x="687" y="262"/>
                    <a:pt x="688" y="261"/>
                  </a:cubicBezTo>
                  <a:moveTo>
                    <a:pt x="688" y="261"/>
                  </a:moveTo>
                  <a:cubicBezTo>
                    <a:pt x="688" y="261"/>
                    <a:pt x="688" y="261"/>
                    <a:pt x="688" y="261"/>
                  </a:cubicBezTo>
                  <a:cubicBezTo>
                    <a:pt x="688" y="261"/>
                    <a:pt x="688" y="261"/>
                    <a:pt x="688" y="261"/>
                  </a:cubicBezTo>
                  <a:cubicBezTo>
                    <a:pt x="688" y="261"/>
                    <a:pt x="688" y="261"/>
                    <a:pt x="688" y="261"/>
                  </a:cubicBezTo>
                  <a:cubicBezTo>
                    <a:pt x="688" y="261"/>
                    <a:pt x="688" y="261"/>
                    <a:pt x="688" y="261"/>
                  </a:cubicBezTo>
                  <a:cubicBezTo>
                    <a:pt x="688" y="261"/>
                    <a:pt x="688" y="261"/>
                    <a:pt x="688" y="261"/>
                  </a:cubicBezTo>
                  <a:moveTo>
                    <a:pt x="689" y="261"/>
                  </a:move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8" y="261"/>
                  </a:cubicBezTo>
                  <a:cubicBezTo>
                    <a:pt x="689" y="261"/>
                    <a:pt x="689" y="261"/>
                    <a:pt x="689" y="261"/>
                  </a:cubicBezTo>
                  <a:moveTo>
                    <a:pt x="689" y="261"/>
                  </a:move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moveTo>
                    <a:pt x="689" y="261"/>
                  </a:move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moveTo>
                    <a:pt x="690" y="261"/>
                  </a:moveTo>
                  <a:cubicBezTo>
                    <a:pt x="690" y="261"/>
                    <a:pt x="690" y="261"/>
                    <a:pt x="690" y="261"/>
                  </a:cubicBezTo>
                  <a:cubicBezTo>
                    <a:pt x="690" y="261"/>
                    <a:pt x="690" y="261"/>
                    <a:pt x="690" y="261"/>
                  </a:cubicBezTo>
                  <a:cubicBezTo>
                    <a:pt x="690" y="261"/>
                    <a:pt x="690" y="261"/>
                    <a:pt x="689" y="261"/>
                  </a:cubicBezTo>
                  <a:cubicBezTo>
                    <a:pt x="689" y="261"/>
                    <a:pt x="689" y="261"/>
                    <a:pt x="689" y="261"/>
                  </a:cubicBezTo>
                  <a:cubicBezTo>
                    <a:pt x="690" y="261"/>
                    <a:pt x="690" y="261"/>
                    <a:pt x="690" y="261"/>
                  </a:cubicBezTo>
                  <a:moveTo>
                    <a:pt x="691" y="260"/>
                  </a:moveTo>
                  <a:cubicBezTo>
                    <a:pt x="691" y="260"/>
                    <a:pt x="691" y="260"/>
                    <a:pt x="691" y="260"/>
                  </a:cubicBezTo>
                  <a:cubicBezTo>
                    <a:pt x="691" y="260"/>
                    <a:pt x="691" y="260"/>
                    <a:pt x="690" y="260"/>
                  </a:cubicBezTo>
                  <a:cubicBezTo>
                    <a:pt x="690" y="260"/>
                    <a:pt x="690" y="260"/>
                    <a:pt x="690" y="260"/>
                  </a:cubicBezTo>
                  <a:cubicBezTo>
                    <a:pt x="690" y="260"/>
                    <a:pt x="691" y="260"/>
                    <a:pt x="691" y="260"/>
                  </a:cubicBezTo>
                  <a:moveTo>
                    <a:pt x="692" y="260"/>
                  </a:moveTo>
                  <a:cubicBezTo>
                    <a:pt x="692" y="260"/>
                    <a:pt x="692" y="260"/>
                    <a:pt x="692" y="260"/>
                  </a:cubicBezTo>
                  <a:cubicBezTo>
                    <a:pt x="692" y="260"/>
                    <a:pt x="692" y="260"/>
                    <a:pt x="692" y="260"/>
                  </a:cubicBezTo>
                  <a:cubicBezTo>
                    <a:pt x="692" y="260"/>
                    <a:pt x="691" y="260"/>
                    <a:pt x="691" y="260"/>
                  </a:cubicBezTo>
                  <a:cubicBezTo>
                    <a:pt x="691" y="260"/>
                    <a:pt x="691" y="260"/>
                    <a:pt x="691" y="260"/>
                  </a:cubicBezTo>
                  <a:cubicBezTo>
                    <a:pt x="691" y="260"/>
                    <a:pt x="691" y="260"/>
                    <a:pt x="691" y="260"/>
                  </a:cubicBezTo>
                  <a:cubicBezTo>
                    <a:pt x="691" y="260"/>
                    <a:pt x="692" y="260"/>
                    <a:pt x="692" y="260"/>
                  </a:cubicBezTo>
                  <a:moveTo>
                    <a:pt x="693" y="260"/>
                  </a:moveTo>
                  <a:cubicBezTo>
                    <a:pt x="693" y="260"/>
                    <a:pt x="693" y="260"/>
                    <a:pt x="692" y="260"/>
                  </a:cubicBezTo>
                  <a:cubicBezTo>
                    <a:pt x="692" y="260"/>
                    <a:pt x="692" y="260"/>
                    <a:pt x="692" y="260"/>
                  </a:cubicBezTo>
                  <a:cubicBezTo>
                    <a:pt x="692" y="260"/>
                    <a:pt x="692" y="260"/>
                    <a:pt x="692" y="260"/>
                  </a:cubicBezTo>
                  <a:cubicBezTo>
                    <a:pt x="692" y="260"/>
                    <a:pt x="693" y="260"/>
                    <a:pt x="693" y="260"/>
                  </a:cubicBezTo>
                  <a:moveTo>
                    <a:pt x="694" y="259"/>
                  </a:moveTo>
                  <a:cubicBezTo>
                    <a:pt x="694" y="259"/>
                    <a:pt x="694" y="259"/>
                    <a:pt x="694" y="259"/>
                  </a:cubicBezTo>
                  <a:cubicBezTo>
                    <a:pt x="694" y="259"/>
                    <a:pt x="693" y="259"/>
                    <a:pt x="693" y="259"/>
                  </a:cubicBezTo>
                  <a:cubicBezTo>
                    <a:pt x="693" y="259"/>
                    <a:pt x="693" y="259"/>
                    <a:pt x="693" y="259"/>
                  </a:cubicBezTo>
                  <a:cubicBezTo>
                    <a:pt x="693" y="260"/>
                    <a:pt x="693" y="260"/>
                    <a:pt x="693" y="260"/>
                  </a:cubicBezTo>
                  <a:cubicBezTo>
                    <a:pt x="693" y="260"/>
                    <a:pt x="693" y="260"/>
                    <a:pt x="693" y="260"/>
                  </a:cubicBezTo>
                  <a:cubicBezTo>
                    <a:pt x="693" y="259"/>
                    <a:pt x="694" y="259"/>
                    <a:pt x="694" y="259"/>
                  </a:cubicBezTo>
                  <a:moveTo>
                    <a:pt x="695" y="259"/>
                  </a:moveTo>
                  <a:cubicBezTo>
                    <a:pt x="694" y="259"/>
                    <a:pt x="694" y="259"/>
                    <a:pt x="694" y="259"/>
                  </a:cubicBezTo>
                  <a:cubicBezTo>
                    <a:pt x="694" y="259"/>
                    <a:pt x="694" y="259"/>
                    <a:pt x="695" y="259"/>
                  </a:cubicBezTo>
                  <a:moveTo>
                    <a:pt x="696" y="258"/>
                  </a:moveTo>
                  <a:cubicBezTo>
                    <a:pt x="695" y="259"/>
                    <a:pt x="695" y="259"/>
                    <a:pt x="695" y="259"/>
                  </a:cubicBezTo>
                  <a:cubicBezTo>
                    <a:pt x="695" y="259"/>
                    <a:pt x="695" y="259"/>
                    <a:pt x="696" y="258"/>
                  </a:cubicBezTo>
                  <a:moveTo>
                    <a:pt x="696" y="258"/>
                  </a:moveTo>
                  <a:cubicBezTo>
                    <a:pt x="696" y="258"/>
                    <a:pt x="696" y="258"/>
                    <a:pt x="696" y="258"/>
                  </a:cubicBezTo>
                  <a:cubicBezTo>
                    <a:pt x="696" y="258"/>
                    <a:pt x="696" y="258"/>
                    <a:pt x="696" y="258"/>
                  </a:cubicBezTo>
                  <a:moveTo>
                    <a:pt x="697" y="258"/>
                  </a:moveTo>
                  <a:cubicBezTo>
                    <a:pt x="697" y="258"/>
                    <a:pt x="697" y="258"/>
                    <a:pt x="697" y="258"/>
                  </a:cubicBezTo>
                  <a:cubicBezTo>
                    <a:pt x="697" y="258"/>
                    <a:pt x="697" y="258"/>
                    <a:pt x="697" y="258"/>
                  </a:cubicBezTo>
                  <a:moveTo>
                    <a:pt x="698" y="258"/>
                  </a:moveTo>
                  <a:cubicBezTo>
                    <a:pt x="698" y="258"/>
                    <a:pt x="698" y="258"/>
                    <a:pt x="698" y="258"/>
                  </a:cubicBezTo>
                  <a:cubicBezTo>
                    <a:pt x="698" y="258"/>
                    <a:pt x="698" y="258"/>
                    <a:pt x="698" y="258"/>
                  </a:cubicBezTo>
                  <a:cubicBezTo>
                    <a:pt x="697" y="258"/>
                    <a:pt x="697" y="258"/>
                    <a:pt x="697" y="258"/>
                  </a:cubicBezTo>
                  <a:cubicBezTo>
                    <a:pt x="697" y="258"/>
                    <a:pt x="697" y="258"/>
                    <a:pt x="698" y="258"/>
                  </a:cubicBezTo>
                  <a:moveTo>
                    <a:pt x="698" y="257"/>
                  </a:moveTo>
                  <a:cubicBezTo>
                    <a:pt x="698" y="257"/>
                    <a:pt x="698" y="258"/>
                    <a:pt x="698" y="258"/>
                  </a:cubicBezTo>
                  <a:cubicBezTo>
                    <a:pt x="698" y="258"/>
                    <a:pt x="698" y="258"/>
                    <a:pt x="698" y="258"/>
                  </a:cubicBezTo>
                  <a:cubicBezTo>
                    <a:pt x="698" y="258"/>
                    <a:pt x="698" y="258"/>
                    <a:pt x="698" y="258"/>
                  </a:cubicBezTo>
                  <a:cubicBezTo>
                    <a:pt x="698" y="258"/>
                    <a:pt x="698" y="258"/>
                    <a:pt x="698" y="257"/>
                  </a:cubicBezTo>
                  <a:moveTo>
                    <a:pt x="699" y="257"/>
                  </a:move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8" y="257"/>
                    <a:pt x="698" y="257"/>
                  </a:cubicBezTo>
                  <a:cubicBezTo>
                    <a:pt x="699" y="257"/>
                    <a:pt x="699" y="257"/>
                    <a:pt x="699" y="257"/>
                  </a:cubicBezTo>
                  <a:moveTo>
                    <a:pt x="700" y="257"/>
                  </a:move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9" y="257"/>
                    <a:pt x="699" y="257"/>
                  </a:cubicBezTo>
                  <a:cubicBezTo>
                    <a:pt x="699" y="257"/>
                    <a:pt x="699" y="257"/>
                    <a:pt x="700" y="257"/>
                  </a:cubicBezTo>
                  <a:moveTo>
                    <a:pt x="700" y="257"/>
                  </a:moveTo>
                  <a:cubicBezTo>
                    <a:pt x="700" y="257"/>
                    <a:pt x="700" y="257"/>
                    <a:pt x="700" y="257"/>
                  </a:cubicBezTo>
                  <a:cubicBezTo>
                    <a:pt x="700" y="257"/>
                    <a:pt x="700" y="257"/>
                    <a:pt x="700" y="257"/>
                  </a:cubicBezTo>
                  <a:cubicBezTo>
                    <a:pt x="700" y="257"/>
                    <a:pt x="700" y="257"/>
                    <a:pt x="700" y="257"/>
                  </a:cubicBezTo>
                  <a:cubicBezTo>
                    <a:pt x="700" y="257"/>
                    <a:pt x="700" y="257"/>
                    <a:pt x="700" y="257"/>
                  </a:cubicBezTo>
                  <a:moveTo>
                    <a:pt x="701" y="257"/>
                  </a:moveTo>
                  <a:cubicBezTo>
                    <a:pt x="701" y="257"/>
                    <a:pt x="700" y="257"/>
                    <a:pt x="700" y="257"/>
                  </a:cubicBezTo>
                  <a:cubicBezTo>
                    <a:pt x="700" y="257"/>
                    <a:pt x="701" y="257"/>
                    <a:pt x="701" y="257"/>
                  </a:cubicBezTo>
                  <a:moveTo>
                    <a:pt x="701" y="256"/>
                  </a:moveTo>
                  <a:cubicBezTo>
                    <a:pt x="701" y="256"/>
                    <a:pt x="701" y="256"/>
                    <a:pt x="701" y="256"/>
                  </a:cubicBezTo>
                  <a:cubicBezTo>
                    <a:pt x="701" y="256"/>
                    <a:pt x="701" y="256"/>
                    <a:pt x="701" y="256"/>
                  </a:cubicBezTo>
                  <a:moveTo>
                    <a:pt x="702" y="256"/>
                  </a:moveTo>
                  <a:cubicBezTo>
                    <a:pt x="702" y="256"/>
                    <a:pt x="702" y="256"/>
                    <a:pt x="702" y="256"/>
                  </a:cubicBezTo>
                  <a:cubicBezTo>
                    <a:pt x="702" y="256"/>
                    <a:pt x="702" y="256"/>
                    <a:pt x="702" y="256"/>
                  </a:cubicBezTo>
                  <a:moveTo>
                    <a:pt x="703" y="256"/>
                  </a:moveTo>
                  <a:cubicBezTo>
                    <a:pt x="702" y="256"/>
                    <a:pt x="702" y="256"/>
                    <a:pt x="702" y="256"/>
                  </a:cubicBezTo>
                  <a:cubicBezTo>
                    <a:pt x="702" y="256"/>
                    <a:pt x="702" y="256"/>
                    <a:pt x="703" y="256"/>
                  </a:cubicBezTo>
                  <a:moveTo>
                    <a:pt x="703" y="256"/>
                  </a:moveTo>
                  <a:cubicBezTo>
                    <a:pt x="703" y="256"/>
                    <a:pt x="703" y="256"/>
                    <a:pt x="703" y="256"/>
                  </a:cubicBezTo>
                  <a:cubicBezTo>
                    <a:pt x="703" y="256"/>
                    <a:pt x="703" y="256"/>
                    <a:pt x="703" y="256"/>
                  </a:cubicBezTo>
                  <a:moveTo>
                    <a:pt x="704" y="255"/>
                  </a:moveTo>
                  <a:cubicBezTo>
                    <a:pt x="704" y="255"/>
                    <a:pt x="704" y="255"/>
                    <a:pt x="703" y="255"/>
                  </a:cubicBezTo>
                  <a:cubicBezTo>
                    <a:pt x="704" y="255"/>
                    <a:pt x="704" y="255"/>
                    <a:pt x="704" y="255"/>
                  </a:cubicBezTo>
                  <a:moveTo>
                    <a:pt x="704" y="255"/>
                  </a:moveTo>
                  <a:cubicBezTo>
                    <a:pt x="704" y="255"/>
                    <a:pt x="704" y="255"/>
                    <a:pt x="704" y="255"/>
                  </a:cubicBezTo>
                  <a:cubicBezTo>
                    <a:pt x="704" y="255"/>
                    <a:pt x="704" y="255"/>
                    <a:pt x="704" y="255"/>
                  </a:cubicBezTo>
                  <a:moveTo>
                    <a:pt x="705" y="255"/>
                  </a:moveTo>
                  <a:cubicBezTo>
                    <a:pt x="705" y="255"/>
                    <a:pt x="705" y="255"/>
                    <a:pt x="705" y="255"/>
                  </a:cubicBezTo>
                  <a:cubicBezTo>
                    <a:pt x="705" y="255"/>
                    <a:pt x="705" y="255"/>
                    <a:pt x="705" y="255"/>
                  </a:cubicBezTo>
                  <a:moveTo>
                    <a:pt x="705" y="255"/>
                  </a:moveTo>
                  <a:cubicBezTo>
                    <a:pt x="705" y="255"/>
                    <a:pt x="705" y="255"/>
                    <a:pt x="705" y="255"/>
                  </a:cubicBezTo>
                  <a:cubicBezTo>
                    <a:pt x="705" y="255"/>
                    <a:pt x="705" y="255"/>
                    <a:pt x="705" y="255"/>
                  </a:cubicBezTo>
                  <a:moveTo>
                    <a:pt x="706" y="254"/>
                  </a:moveTo>
                  <a:cubicBezTo>
                    <a:pt x="706" y="254"/>
                    <a:pt x="706" y="254"/>
                    <a:pt x="706" y="254"/>
                  </a:cubicBezTo>
                  <a:cubicBezTo>
                    <a:pt x="706" y="254"/>
                    <a:pt x="706" y="254"/>
                    <a:pt x="706" y="254"/>
                  </a:cubicBezTo>
                  <a:moveTo>
                    <a:pt x="707" y="254"/>
                  </a:moveTo>
                  <a:cubicBezTo>
                    <a:pt x="707" y="254"/>
                    <a:pt x="707" y="254"/>
                    <a:pt x="707" y="254"/>
                  </a:cubicBezTo>
                  <a:cubicBezTo>
                    <a:pt x="707" y="254"/>
                    <a:pt x="707" y="254"/>
                    <a:pt x="707" y="254"/>
                  </a:cubicBezTo>
                  <a:moveTo>
                    <a:pt x="707" y="254"/>
                  </a:moveTo>
                  <a:cubicBezTo>
                    <a:pt x="707" y="254"/>
                    <a:pt x="707" y="254"/>
                    <a:pt x="707" y="254"/>
                  </a:cubicBezTo>
                  <a:cubicBezTo>
                    <a:pt x="707" y="254"/>
                    <a:pt x="707" y="254"/>
                    <a:pt x="707" y="254"/>
                  </a:cubicBezTo>
                  <a:moveTo>
                    <a:pt x="126" y="189"/>
                  </a:moveTo>
                  <a:cubicBezTo>
                    <a:pt x="126" y="189"/>
                    <a:pt x="126" y="189"/>
                    <a:pt x="126" y="189"/>
                  </a:cubicBezTo>
                  <a:cubicBezTo>
                    <a:pt x="126" y="189"/>
                    <a:pt x="126" y="189"/>
                    <a:pt x="126" y="189"/>
                  </a:cubicBezTo>
                  <a:moveTo>
                    <a:pt x="126" y="189"/>
                  </a:moveTo>
                  <a:cubicBezTo>
                    <a:pt x="126" y="189"/>
                    <a:pt x="126" y="189"/>
                    <a:pt x="126" y="189"/>
                  </a:cubicBezTo>
                  <a:cubicBezTo>
                    <a:pt x="126" y="189"/>
                    <a:pt x="126" y="189"/>
                    <a:pt x="126" y="189"/>
                  </a:cubicBezTo>
                  <a:moveTo>
                    <a:pt x="125" y="188"/>
                  </a:moveTo>
                  <a:cubicBezTo>
                    <a:pt x="125" y="188"/>
                    <a:pt x="125" y="188"/>
                    <a:pt x="125" y="188"/>
                  </a:cubicBezTo>
                  <a:cubicBezTo>
                    <a:pt x="125" y="188"/>
                    <a:pt x="125" y="188"/>
                    <a:pt x="125" y="188"/>
                  </a:cubicBezTo>
                  <a:moveTo>
                    <a:pt x="125" y="188"/>
                  </a:moveTo>
                  <a:cubicBezTo>
                    <a:pt x="125" y="188"/>
                    <a:pt x="125" y="188"/>
                    <a:pt x="125" y="188"/>
                  </a:cubicBezTo>
                  <a:cubicBezTo>
                    <a:pt x="125" y="188"/>
                    <a:pt x="125" y="188"/>
                    <a:pt x="125" y="188"/>
                  </a:cubicBezTo>
                  <a:moveTo>
                    <a:pt x="125" y="188"/>
                  </a:moveTo>
                  <a:cubicBezTo>
                    <a:pt x="125" y="188"/>
                    <a:pt x="125" y="188"/>
                    <a:pt x="125" y="188"/>
                  </a:cubicBezTo>
                  <a:cubicBezTo>
                    <a:pt x="125" y="188"/>
                    <a:pt x="125" y="188"/>
                    <a:pt x="125" y="188"/>
                  </a:cubicBezTo>
                  <a:moveTo>
                    <a:pt x="124" y="187"/>
                  </a:moveTo>
                  <a:cubicBezTo>
                    <a:pt x="124" y="187"/>
                    <a:pt x="124" y="187"/>
                    <a:pt x="124" y="187"/>
                  </a:cubicBezTo>
                  <a:cubicBezTo>
                    <a:pt x="124" y="187"/>
                    <a:pt x="124" y="187"/>
                    <a:pt x="124" y="187"/>
                  </a:cubicBezTo>
                  <a:moveTo>
                    <a:pt x="124" y="187"/>
                  </a:moveTo>
                  <a:cubicBezTo>
                    <a:pt x="124" y="187"/>
                    <a:pt x="124" y="187"/>
                    <a:pt x="124" y="187"/>
                  </a:cubicBezTo>
                  <a:cubicBezTo>
                    <a:pt x="124" y="187"/>
                    <a:pt x="124" y="187"/>
                    <a:pt x="124" y="187"/>
                  </a:cubicBezTo>
                  <a:moveTo>
                    <a:pt x="123" y="187"/>
                  </a:move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3" y="187"/>
                    <a:pt x="123" y="187"/>
                  </a:cubicBezTo>
                  <a:moveTo>
                    <a:pt x="895" y="85"/>
                  </a:moveTo>
                  <a:cubicBezTo>
                    <a:pt x="890" y="92"/>
                    <a:pt x="885" y="99"/>
                    <a:pt x="880" y="106"/>
                  </a:cubicBezTo>
                  <a:cubicBezTo>
                    <a:pt x="885" y="99"/>
                    <a:pt x="890" y="92"/>
                    <a:pt x="895" y="85"/>
                  </a:cubicBezTo>
                  <a:cubicBezTo>
                    <a:pt x="895" y="85"/>
                    <a:pt x="895" y="85"/>
                    <a:pt x="895" y="85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0" y="56"/>
                    <a:pt x="71" y="107"/>
                    <a:pt x="123" y="151"/>
                  </a:cubicBezTo>
                  <a:cubicBezTo>
                    <a:pt x="198" y="214"/>
                    <a:pt x="286" y="252"/>
                    <a:pt x="376" y="267"/>
                  </a:cubicBezTo>
                  <a:cubicBezTo>
                    <a:pt x="376" y="267"/>
                    <a:pt x="376" y="267"/>
                    <a:pt x="376" y="267"/>
                  </a:cubicBezTo>
                  <a:cubicBezTo>
                    <a:pt x="286" y="252"/>
                    <a:pt x="198" y="214"/>
                    <a:pt x="123" y="151"/>
                  </a:cubicBezTo>
                  <a:cubicBezTo>
                    <a:pt x="71" y="107"/>
                    <a:pt x="30" y="56"/>
                    <a:pt x="0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iṣ1idè">
              <a:extLst>
                <a:ext uri="{FF2B5EF4-FFF2-40B4-BE49-F238E27FC236}">
                  <a16:creationId xmlns:a16="http://schemas.microsoft.com/office/drawing/2014/main" id="{4D31AD0C-5997-497D-8E8D-C394F843950D}"/>
                </a:ext>
              </a:extLst>
            </p:cNvPr>
            <p:cNvSpPr/>
            <p:nvPr/>
          </p:nvSpPr>
          <p:spPr bwMode="auto">
            <a:xfrm>
              <a:off x="3760622" y="1987311"/>
              <a:ext cx="4695121" cy="4139601"/>
            </a:xfrm>
            <a:custGeom>
              <a:avLst/>
              <a:gdLst>
                <a:gd name="T0" fmla="*/ 702 w 926"/>
                <a:gd name="T1" fmla="*/ 767 h 817"/>
                <a:gd name="T2" fmla="*/ 703 w 926"/>
                <a:gd name="T3" fmla="*/ 766 h 817"/>
                <a:gd name="T4" fmla="*/ 703 w 926"/>
                <a:gd name="T5" fmla="*/ 766 h 817"/>
                <a:gd name="T6" fmla="*/ 704 w 926"/>
                <a:gd name="T7" fmla="*/ 766 h 817"/>
                <a:gd name="T8" fmla="*/ 705 w 926"/>
                <a:gd name="T9" fmla="*/ 765 h 817"/>
                <a:gd name="T10" fmla="*/ 706 w 926"/>
                <a:gd name="T11" fmla="*/ 765 h 817"/>
                <a:gd name="T12" fmla="*/ 707 w 926"/>
                <a:gd name="T13" fmla="*/ 765 h 817"/>
                <a:gd name="T14" fmla="*/ 707 w 926"/>
                <a:gd name="T15" fmla="*/ 765 h 817"/>
                <a:gd name="T16" fmla="*/ 708 w 926"/>
                <a:gd name="T17" fmla="*/ 765 h 817"/>
                <a:gd name="T18" fmla="*/ 708 w 926"/>
                <a:gd name="T19" fmla="*/ 764 h 817"/>
                <a:gd name="T20" fmla="*/ 710 w 926"/>
                <a:gd name="T21" fmla="*/ 764 h 817"/>
                <a:gd name="T22" fmla="*/ 712 w 926"/>
                <a:gd name="T23" fmla="*/ 763 h 817"/>
                <a:gd name="T24" fmla="*/ 713 w 926"/>
                <a:gd name="T25" fmla="*/ 763 h 817"/>
                <a:gd name="T26" fmla="*/ 713 w 926"/>
                <a:gd name="T27" fmla="*/ 763 h 817"/>
                <a:gd name="T28" fmla="*/ 714 w 926"/>
                <a:gd name="T29" fmla="*/ 762 h 817"/>
                <a:gd name="T30" fmla="*/ 714 w 926"/>
                <a:gd name="T31" fmla="*/ 762 h 817"/>
                <a:gd name="T32" fmla="*/ 715 w 926"/>
                <a:gd name="T33" fmla="*/ 762 h 817"/>
                <a:gd name="T34" fmla="*/ 716 w 926"/>
                <a:gd name="T35" fmla="*/ 761 h 817"/>
                <a:gd name="T36" fmla="*/ 718 w 926"/>
                <a:gd name="T37" fmla="*/ 761 h 817"/>
                <a:gd name="T38" fmla="*/ 719 w 926"/>
                <a:gd name="T39" fmla="*/ 760 h 817"/>
                <a:gd name="T40" fmla="*/ 721 w 926"/>
                <a:gd name="T41" fmla="*/ 759 h 817"/>
                <a:gd name="T42" fmla="*/ 722 w 926"/>
                <a:gd name="T43" fmla="*/ 759 h 817"/>
                <a:gd name="T44" fmla="*/ 725 w 926"/>
                <a:gd name="T45" fmla="*/ 758 h 817"/>
                <a:gd name="T46" fmla="*/ 726 w 926"/>
                <a:gd name="T47" fmla="*/ 757 h 817"/>
                <a:gd name="T48" fmla="*/ 727 w 926"/>
                <a:gd name="T49" fmla="*/ 757 h 817"/>
                <a:gd name="T50" fmla="*/ 729 w 926"/>
                <a:gd name="T51" fmla="*/ 756 h 817"/>
                <a:gd name="T52" fmla="*/ 729 w 926"/>
                <a:gd name="T53" fmla="*/ 756 h 817"/>
                <a:gd name="T54" fmla="*/ 730 w 926"/>
                <a:gd name="T55" fmla="*/ 756 h 817"/>
                <a:gd name="T56" fmla="*/ 731 w 926"/>
                <a:gd name="T57" fmla="*/ 755 h 817"/>
                <a:gd name="T58" fmla="*/ 732 w 926"/>
                <a:gd name="T59" fmla="*/ 755 h 817"/>
                <a:gd name="T60" fmla="*/ 139 w 926"/>
                <a:gd name="T61" fmla="*/ 692 h 817"/>
                <a:gd name="T62" fmla="*/ 140 w 926"/>
                <a:gd name="T63" fmla="*/ 693 h 817"/>
                <a:gd name="T64" fmla="*/ 141 w 926"/>
                <a:gd name="T65" fmla="*/ 694 h 817"/>
                <a:gd name="T66" fmla="*/ 478 w 926"/>
                <a:gd name="T67" fmla="*/ 817 h 817"/>
                <a:gd name="T68" fmla="*/ 478 w 926"/>
                <a:gd name="T69" fmla="*/ 817 h 817"/>
                <a:gd name="T70" fmla="*/ 194 w 926"/>
                <a:gd name="T71" fmla="*/ 505 h 817"/>
                <a:gd name="T72" fmla="*/ 395 w 926"/>
                <a:gd name="T73" fmla="*/ 770 h 817"/>
                <a:gd name="T74" fmla="*/ 397 w 926"/>
                <a:gd name="T75" fmla="*/ 770 h 817"/>
                <a:gd name="T76" fmla="*/ 398 w 926"/>
                <a:gd name="T77" fmla="*/ 771 h 817"/>
                <a:gd name="T78" fmla="*/ 399 w 926"/>
                <a:gd name="T79" fmla="*/ 771 h 817"/>
                <a:gd name="T80" fmla="*/ 401 w 926"/>
                <a:gd name="T81" fmla="*/ 771 h 817"/>
                <a:gd name="T82" fmla="*/ 402 w 926"/>
                <a:gd name="T83" fmla="*/ 772 h 817"/>
                <a:gd name="T84" fmla="*/ 404 w 926"/>
                <a:gd name="T85" fmla="*/ 772 h 817"/>
                <a:gd name="T86" fmla="*/ 406 w 926"/>
                <a:gd name="T87" fmla="*/ 773 h 817"/>
                <a:gd name="T88" fmla="*/ 408 w 926"/>
                <a:gd name="T89" fmla="*/ 774 h 817"/>
                <a:gd name="T90" fmla="*/ 410 w 926"/>
                <a:gd name="T91" fmla="*/ 774 h 817"/>
                <a:gd name="T92" fmla="*/ 411 w 926"/>
                <a:gd name="T93" fmla="*/ 775 h 817"/>
                <a:gd name="T94" fmla="*/ 194 w 926"/>
                <a:gd name="T95" fmla="*/ 505 h 817"/>
                <a:gd name="T96" fmla="*/ 587 w 926"/>
                <a:gd name="T97" fmla="*/ 102 h 817"/>
                <a:gd name="T98" fmla="*/ 588 w 926"/>
                <a:gd name="T99" fmla="*/ 110 h 817"/>
                <a:gd name="T100" fmla="*/ 590 w 926"/>
                <a:gd name="T101" fmla="*/ 116 h 817"/>
                <a:gd name="T102" fmla="*/ 592 w 926"/>
                <a:gd name="T103" fmla="*/ 122 h 817"/>
                <a:gd name="T104" fmla="*/ 594 w 926"/>
                <a:gd name="T105" fmla="*/ 125 h 817"/>
                <a:gd name="T106" fmla="*/ 596 w 926"/>
                <a:gd name="T107" fmla="*/ 128 h 817"/>
                <a:gd name="T108" fmla="*/ 596 w 926"/>
                <a:gd name="T109" fmla="*/ 129 h 817"/>
                <a:gd name="T110" fmla="*/ 926 w 926"/>
                <a:gd name="T111" fmla="*/ 206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26" h="817">
                  <a:moveTo>
                    <a:pt x="702" y="767"/>
                  </a:moveTo>
                  <a:cubicBezTo>
                    <a:pt x="702" y="767"/>
                    <a:pt x="702" y="767"/>
                    <a:pt x="702" y="767"/>
                  </a:cubicBezTo>
                  <a:cubicBezTo>
                    <a:pt x="702" y="767"/>
                    <a:pt x="702" y="767"/>
                    <a:pt x="702" y="767"/>
                  </a:cubicBezTo>
                  <a:cubicBezTo>
                    <a:pt x="702" y="767"/>
                    <a:pt x="702" y="767"/>
                    <a:pt x="702" y="767"/>
                  </a:cubicBezTo>
                  <a:moveTo>
                    <a:pt x="702" y="767"/>
                  </a:moveTo>
                  <a:cubicBezTo>
                    <a:pt x="702" y="767"/>
                    <a:pt x="702" y="767"/>
                    <a:pt x="702" y="767"/>
                  </a:cubicBezTo>
                  <a:cubicBezTo>
                    <a:pt x="702" y="767"/>
                    <a:pt x="702" y="767"/>
                    <a:pt x="702" y="767"/>
                  </a:cubicBezTo>
                  <a:cubicBezTo>
                    <a:pt x="702" y="767"/>
                    <a:pt x="702" y="767"/>
                    <a:pt x="702" y="767"/>
                  </a:cubicBezTo>
                  <a:moveTo>
                    <a:pt x="703" y="766"/>
                  </a:moveTo>
                  <a:cubicBezTo>
                    <a:pt x="703" y="766"/>
                    <a:pt x="703" y="766"/>
                    <a:pt x="703" y="766"/>
                  </a:cubicBezTo>
                  <a:cubicBezTo>
                    <a:pt x="703" y="766"/>
                    <a:pt x="703" y="766"/>
                    <a:pt x="703" y="766"/>
                  </a:cubicBezTo>
                  <a:moveTo>
                    <a:pt x="704" y="766"/>
                  </a:moveTo>
                  <a:cubicBezTo>
                    <a:pt x="704" y="766"/>
                    <a:pt x="703" y="766"/>
                    <a:pt x="703" y="766"/>
                  </a:cubicBezTo>
                  <a:cubicBezTo>
                    <a:pt x="703" y="766"/>
                    <a:pt x="703" y="766"/>
                    <a:pt x="703" y="766"/>
                  </a:cubicBezTo>
                  <a:cubicBezTo>
                    <a:pt x="703" y="766"/>
                    <a:pt x="703" y="766"/>
                    <a:pt x="703" y="766"/>
                  </a:cubicBezTo>
                  <a:cubicBezTo>
                    <a:pt x="704" y="766"/>
                    <a:pt x="704" y="766"/>
                    <a:pt x="704" y="766"/>
                  </a:cubicBezTo>
                  <a:moveTo>
                    <a:pt x="704" y="766"/>
                  </a:moveTo>
                  <a:cubicBezTo>
                    <a:pt x="704" y="766"/>
                    <a:pt x="704" y="766"/>
                    <a:pt x="704" y="766"/>
                  </a:cubicBezTo>
                  <a:cubicBezTo>
                    <a:pt x="704" y="766"/>
                    <a:pt x="704" y="766"/>
                    <a:pt x="704" y="766"/>
                  </a:cubicBezTo>
                  <a:cubicBezTo>
                    <a:pt x="704" y="766"/>
                    <a:pt x="704" y="766"/>
                    <a:pt x="704" y="766"/>
                  </a:cubicBezTo>
                  <a:cubicBezTo>
                    <a:pt x="704" y="766"/>
                    <a:pt x="704" y="766"/>
                    <a:pt x="704" y="766"/>
                  </a:cubicBezTo>
                  <a:moveTo>
                    <a:pt x="705" y="766"/>
                  </a:moveTo>
                  <a:cubicBezTo>
                    <a:pt x="705" y="766"/>
                    <a:pt x="705" y="766"/>
                    <a:pt x="704" y="766"/>
                  </a:cubicBezTo>
                  <a:cubicBezTo>
                    <a:pt x="705" y="766"/>
                    <a:pt x="705" y="766"/>
                    <a:pt x="705" y="766"/>
                  </a:cubicBezTo>
                  <a:moveTo>
                    <a:pt x="705" y="765"/>
                  </a:moveTo>
                  <a:cubicBezTo>
                    <a:pt x="705" y="765"/>
                    <a:pt x="705" y="766"/>
                    <a:pt x="705" y="766"/>
                  </a:cubicBezTo>
                  <a:cubicBezTo>
                    <a:pt x="705" y="766"/>
                    <a:pt x="705" y="766"/>
                    <a:pt x="705" y="766"/>
                  </a:cubicBezTo>
                  <a:cubicBezTo>
                    <a:pt x="705" y="766"/>
                    <a:pt x="705" y="765"/>
                    <a:pt x="705" y="765"/>
                  </a:cubicBezTo>
                  <a:cubicBezTo>
                    <a:pt x="705" y="765"/>
                    <a:pt x="705" y="765"/>
                    <a:pt x="705" y="765"/>
                  </a:cubicBezTo>
                  <a:moveTo>
                    <a:pt x="706" y="765"/>
                  </a:moveTo>
                  <a:cubicBezTo>
                    <a:pt x="706" y="765"/>
                    <a:pt x="706" y="765"/>
                    <a:pt x="706" y="765"/>
                  </a:cubicBezTo>
                  <a:cubicBezTo>
                    <a:pt x="706" y="765"/>
                    <a:pt x="706" y="765"/>
                    <a:pt x="706" y="765"/>
                  </a:cubicBezTo>
                  <a:cubicBezTo>
                    <a:pt x="706" y="765"/>
                    <a:pt x="706" y="765"/>
                    <a:pt x="706" y="765"/>
                  </a:cubicBezTo>
                  <a:cubicBezTo>
                    <a:pt x="706" y="765"/>
                    <a:pt x="706" y="765"/>
                    <a:pt x="706" y="765"/>
                  </a:cubicBezTo>
                  <a:moveTo>
                    <a:pt x="707" y="765"/>
                  </a:moveTo>
                  <a:cubicBezTo>
                    <a:pt x="707" y="765"/>
                    <a:pt x="706" y="765"/>
                    <a:pt x="706" y="765"/>
                  </a:cubicBezTo>
                  <a:cubicBezTo>
                    <a:pt x="706" y="765"/>
                    <a:pt x="707" y="765"/>
                    <a:pt x="707" y="765"/>
                  </a:cubicBezTo>
                  <a:moveTo>
                    <a:pt x="707" y="765"/>
                  </a:move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07" y="765"/>
                    <a:pt x="707" y="765"/>
                  </a:cubicBezTo>
                  <a:moveTo>
                    <a:pt x="708" y="765"/>
                  </a:moveTo>
                  <a:cubicBezTo>
                    <a:pt x="708" y="765"/>
                    <a:pt x="708" y="765"/>
                    <a:pt x="707" y="765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5"/>
                    <a:pt x="708" y="765"/>
                    <a:pt x="708" y="765"/>
                  </a:cubicBezTo>
                  <a:moveTo>
                    <a:pt x="708" y="764"/>
                  </a:moveTo>
                  <a:cubicBezTo>
                    <a:pt x="708" y="764"/>
                    <a:pt x="708" y="764"/>
                    <a:pt x="708" y="764"/>
                  </a:cubicBezTo>
                  <a:cubicBezTo>
                    <a:pt x="708" y="764"/>
                    <a:pt x="708" y="764"/>
                    <a:pt x="708" y="764"/>
                  </a:cubicBezTo>
                  <a:moveTo>
                    <a:pt x="713" y="763"/>
                  </a:moveTo>
                  <a:cubicBezTo>
                    <a:pt x="711" y="763"/>
                    <a:pt x="710" y="764"/>
                    <a:pt x="709" y="764"/>
                  </a:cubicBezTo>
                  <a:cubicBezTo>
                    <a:pt x="709" y="764"/>
                    <a:pt x="709" y="764"/>
                    <a:pt x="709" y="764"/>
                  </a:cubicBezTo>
                  <a:cubicBezTo>
                    <a:pt x="709" y="764"/>
                    <a:pt x="709" y="764"/>
                    <a:pt x="709" y="764"/>
                  </a:cubicBezTo>
                  <a:cubicBezTo>
                    <a:pt x="709" y="764"/>
                    <a:pt x="709" y="764"/>
                    <a:pt x="710" y="764"/>
                  </a:cubicBezTo>
                  <a:cubicBezTo>
                    <a:pt x="710" y="764"/>
                    <a:pt x="710" y="764"/>
                    <a:pt x="710" y="764"/>
                  </a:cubicBezTo>
                  <a:cubicBezTo>
                    <a:pt x="710" y="764"/>
                    <a:pt x="710" y="764"/>
                    <a:pt x="711" y="763"/>
                  </a:cubicBezTo>
                  <a:cubicBezTo>
                    <a:pt x="711" y="763"/>
                    <a:pt x="711" y="763"/>
                    <a:pt x="711" y="763"/>
                  </a:cubicBezTo>
                  <a:cubicBezTo>
                    <a:pt x="711" y="763"/>
                    <a:pt x="711" y="763"/>
                    <a:pt x="711" y="763"/>
                  </a:cubicBezTo>
                  <a:cubicBezTo>
                    <a:pt x="711" y="763"/>
                    <a:pt x="711" y="763"/>
                    <a:pt x="712" y="763"/>
                  </a:cubicBezTo>
                  <a:cubicBezTo>
                    <a:pt x="712" y="763"/>
                    <a:pt x="712" y="763"/>
                    <a:pt x="712" y="763"/>
                  </a:cubicBezTo>
                  <a:cubicBezTo>
                    <a:pt x="712" y="763"/>
                    <a:pt x="712" y="763"/>
                    <a:pt x="712" y="763"/>
                  </a:cubicBezTo>
                  <a:cubicBezTo>
                    <a:pt x="712" y="763"/>
                    <a:pt x="712" y="763"/>
                    <a:pt x="713" y="763"/>
                  </a:cubicBezTo>
                  <a:moveTo>
                    <a:pt x="713" y="763"/>
                  </a:moveTo>
                  <a:cubicBezTo>
                    <a:pt x="713" y="763"/>
                    <a:pt x="713" y="763"/>
                    <a:pt x="713" y="763"/>
                  </a:cubicBezTo>
                  <a:cubicBezTo>
                    <a:pt x="713" y="763"/>
                    <a:pt x="713" y="763"/>
                    <a:pt x="713" y="763"/>
                  </a:cubicBezTo>
                  <a:cubicBezTo>
                    <a:pt x="713" y="763"/>
                    <a:pt x="713" y="763"/>
                    <a:pt x="713" y="763"/>
                  </a:cubicBezTo>
                  <a:cubicBezTo>
                    <a:pt x="713" y="763"/>
                    <a:pt x="713" y="763"/>
                    <a:pt x="713" y="763"/>
                  </a:cubicBezTo>
                  <a:moveTo>
                    <a:pt x="714" y="762"/>
                  </a:moveTo>
                  <a:cubicBezTo>
                    <a:pt x="714" y="762"/>
                    <a:pt x="713" y="762"/>
                    <a:pt x="713" y="763"/>
                  </a:cubicBezTo>
                  <a:cubicBezTo>
                    <a:pt x="713" y="763"/>
                    <a:pt x="713" y="762"/>
                    <a:pt x="713" y="762"/>
                  </a:cubicBezTo>
                  <a:cubicBezTo>
                    <a:pt x="713" y="762"/>
                    <a:pt x="713" y="762"/>
                    <a:pt x="713" y="762"/>
                  </a:cubicBezTo>
                  <a:cubicBezTo>
                    <a:pt x="713" y="762"/>
                    <a:pt x="714" y="762"/>
                    <a:pt x="714" y="762"/>
                  </a:cubicBezTo>
                  <a:moveTo>
                    <a:pt x="714" y="762"/>
                  </a:moveTo>
                  <a:cubicBezTo>
                    <a:pt x="714" y="762"/>
                    <a:pt x="714" y="762"/>
                    <a:pt x="714" y="762"/>
                  </a:cubicBezTo>
                  <a:cubicBezTo>
                    <a:pt x="714" y="762"/>
                    <a:pt x="714" y="762"/>
                    <a:pt x="714" y="762"/>
                  </a:cubicBezTo>
                  <a:cubicBezTo>
                    <a:pt x="714" y="762"/>
                    <a:pt x="714" y="762"/>
                    <a:pt x="714" y="762"/>
                  </a:cubicBezTo>
                  <a:cubicBezTo>
                    <a:pt x="714" y="762"/>
                    <a:pt x="714" y="762"/>
                    <a:pt x="714" y="762"/>
                  </a:cubicBezTo>
                  <a:moveTo>
                    <a:pt x="715" y="762"/>
                  </a:moveTo>
                  <a:cubicBezTo>
                    <a:pt x="715" y="762"/>
                    <a:pt x="714" y="762"/>
                    <a:pt x="714" y="762"/>
                  </a:cubicBezTo>
                  <a:cubicBezTo>
                    <a:pt x="714" y="762"/>
                    <a:pt x="714" y="762"/>
                    <a:pt x="715" y="762"/>
                  </a:cubicBezTo>
                  <a:cubicBezTo>
                    <a:pt x="715" y="762"/>
                    <a:pt x="715" y="762"/>
                    <a:pt x="715" y="762"/>
                  </a:cubicBezTo>
                  <a:cubicBezTo>
                    <a:pt x="715" y="762"/>
                    <a:pt x="715" y="762"/>
                    <a:pt x="715" y="762"/>
                  </a:cubicBezTo>
                  <a:moveTo>
                    <a:pt x="724" y="758"/>
                  </a:moveTo>
                  <a:cubicBezTo>
                    <a:pt x="721" y="759"/>
                    <a:pt x="718" y="761"/>
                    <a:pt x="715" y="762"/>
                  </a:cubicBezTo>
                  <a:cubicBezTo>
                    <a:pt x="715" y="762"/>
                    <a:pt x="715" y="762"/>
                    <a:pt x="715" y="762"/>
                  </a:cubicBezTo>
                  <a:cubicBezTo>
                    <a:pt x="715" y="762"/>
                    <a:pt x="715" y="762"/>
                    <a:pt x="715" y="762"/>
                  </a:cubicBezTo>
                  <a:cubicBezTo>
                    <a:pt x="715" y="762"/>
                    <a:pt x="716" y="762"/>
                    <a:pt x="716" y="762"/>
                  </a:cubicBezTo>
                  <a:cubicBezTo>
                    <a:pt x="716" y="761"/>
                    <a:pt x="716" y="761"/>
                    <a:pt x="716" y="761"/>
                  </a:cubicBezTo>
                  <a:cubicBezTo>
                    <a:pt x="716" y="761"/>
                    <a:pt x="716" y="761"/>
                    <a:pt x="716" y="761"/>
                  </a:cubicBezTo>
                  <a:cubicBezTo>
                    <a:pt x="716" y="761"/>
                    <a:pt x="716" y="761"/>
                    <a:pt x="717" y="761"/>
                  </a:cubicBezTo>
                  <a:cubicBezTo>
                    <a:pt x="717" y="761"/>
                    <a:pt x="717" y="761"/>
                    <a:pt x="717" y="761"/>
                  </a:cubicBezTo>
                  <a:cubicBezTo>
                    <a:pt x="717" y="761"/>
                    <a:pt x="717" y="761"/>
                    <a:pt x="717" y="761"/>
                  </a:cubicBezTo>
                  <a:cubicBezTo>
                    <a:pt x="717" y="761"/>
                    <a:pt x="717" y="761"/>
                    <a:pt x="718" y="761"/>
                  </a:cubicBezTo>
                  <a:cubicBezTo>
                    <a:pt x="718" y="761"/>
                    <a:pt x="718" y="761"/>
                    <a:pt x="718" y="761"/>
                  </a:cubicBezTo>
                  <a:cubicBezTo>
                    <a:pt x="718" y="761"/>
                    <a:pt x="718" y="761"/>
                    <a:pt x="718" y="761"/>
                  </a:cubicBezTo>
                  <a:cubicBezTo>
                    <a:pt x="718" y="761"/>
                    <a:pt x="718" y="760"/>
                    <a:pt x="718" y="760"/>
                  </a:cubicBezTo>
                  <a:cubicBezTo>
                    <a:pt x="719" y="760"/>
                    <a:pt x="719" y="760"/>
                    <a:pt x="719" y="760"/>
                  </a:cubicBezTo>
                  <a:cubicBezTo>
                    <a:pt x="719" y="760"/>
                    <a:pt x="719" y="760"/>
                    <a:pt x="719" y="760"/>
                  </a:cubicBezTo>
                  <a:cubicBezTo>
                    <a:pt x="719" y="760"/>
                    <a:pt x="719" y="760"/>
                    <a:pt x="719" y="760"/>
                  </a:cubicBezTo>
                  <a:cubicBezTo>
                    <a:pt x="720" y="760"/>
                    <a:pt x="720" y="760"/>
                    <a:pt x="720" y="760"/>
                  </a:cubicBezTo>
                  <a:cubicBezTo>
                    <a:pt x="720" y="760"/>
                    <a:pt x="720" y="760"/>
                    <a:pt x="720" y="760"/>
                  </a:cubicBezTo>
                  <a:cubicBezTo>
                    <a:pt x="720" y="760"/>
                    <a:pt x="720" y="760"/>
                    <a:pt x="720" y="760"/>
                  </a:cubicBezTo>
                  <a:cubicBezTo>
                    <a:pt x="720" y="760"/>
                    <a:pt x="720" y="760"/>
                    <a:pt x="720" y="760"/>
                  </a:cubicBezTo>
                  <a:cubicBezTo>
                    <a:pt x="721" y="760"/>
                    <a:pt x="721" y="759"/>
                    <a:pt x="721" y="759"/>
                  </a:cubicBezTo>
                  <a:cubicBezTo>
                    <a:pt x="721" y="759"/>
                    <a:pt x="721" y="759"/>
                    <a:pt x="721" y="759"/>
                  </a:cubicBezTo>
                  <a:cubicBezTo>
                    <a:pt x="721" y="759"/>
                    <a:pt x="722" y="759"/>
                    <a:pt x="722" y="759"/>
                  </a:cubicBezTo>
                  <a:cubicBezTo>
                    <a:pt x="722" y="759"/>
                    <a:pt x="722" y="759"/>
                    <a:pt x="722" y="759"/>
                  </a:cubicBezTo>
                  <a:cubicBezTo>
                    <a:pt x="722" y="759"/>
                    <a:pt x="722" y="759"/>
                    <a:pt x="722" y="759"/>
                  </a:cubicBezTo>
                  <a:cubicBezTo>
                    <a:pt x="722" y="759"/>
                    <a:pt x="722" y="759"/>
                    <a:pt x="722" y="759"/>
                  </a:cubicBezTo>
                  <a:cubicBezTo>
                    <a:pt x="723" y="759"/>
                    <a:pt x="723" y="758"/>
                    <a:pt x="724" y="758"/>
                  </a:cubicBezTo>
                  <a:moveTo>
                    <a:pt x="725" y="758"/>
                  </a:moveTo>
                  <a:cubicBezTo>
                    <a:pt x="724" y="758"/>
                    <a:pt x="724" y="758"/>
                    <a:pt x="724" y="758"/>
                  </a:cubicBezTo>
                  <a:cubicBezTo>
                    <a:pt x="724" y="758"/>
                    <a:pt x="724" y="758"/>
                    <a:pt x="725" y="758"/>
                  </a:cubicBezTo>
                  <a:moveTo>
                    <a:pt x="725" y="758"/>
                  </a:moveTo>
                  <a:cubicBezTo>
                    <a:pt x="725" y="758"/>
                    <a:pt x="725" y="758"/>
                    <a:pt x="725" y="758"/>
                  </a:cubicBezTo>
                  <a:cubicBezTo>
                    <a:pt x="725" y="758"/>
                    <a:pt x="725" y="758"/>
                    <a:pt x="725" y="758"/>
                  </a:cubicBezTo>
                  <a:moveTo>
                    <a:pt x="726" y="757"/>
                  </a:moveTo>
                  <a:cubicBezTo>
                    <a:pt x="726" y="757"/>
                    <a:pt x="726" y="757"/>
                    <a:pt x="725" y="758"/>
                  </a:cubicBezTo>
                  <a:cubicBezTo>
                    <a:pt x="726" y="757"/>
                    <a:pt x="726" y="757"/>
                    <a:pt x="726" y="757"/>
                  </a:cubicBezTo>
                  <a:moveTo>
                    <a:pt x="727" y="757"/>
                  </a:moveTo>
                  <a:cubicBezTo>
                    <a:pt x="727" y="757"/>
                    <a:pt x="727" y="757"/>
                    <a:pt x="726" y="757"/>
                  </a:cubicBezTo>
                  <a:cubicBezTo>
                    <a:pt x="727" y="757"/>
                    <a:pt x="727" y="757"/>
                    <a:pt x="727" y="757"/>
                  </a:cubicBezTo>
                  <a:moveTo>
                    <a:pt x="727" y="757"/>
                  </a:moveTo>
                  <a:cubicBezTo>
                    <a:pt x="727" y="757"/>
                    <a:pt x="727" y="757"/>
                    <a:pt x="727" y="757"/>
                  </a:cubicBezTo>
                  <a:cubicBezTo>
                    <a:pt x="727" y="757"/>
                    <a:pt x="727" y="757"/>
                    <a:pt x="727" y="757"/>
                  </a:cubicBezTo>
                  <a:moveTo>
                    <a:pt x="728" y="756"/>
                  </a:moveTo>
                  <a:cubicBezTo>
                    <a:pt x="728" y="757"/>
                    <a:pt x="728" y="757"/>
                    <a:pt x="728" y="757"/>
                  </a:cubicBezTo>
                  <a:cubicBezTo>
                    <a:pt x="728" y="757"/>
                    <a:pt x="728" y="757"/>
                    <a:pt x="728" y="756"/>
                  </a:cubicBezTo>
                  <a:moveTo>
                    <a:pt x="729" y="756"/>
                  </a:moveTo>
                  <a:cubicBezTo>
                    <a:pt x="728" y="756"/>
                    <a:pt x="728" y="756"/>
                    <a:pt x="728" y="756"/>
                  </a:cubicBezTo>
                  <a:cubicBezTo>
                    <a:pt x="728" y="756"/>
                    <a:pt x="728" y="756"/>
                    <a:pt x="729" y="756"/>
                  </a:cubicBezTo>
                  <a:moveTo>
                    <a:pt x="729" y="756"/>
                  </a:moveTo>
                  <a:cubicBezTo>
                    <a:pt x="729" y="756"/>
                    <a:pt x="729" y="756"/>
                    <a:pt x="729" y="756"/>
                  </a:cubicBezTo>
                  <a:cubicBezTo>
                    <a:pt x="729" y="756"/>
                    <a:pt x="729" y="756"/>
                    <a:pt x="729" y="756"/>
                  </a:cubicBezTo>
                  <a:moveTo>
                    <a:pt x="730" y="756"/>
                  </a:moveTo>
                  <a:cubicBezTo>
                    <a:pt x="730" y="756"/>
                    <a:pt x="729" y="756"/>
                    <a:pt x="729" y="756"/>
                  </a:cubicBezTo>
                  <a:cubicBezTo>
                    <a:pt x="729" y="756"/>
                    <a:pt x="730" y="756"/>
                    <a:pt x="730" y="756"/>
                  </a:cubicBezTo>
                  <a:moveTo>
                    <a:pt x="730" y="755"/>
                  </a:moveTo>
                  <a:cubicBezTo>
                    <a:pt x="730" y="756"/>
                    <a:pt x="730" y="756"/>
                    <a:pt x="730" y="756"/>
                  </a:cubicBezTo>
                  <a:cubicBezTo>
                    <a:pt x="730" y="756"/>
                    <a:pt x="730" y="756"/>
                    <a:pt x="730" y="755"/>
                  </a:cubicBezTo>
                  <a:moveTo>
                    <a:pt x="731" y="755"/>
                  </a:moveTo>
                  <a:cubicBezTo>
                    <a:pt x="731" y="755"/>
                    <a:pt x="731" y="755"/>
                    <a:pt x="731" y="755"/>
                  </a:cubicBezTo>
                  <a:cubicBezTo>
                    <a:pt x="731" y="755"/>
                    <a:pt x="731" y="755"/>
                    <a:pt x="731" y="755"/>
                  </a:cubicBezTo>
                  <a:moveTo>
                    <a:pt x="731" y="755"/>
                  </a:moveTo>
                  <a:cubicBezTo>
                    <a:pt x="731" y="755"/>
                    <a:pt x="731" y="755"/>
                    <a:pt x="731" y="755"/>
                  </a:cubicBezTo>
                  <a:cubicBezTo>
                    <a:pt x="731" y="755"/>
                    <a:pt x="731" y="755"/>
                    <a:pt x="731" y="755"/>
                  </a:cubicBezTo>
                  <a:moveTo>
                    <a:pt x="732" y="755"/>
                  </a:moveTo>
                  <a:cubicBezTo>
                    <a:pt x="732" y="755"/>
                    <a:pt x="732" y="755"/>
                    <a:pt x="732" y="755"/>
                  </a:cubicBezTo>
                  <a:cubicBezTo>
                    <a:pt x="732" y="755"/>
                    <a:pt x="732" y="755"/>
                    <a:pt x="732" y="755"/>
                  </a:cubicBezTo>
                  <a:moveTo>
                    <a:pt x="15" y="505"/>
                  </a:moveTo>
                  <a:cubicBezTo>
                    <a:pt x="0" y="505"/>
                    <a:pt x="0" y="505"/>
                    <a:pt x="0" y="505"/>
                  </a:cubicBezTo>
                  <a:cubicBezTo>
                    <a:pt x="30" y="575"/>
                    <a:pt x="77" y="639"/>
                    <a:pt x="138" y="692"/>
                  </a:cubicBezTo>
                  <a:cubicBezTo>
                    <a:pt x="138" y="692"/>
                    <a:pt x="138" y="692"/>
                    <a:pt x="138" y="692"/>
                  </a:cubicBezTo>
                  <a:cubicBezTo>
                    <a:pt x="139" y="692"/>
                    <a:pt x="139" y="692"/>
                    <a:pt x="139" y="692"/>
                  </a:cubicBezTo>
                  <a:cubicBezTo>
                    <a:pt x="139" y="692"/>
                    <a:pt x="139" y="692"/>
                    <a:pt x="139" y="692"/>
                  </a:cubicBezTo>
                  <a:cubicBezTo>
                    <a:pt x="139" y="692"/>
                    <a:pt x="139" y="692"/>
                    <a:pt x="139" y="692"/>
                  </a:cubicBezTo>
                  <a:cubicBezTo>
                    <a:pt x="139" y="692"/>
                    <a:pt x="139" y="692"/>
                    <a:pt x="139" y="692"/>
                  </a:cubicBezTo>
                  <a:cubicBezTo>
                    <a:pt x="139" y="693"/>
                    <a:pt x="139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0" y="693"/>
                    <a:pt x="140" y="693"/>
                  </a:cubicBezTo>
                  <a:cubicBezTo>
                    <a:pt x="140" y="693"/>
                    <a:pt x="141" y="693"/>
                    <a:pt x="141" y="694"/>
                  </a:cubicBezTo>
                  <a:cubicBezTo>
                    <a:pt x="141" y="694"/>
                    <a:pt x="141" y="694"/>
                    <a:pt x="141" y="694"/>
                  </a:cubicBezTo>
                  <a:cubicBezTo>
                    <a:pt x="141" y="694"/>
                    <a:pt x="141" y="694"/>
                    <a:pt x="141" y="694"/>
                  </a:cubicBezTo>
                  <a:cubicBezTo>
                    <a:pt x="141" y="694"/>
                    <a:pt x="141" y="694"/>
                    <a:pt x="141" y="694"/>
                  </a:cubicBezTo>
                  <a:cubicBezTo>
                    <a:pt x="141" y="694"/>
                    <a:pt x="141" y="694"/>
                    <a:pt x="141" y="694"/>
                  </a:cubicBezTo>
                  <a:cubicBezTo>
                    <a:pt x="239" y="777"/>
                    <a:pt x="359" y="817"/>
                    <a:pt x="478" y="817"/>
                  </a:cubicBezTo>
                  <a:cubicBezTo>
                    <a:pt x="554" y="817"/>
                    <a:pt x="631" y="800"/>
                    <a:pt x="701" y="767"/>
                  </a:cubicBezTo>
                  <a:cubicBezTo>
                    <a:pt x="701" y="767"/>
                    <a:pt x="701" y="767"/>
                    <a:pt x="701" y="767"/>
                  </a:cubicBezTo>
                  <a:cubicBezTo>
                    <a:pt x="701" y="767"/>
                    <a:pt x="701" y="767"/>
                    <a:pt x="701" y="767"/>
                  </a:cubicBezTo>
                  <a:cubicBezTo>
                    <a:pt x="701" y="767"/>
                    <a:pt x="701" y="767"/>
                    <a:pt x="701" y="767"/>
                  </a:cubicBezTo>
                  <a:cubicBezTo>
                    <a:pt x="631" y="800"/>
                    <a:pt x="554" y="817"/>
                    <a:pt x="478" y="817"/>
                  </a:cubicBezTo>
                  <a:cubicBezTo>
                    <a:pt x="458" y="817"/>
                    <a:pt x="438" y="816"/>
                    <a:pt x="419" y="814"/>
                  </a:cubicBezTo>
                  <a:cubicBezTo>
                    <a:pt x="409" y="800"/>
                    <a:pt x="400" y="786"/>
                    <a:pt x="391" y="772"/>
                  </a:cubicBezTo>
                  <a:cubicBezTo>
                    <a:pt x="301" y="757"/>
                    <a:pt x="213" y="719"/>
                    <a:pt x="138" y="656"/>
                  </a:cubicBezTo>
                  <a:cubicBezTo>
                    <a:pt x="86" y="612"/>
                    <a:pt x="45" y="561"/>
                    <a:pt x="15" y="505"/>
                  </a:cubicBezTo>
                  <a:moveTo>
                    <a:pt x="194" y="505"/>
                  </a:moveTo>
                  <a:cubicBezTo>
                    <a:pt x="111" y="505"/>
                    <a:pt x="111" y="505"/>
                    <a:pt x="111" y="505"/>
                  </a:cubicBezTo>
                  <a:cubicBezTo>
                    <a:pt x="164" y="632"/>
                    <a:pt x="269" y="727"/>
                    <a:pt x="395" y="769"/>
                  </a:cubicBezTo>
                  <a:cubicBezTo>
                    <a:pt x="395" y="769"/>
                    <a:pt x="395" y="769"/>
                    <a:pt x="395" y="769"/>
                  </a:cubicBezTo>
                  <a:cubicBezTo>
                    <a:pt x="395" y="769"/>
                    <a:pt x="395" y="769"/>
                    <a:pt x="395" y="770"/>
                  </a:cubicBezTo>
                  <a:cubicBezTo>
                    <a:pt x="395" y="770"/>
                    <a:pt x="395" y="770"/>
                    <a:pt x="395" y="770"/>
                  </a:cubicBezTo>
                  <a:cubicBezTo>
                    <a:pt x="396" y="770"/>
                    <a:pt x="396" y="770"/>
                    <a:pt x="396" y="770"/>
                  </a:cubicBezTo>
                  <a:cubicBezTo>
                    <a:pt x="396" y="770"/>
                    <a:pt x="396" y="770"/>
                    <a:pt x="396" y="770"/>
                  </a:cubicBezTo>
                  <a:cubicBezTo>
                    <a:pt x="397" y="770"/>
                    <a:pt x="397" y="770"/>
                    <a:pt x="397" y="770"/>
                  </a:cubicBezTo>
                  <a:cubicBezTo>
                    <a:pt x="397" y="770"/>
                    <a:pt x="397" y="770"/>
                    <a:pt x="397" y="770"/>
                  </a:cubicBezTo>
                  <a:cubicBezTo>
                    <a:pt x="397" y="770"/>
                    <a:pt x="397" y="770"/>
                    <a:pt x="397" y="770"/>
                  </a:cubicBezTo>
                  <a:cubicBezTo>
                    <a:pt x="397" y="770"/>
                    <a:pt x="397" y="770"/>
                    <a:pt x="397" y="770"/>
                  </a:cubicBezTo>
                  <a:cubicBezTo>
                    <a:pt x="397" y="770"/>
                    <a:pt x="397" y="770"/>
                    <a:pt x="398" y="770"/>
                  </a:cubicBezTo>
                  <a:cubicBezTo>
                    <a:pt x="398" y="770"/>
                    <a:pt x="398" y="770"/>
                    <a:pt x="398" y="770"/>
                  </a:cubicBezTo>
                  <a:cubicBezTo>
                    <a:pt x="398" y="770"/>
                    <a:pt x="398" y="770"/>
                    <a:pt x="398" y="770"/>
                  </a:cubicBezTo>
                  <a:cubicBezTo>
                    <a:pt x="398" y="770"/>
                    <a:pt x="398" y="771"/>
                    <a:pt x="398" y="771"/>
                  </a:cubicBezTo>
                  <a:cubicBezTo>
                    <a:pt x="398" y="771"/>
                    <a:pt x="398" y="771"/>
                    <a:pt x="398" y="771"/>
                  </a:cubicBezTo>
                  <a:cubicBezTo>
                    <a:pt x="399" y="771"/>
                    <a:pt x="399" y="771"/>
                    <a:pt x="399" y="771"/>
                  </a:cubicBezTo>
                  <a:cubicBezTo>
                    <a:pt x="399" y="771"/>
                    <a:pt x="399" y="771"/>
                    <a:pt x="399" y="771"/>
                  </a:cubicBezTo>
                  <a:cubicBezTo>
                    <a:pt x="399" y="771"/>
                    <a:pt x="399" y="771"/>
                    <a:pt x="399" y="771"/>
                  </a:cubicBezTo>
                  <a:cubicBezTo>
                    <a:pt x="399" y="771"/>
                    <a:pt x="399" y="771"/>
                    <a:pt x="399" y="771"/>
                  </a:cubicBezTo>
                  <a:cubicBezTo>
                    <a:pt x="400" y="771"/>
                    <a:pt x="400" y="771"/>
                    <a:pt x="400" y="771"/>
                  </a:cubicBezTo>
                  <a:cubicBezTo>
                    <a:pt x="400" y="771"/>
                    <a:pt x="400" y="771"/>
                    <a:pt x="400" y="771"/>
                  </a:cubicBezTo>
                  <a:cubicBezTo>
                    <a:pt x="400" y="771"/>
                    <a:pt x="400" y="771"/>
                    <a:pt x="401" y="771"/>
                  </a:cubicBezTo>
                  <a:cubicBezTo>
                    <a:pt x="401" y="771"/>
                    <a:pt x="401" y="771"/>
                    <a:pt x="401" y="771"/>
                  </a:cubicBezTo>
                  <a:cubicBezTo>
                    <a:pt x="401" y="771"/>
                    <a:pt x="401" y="771"/>
                    <a:pt x="401" y="771"/>
                  </a:cubicBezTo>
                  <a:cubicBezTo>
                    <a:pt x="401" y="771"/>
                    <a:pt x="401" y="772"/>
                    <a:pt x="401" y="772"/>
                  </a:cubicBezTo>
                  <a:cubicBezTo>
                    <a:pt x="401" y="772"/>
                    <a:pt x="402" y="772"/>
                    <a:pt x="402" y="772"/>
                  </a:cubicBezTo>
                  <a:cubicBezTo>
                    <a:pt x="402" y="772"/>
                    <a:pt x="402" y="772"/>
                    <a:pt x="402" y="772"/>
                  </a:cubicBezTo>
                  <a:cubicBezTo>
                    <a:pt x="402" y="772"/>
                    <a:pt x="402" y="772"/>
                    <a:pt x="402" y="772"/>
                  </a:cubicBezTo>
                  <a:cubicBezTo>
                    <a:pt x="402" y="772"/>
                    <a:pt x="402" y="772"/>
                    <a:pt x="402" y="772"/>
                  </a:cubicBezTo>
                  <a:cubicBezTo>
                    <a:pt x="402" y="772"/>
                    <a:pt x="403" y="772"/>
                    <a:pt x="403" y="772"/>
                  </a:cubicBezTo>
                  <a:cubicBezTo>
                    <a:pt x="403" y="772"/>
                    <a:pt x="403" y="772"/>
                    <a:pt x="403" y="772"/>
                  </a:cubicBezTo>
                  <a:cubicBezTo>
                    <a:pt x="403" y="772"/>
                    <a:pt x="403" y="772"/>
                    <a:pt x="404" y="772"/>
                  </a:cubicBezTo>
                  <a:cubicBezTo>
                    <a:pt x="404" y="772"/>
                    <a:pt x="404" y="772"/>
                    <a:pt x="404" y="772"/>
                  </a:cubicBezTo>
                  <a:cubicBezTo>
                    <a:pt x="404" y="772"/>
                    <a:pt x="404" y="772"/>
                    <a:pt x="404" y="772"/>
                  </a:cubicBezTo>
                  <a:cubicBezTo>
                    <a:pt x="404" y="772"/>
                    <a:pt x="404" y="772"/>
                    <a:pt x="404" y="772"/>
                  </a:cubicBezTo>
                  <a:cubicBezTo>
                    <a:pt x="405" y="773"/>
                    <a:pt x="405" y="773"/>
                    <a:pt x="405" y="773"/>
                  </a:cubicBezTo>
                  <a:cubicBezTo>
                    <a:pt x="405" y="773"/>
                    <a:pt x="405" y="773"/>
                    <a:pt x="405" y="773"/>
                  </a:cubicBezTo>
                  <a:cubicBezTo>
                    <a:pt x="406" y="773"/>
                    <a:pt x="406" y="773"/>
                    <a:pt x="406" y="773"/>
                  </a:cubicBezTo>
                  <a:cubicBezTo>
                    <a:pt x="406" y="773"/>
                    <a:pt x="406" y="773"/>
                    <a:pt x="406" y="773"/>
                  </a:cubicBezTo>
                  <a:cubicBezTo>
                    <a:pt x="406" y="773"/>
                    <a:pt x="407" y="773"/>
                    <a:pt x="407" y="773"/>
                  </a:cubicBezTo>
                  <a:cubicBezTo>
                    <a:pt x="407" y="773"/>
                    <a:pt x="407" y="773"/>
                    <a:pt x="407" y="773"/>
                  </a:cubicBezTo>
                  <a:cubicBezTo>
                    <a:pt x="408" y="773"/>
                    <a:pt x="408" y="774"/>
                    <a:pt x="408" y="774"/>
                  </a:cubicBezTo>
                  <a:cubicBezTo>
                    <a:pt x="408" y="774"/>
                    <a:pt x="408" y="774"/>
                    <a:pt x="408" y="774"/>
                  </a:cubicBezTo>
                  <a:cubicBezTo>
                    <a:pt x="408" y="774"/>
                    <a:pt x="408" y="774"/>
                    <a:pt x="408" y="774"/>
                  </a:cubicBezTo>
                  <a:cubicBezTo>
                    <a:pt x="408" y="774"/>
                    <a:pt x="408" y="774"/>
                    <a:pt x="408" y="774"/>
                  </a:cubicBezTo>
                  <a:cubicBezTo>
                    <a:pt x="409" y="774"/>
                    <a:pt x="409" y="774"/>
                    <a:pt x="409" y="774"/>
                  </a:cubicBezTo>
                  <a:cubicBezTo>
                    <a:pt x="409" y="774"/>
                    <a:pt x="409" y="774"/>
                    <a:pt x="409" y="774"/>
                  </a:cubicBezTo>
                  <a:cubicBezTo>
                    <a:pt x="409" y="774"/>
                    <a:pt x="410" y="774"/>
                    <a:pt x="410" y="774"/>
                  </a:cubicBezTo>
                  <a:cubicBezTo>
                    <a:pt x="410" y="774"/>
                    <a:pt x="410" y="774"/>
                    <a:pt x="410" y="774"/>
                  </a:cubicBezTo>
                  <a:cubicBezTo>
                    <a:pt x="410" y="774"/>
                    <a:pt x="410" y="774"/>
                    <a:pt x="410" y="774"/>
                  </a:cubicBezTo>
                  <a:cubicBezTo>
                    <a:pt x="410" y="774"/>
                    <a:pt x="410" y="774"/>
                    <a:pt x="410" y="774"/>
                  </a:cubicBezTo>
                  <a:cubicBezTo>
                    <a:pt x="410" y="774"/>
                    <a:pt x="410" y="774"/>
                    <a:pt x="411" y="774"/>
                  </a:cubicBezTo>
                  <a:cubicBezTo>
                    <a:pt x="411" y="774"/>
                    <a:pt x="411" y="774"/>
                    <a:pt x="411" y="774"/>
                  </a:cubicBezTo>
                  <a:cubicBezTo>
                    <a:pt x="411" y="774"/>
                    <a:pt x="411" y="775"/>
                    <a:pt x="411" y="775"/>
                  </a:cubicBezTo>
                  <a:cubicBezTo>
                    <a:pt x="411" y="775"/>
                    <a:pt x="411" y="775"/>
                    <a:pt x="411" y="775"/>
                  </a:cubicBezTo>
                  <a:cubicBezTo>
                    <a:pt x="404" y="772"/>
                    <a:pt x="396" y="770"/>
                    <a:pt x="389" y="767"/>
                  </a:cubicBezTo>
                  <a:cubicBezTo>
                    <a:pt x="363" y="720"/>
                    <a:pt x="346" y="667"/>
                    <a:pt x="341" y="610"/>
                  </a:cubicBezTo>
                  <a:cubicBezTo>
                    <a:pt x="330" y="614"/>
                    <a:pt x="319" y="616"/>
                    <a:pt x="307" y="616"/>
                  </a:cubicBezTo>
                  <a:cubicBezTo>
                    <a:pt x="245" y="616"/>
                    <a:pt x="195" y="566"/>
                    <a:pt x="194" y="505"/>
                  </a:cubicBezTo>
                  <a:moveTo>
                    <a:pt x="747" y="0"/>
                  </a:moveTo>
                  <a:cubicBezTo>
                    <a:pt x="712" y="0"/>
                    <a:pt x="672" y="9"/>
                    <a:pt x="631" y="35"/>
                  </a:cubicBezTo>
                  <a:cubicBezTo>
                    <a:pt x="593" y="59"/>
                    <a:pt x="586" y="84"/>
                    <a:pt x="587" y="102"/>
                  </a:cubicBezTo>
                  <a:cubicBezTo>
                    <a:pt x="587" y="102"/>
                    <a:pt x="587" y="102"/>
                    <a:pt x="587" y="102"/>
                  </a:cubicBezTo>
                  <a:cubicBezTo>
                    <a:pt x="587" y="102"/>
                    <a:pt x="587" y="102"/>
                    <a:pt x="587" y="102"/>
                  </a:cubicBezTo>
                  <a:cubicBezTo>
                    <a:pt x="587" y="103"/>
                    <a:pt x="587" y="104"/>
                    <a:pt x="587" y="105"/>
                  </a:cubicBezTo>
                  <a:cubicBezTo>
                    <a:pt x="587" y="105"/>
                    <a:pt x="587" y="105"/>
                    <a:pt x="587" y="105"/>
                  </a:cubicBezTo>
                  <a:cubicBezTo>
                    <a:pt x="587" y="106"/>
                    <a:pt x="588" y="107"/>
                    <a:pt x="588" y="108"/>
                  </a:cubicBezTo>
                  <a:cubicBezTo>
                    <a:pt x="588" y="108"/>
                    <a:pt x="588" y="108"/>
                    <a:pt x="588" y="108"/>
                  </a:cubicBezTo>
                  <a:cubicBezTo>
                    <a:pt x="588" y="109"/>
                    <a:pt x="588" y="110"/>
                    <a:pt x="588" y="110"/>
                  </a:cubicBezTo>
                  <a:cubicBezTo>
                    <a:pt x="588" y="111"/>
                    <a:pt x="588" y="111"/>
                    <a:pt x="588" y="111"/>
                  </a:cubicBezTo>
                  <a:cubicBezTo>
                    <a:pt x="589" y="112"/>
                    <a:pt x="589" y="112"/>
                    <a:pt x="589" y="113"/>
                  </a:cubicBezTo>
                  <a:cubicBezTo>
                    <a:pt x="589" y="114"/>
                    <a:pt x="589" y="114"/>
                    <a:pt x="589" y="114"/>
                  </a:cubicBezTo>
                  <a:cubicBezTo>
                    <a:pt x="589" y="114"/>
                    <a:pt x="589" y="115"/>
                    <a:pt x="590" y="115"/>
                  </a:cubicBezTo>
                  <a:cubicBezTo>
                    <a:pt x="590" y="116"/>
                    <a:pt x="590" y="116"/>
                    <a:pt x="590" y="116"/>
                  </a:cubicBezTo>
                  <a:cubicBezTo>
                    <a:pt x="590" y="117"/>
                    <a:pt x="590" y="117"/>
                    <a:pt x="590" y="118"/>
                  </a:cubicBezTo>
                  <a:cubicBezTo>
                    <a:pt x="591" y="118"/>
                    <a:pt x="591" y="118"/>
                    <a:pt x="591" y="118"/>
                  </a:cubicBezTo>
                  <a:cubicBezTo>
                    <a:pt x="591" y="119"/>
                    <a:pt x="591" y="119"/>
                    <a:pt x="591" y="120"/>
                  </a:cubicBezTo>
                  <a:cubicBezTo>
                    <a:pt x="591" y="120"/>
                    <a:pt x="591" y="120"/>
                    <a:pt x="591" y="120"/>
                  </a:cubicBezTo>
                  <a:cubicBezTo>
                    <a:pt x="592" y="121"/>
                    <a:pt x="592" y="121"/>
                    <a:pt x="592" y="122"/>
                  </a:cubicBezTo>
                  <a:cubicBezTo>
                    <a:pt x="592" y="122"/>
                    <a:pt x="592" y="122"/>
                    <a:pt x="592" y="122"/>
                  </a:cubicBezTo>
                  <a:cubicBezTo>
                    <a:pt x="592" y="123"/>
                    <a:pt x="593" y="123"/>
                    <a:pt x="593" y="124"/>
                  </a:cubicBezTo>
                  <a:cubicBezTo>
                    <a:pt x="593" y="124"/>
                    <a:pt x="593" y="124"/>
                    <a:pt x="593" y="124"/>
                  </a:cubicBezTo>
                  <a:cubicBezTo>
                    <a:pt x="593" y="124"/>
                    <a:pt x="593" y="125"/>
                    <a:pt x="594" y="125"/>
                  </a:cubicBezTo>
                  <a:cubicBezTo>
                    <a:pt x="594" y="125"/>
                    <a:pt x="594" y="125"/>
                    <a:pt x="594" y="125"/>
                  </a:cubicBezTo>
                  <a:cubicBezTo>
                    <a:pt x="594" y="126"/>
                    <a:pt x="594" y="126"/>
                    <a:pt x="594" y="126"/>
                  </a:cubicBezTo>
                  <a:cubicBezTo>
                    <a:pt x="595" y="127"/>
                    <a:pt x="595" y="127"/>
                    <a:pt x="595" y="127"/>
                  </a:cubicBezTo>
                  <a:cubicBezTo>
                    <a:pt x="595" y="127"/>
                    <a:pt x="595" y="127"/>
                    <a:pt x="595" y="127"/>
                  </a:cubicBezTo>
                  <a:cubicBezTo>
                    <a:pt x="595" y="128"/>
                    <a:pt x="595" y="128"/>
                    <a:pt x="595" y="128"/>
                  </a:cubicBezTo>
                  <a:cubicBezTo>
                    <a:pt x="596" y="128"/>
                    <a:pt x="596" y="128"/>
                    <a:pt x="596" y="128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96" y="129"/>
                    <a:pt x="596" y="129"/>
                  </a:cubicBezTo>
                  <a:cubicBezTo>
                    <a:pt x="596" y="129"/>
                    <a:pt x="574" y="145"/>
                    <a:pt x="571" y="209"/>
                  </a:cubicBezTo>
                  <a:cubicBezTo>
                    <a:pt x="623" y="185"/>
                    <a:pt x="680" y="172"/>
                    <a:pt x="740" y="172"/>
                  </a:cubicBezTo>
                  <a:cubicBezTo>
                    <a:pt x="807" y="172"/>
                    <a:pt x="869" y="188"/>
                    <a:pt x="925" y="217"/>
                  </a:cubicBezTo>
                  <a:cubicBezTo>
                    <a:pt x="925" y="216"/>
                    <a:pt x="925" y="215"/>
                    <a:pt x="925" y="214"/>
                  </a:cubicBezTo>
                  <a:cubicBezTo>
                    <a:pt x="925" y="211"/>
                    <a:pt x="926" y="208"/>
                    <a:pt x="926" y="206"/>
                  </a:cubicBezTo>
                  <a:cubicBezTo>
                    <a:pt x="926" y="203"/>
                    <a:pt x="926" y="200"/>
                    <a:pt x="926" y="198"/>
                  </a:cubicBezTo>
                  <a:cubicBezTo>
                    <a:pt x="926" y="196"/>
                    <a:pt x="926" y="195"/>
                    <a:pt x="926" y="193"/>
                  </a:cubicBezTo>
                  <a:cubicBezTo>
                    <a:pt x="895" y="117"/>
                    <a:pt x="845" y="52"/>
                    <a:pt x="783" y="3"/>
                  </a:cubicBezTo>
                  <a:cubicBezTo>
                    <a:pt x="772" y="1"/>
                    <a:pt x="760" y="0"/>
                    <a:pt x="747" y="0"/>
                  </a:cubicBezTo>
                </a:path>
              </a:pathLst>
            </a:custGeom>
            <a:solidFill>
              <a:srgbClr val="CB6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íṡlîḋê">
              <a:extLst>
                <a:ext uri="{FF2B5EF4-FFF2-40B4-BE49-F238E27FC236}">
                  <a16:creationId xmlns:a16="http://schemas.microsoft.com/office/drawing/2014/main" id="{77143A03-F1A9-45D9-8DCE-BE9CB44B6289}"/>
                </a:ext>
              </a:extLst>
            </p:cNvPr>
            <p:cNvSpPr/>
            <p:nvPr/>
          </p:nvSpPr>
          <p:spPr bwMode="auto">
            <a:xfrm>
              <a:off x="5743926" y="3273779"/>
              <a:ext cx="3040742" cy="2638722"/>
            </a:xfrm>
            <a:custGeom>
              <a:avLst/>
              <a:gdLst>
                <a:gd name="T0" fmla="*/ 0 w 600"/>
                <a:gd name="T1" fmla="*/ 518 h 521"/>
                <a:gd name="T2" fmla="*/ 0 w 600"/>
                <a:gd name="T3" fmla="*/ 518 h 521"/>
                <a:gd name="T4" fmla="*/ 20 w 600"/>
                <a:gd name="T5" fmla="*/ 521 h 521"/>
                <a:gd name="T6" fmla="*/ 20 w 600"/>
                <a:gd name="T7" fmla="*/ 521 h 521"/>
                <a:gd name="T8" fmla="*/ 0 w 600"/>
                <a:gd name="T9" fmla="*/ 518 h 521"/>
                <a:gd name="T10" fmla="*/ 310 w 600"/>
                <a:gd name="T11" fmla="*/ 513 h 521"/>
                <a:gd name="T12" fmla="*/ 310 w 600"/>
                <a:gd name="T13" fmla="*/ 513 h 521"/>
                <a:gd name="T14" fmla="*/ 310 w 600"/>
                <a:gd name="T15" fmla="*/ 513 h 521"/>
                <a:gd name="T16" fmla="*/ 310 w 600"/>
                <a:gd name="T17" fmla="*/ 513 h 521"/>
                <a:gd name="T18" fmla="*/ 311 w 600"/>
                <a:gd name="T19" fmla="*/ 513 h 521"/>
                <a:gd name="T20" fmla="*/ 311 w 600"/>
                <a:gd name="T21" fmla="*/ 513 h 521"/>
                <a:gd name="T22" fmla="*/ 311 w 600"/>
                <a:gd name="T23" fmla="*/ 513 h 521"/>
                <a:gd name="T24" fmla="*/ 311 w 600"/>
                <a:gd name="T25" fmla="*/ 513 h 521"/>
                <a:gd name="T26" fmla="*/ 312 w 600"/>
                <a:gd name="T27" fmla="*/ 512 h 521"/>
                <a:gd name="T28" fmla="*/ 312 w 600"/>
                <a:gd name="T29" fmla="*/ 512 h 521"/>
                <a:gd name="T30" fmla="*/ 312 w 600"/>
                <a:gd name="T31" fmla="*/ 512 h 521"/>
                <a:gd name="T32" fmla="*/ 313 w 600"/>
                <a:gd name="T33" fmla="*/ 512 h 521"/>
                <a:gd name="T34" fmla="*/ 313 w 600"/>
                <a:gd name="T35" fmla="*/ 512 h 521"/>
                <a:gd name="T36" fmla="*/ 313 w 600"/>
                <a:gd name="T37" fmla="*/ 512 h 521"/>
                <a:gd name="T38" fmla="*/ 313 w 600"/>
                <a:gd name="T39" fmla="*/ 512 h 521"/>
                <a:gd name="T40" fmla="*/ 313 w 600"/>
                <a:gd name="T41" fmla="*/ 512 h 521"/>
                <a:gd name="T42" fmla="*/ 313 w 600"/>
                <a:gd name="T43" fmla="*/ 512 h 521"/>
                <a:gd name="T44" fmla="*/ 562 w 600"/>
                <a:gd name="T45" fmla="*/ 28 h 521"/>
                <a:gd name="T46" fmla="*/ 562 w 600"/>
                <a:gd name="T47" fmla="*/ 29 h 521"/>
                <a:gd name="T48" fmla="*/ 570 w 600"/>
                <a:gd name="T49" fmla="*/ 117 h 521"/>
                <a:gd name="T50" fmla="*/ 562 w 600"/>
                <a:gd name="T51" fmla="*/ 29 h 521"/>
                <a:gd name="T52" fmla="*/ 562 w 600"/>
                <a:gd name="T53" fmla="*/ 28 h 521"/>
                <a:gd name="T54" fmla="*/ 561 w 600"/>
                <a:gd name="T55" fmla="*/ 28 h 521"/>
                <a:gd name="T56" fmla="*/ 561 w 600"/>
                <a:gd name="T57" fmla="*/ 28 h 521"/>
                <a:gd name="T58" fmla="*/ 561 w 600"/>
                <a:gd name="T59" fmla="*/ 28 h 521"/>
                <a:gd name="T60" fmla="*/ 561 w 600"/>
                <a:gd name="T61" fmla="*/ 27 h 521"/>
                <a:gd name="T62" fmla="*/ 561 w 600"/>
                <a:gd name="T63" fmla="*/ 27 h 521"/>
                <a:gd name="T64" fmla="*/ 561 w 600"/>
                <a:gd name="T65" fmla="*/ 27 h 521"/>
                <a:gd name="T66" fmla="*/ 561 w 600"/>
                <a:gd name="T67" fmla="*/ 26 h 521"/>
                <a:gd name="T68" fmla="*/ 561 w 600"/>
                <a:gd name="T69" fmla="*/ 27 h 521"/>
                <a:gd name="T70" fmla="*/ 561 w 600"/>
                <a:gd name="T71" fmla="*/ 26 h 521"/>
                <a:gd name="T72" fmla="*/ 561 w 600"/>
                <a:gd name="T73" fmla="*/ 26 h 521"/>
                <a:gd name="T74" fmla="*/ 561 w 600"/>
                <a:gd name="T75" fmla="*/ 26 h 521"/>
                <a:gd name="T76" fmla="*/ 561 w 600"/>
                <a:gd name="T77" fmla="*/ 26 h 521"/>
                <a:gd name="T78" fmla="*/ 561 w 600"/>
                <a:gd name="T79" fmla="*/ 25 h 521"/>
                <a:gd name="T80" fmla="*/ 561 w 600"/>
                <a:gd name="T81" fmla="*/ 25 h 521"/>
                <a:gd name="T82" fmla="*/ 561 w 600"/>
                <a:gd name="T83" fmla="*/ 25 h 521"/>
                <a:gd name="T84" fmla="*/ 561 w 600"/>
                <a:gd name="T85" fmla="*/ 24 h 521"/>
                <a:gd name="T86" fmla="*/ 561 w 600"/>
                <a:gd name="T87" fmla="*/ 25 h 521"/>
                <a:gd name="T88" fmla="*/ 561 w 600"/>
                <a:gd name="T89" fmla="*/ 24 h 521"/>
                <a:gd name="T90" fmla="*/ 593 w 600"/>
                <a:gd name="T91" fmla="*/ 0 h 521"/>
                <a:gd name="T92" fmla="*/ 599 w 600"/>
                <a:gd name="T93" fmla="*/ 88 h 521"/>
                <a:gd name="T94" fmla="*/ 558 w 600"/>
                <a:gd name="T95" fmla="*/ 220 h 521"/>
                <a:gd name="T96" fmla="*/ 558 w 600"/>
                <a:gd name="T97" fmla="*/ 220 h 521"/>
                <a:gd name="T98" fmla="*/ 599 w 600"/>
                <a:gd name="T99" fmla="*/ 88 h 521"/>
                <a:gd name="T100" fmla="*/ 593 w 600"/>
                <a:gd name="T101" fmla="*/ 0 h 521"/>
                <a:gd name="T102" fmla="*/ 593 w 600"/>
                <a:gd name="T103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0" h="521">
                  <a:moveTo>
                    <a:pt x="0" y="518"/>
                  </a:moveTo>
                  <a:cubicBezTo>
                    <a:pt x="0" y="518"/>
                    <a:pt x="0" y="518"/>
                    <a:pt x="0" y="518"/>
                  </a:cubicBezTo>
                  <a:cubicBezTo>
                    <a:pt x="7" y="519"/>
                    <a:pt x="14" y="520"/>
                    <a:pt x="20" y="521"/>
                  </a:cubicBezTo>
                  <a:cubicBezTo>
                    <a:pt x="20" y="521"/>
                    <a:pt x="20" y="521"/>
                    <a:pt x="20" y="521"/>
                  </a:cubicBezTo>
                  <a:cubicBezTo>
                    <a:pt x="13" y="520"/>
                    <a:pt x="7" y="519"/>
                    <a:pt x="0" y="518"/>
                  </a:cubicBezTo>
                  <a:moveTo>
                    <a:pt x="310" y="513"/>
                  </a:moveTo>
                  <a:cubicBezTo>
                    <a:pt x="310" y="513"/>
                    <a:pt x="310" y="513"/>
                    <a:pt x="310" y="513"/>
                  </a:cubicBezTo>
                  <a:cubicBezTo>
                    <a:pt x="310" y="513"/>
                    <a:pt x="310" y="513"/>
                    <a:pt x="310" y="513"/>
                  </a:cubicBezTo>
                  <a:cubicBezTo>
                    <a:pt x="310" y="513"/>
                    <a:pt x="310" y="513"/>
                    <a:pt x="310" y="513"/>
                  </a:cubicBezTo>
                  <a:moveTo>
                    <a:pt x="311" y="513"/>
                  </a:moveTo>
                  <a:cubicBezTo>
                    <a:pt x="311" y="513"/>
                    <a:pt x="311" y="513"/>
                    <a:pt x="311" y="513"/>
                  </a:cubicBezTo>
                  <a:cubicBezTo>
                    <a:pt x="311" y="513"/>
                    <a:pt x="311" y="513"/>
                    <a:pt x="311" y="513"/>
                  </a:cubicBezTo>
                  <a:cubicBezTo>
                    <a:pt x="311" y="513"/>
                    <a:pt x="311" y="513"/>
                    <a:pt x="311" y="513"/>
                  </a:cubicBezTo>
                  <a:moveTo>
                    <a:pt x="312" y="512"/>
                  </a:moveTo>
                  <a:cubicBezTo>
                    <a:pt x="312" y="512"/>
                    <a:pt x="312" y="512"/>
                    <a:pt x="312" y="512"/>
                  </a:cubicBezTo>
                  <a:cubicBezTo>
                    <a:pt x="312" y="512"/>
                    <a:pt x="312" y="512"/>
                    <a:pt x="312" y="512"/>
                  </a:cubicBezTo>
                  <a:moveTo>
                    <a:pt x="313" y="512"/>
                  </a:moveTo>
                  <a:cubicBezTo>
                    <a:pt x="313" y="512"/>
                    <a:pt x="313" y="512"/>
                    <a:pt x="313" y="512"/>
                  </a:cubicBezTo>
                  <a:cubicBezTo>
                    <a:pt x="313" y="512"/>
                    <a:pt x="313" y="512"/>
                    <a:pt x="313" y="512"/>
                  </a:cubicBezTo>
                  <a:moveTo>
                    <a:pt x="313" y="512"/>
                  </a:moveTo>
                  <a:cubicBezTo>
                    <a:pt x="313" y="512"/>
                    <a:pt x="313" y="512"/>
                    <a:pt x="313" y="512"/>
                  </a:cubicBezTo>
                  <a:cubicBezTo>
                    <a:pt x="313" y="512"/>
                    <a:pt x="313" y="512"/>
                    <a:pt x="313" y="512"/>
                  </a:cubicBezTo>
                  <a:moveTo>
                    <a:pt x="562" y="28"/>
                  </a:moveTo>
                  <a:cubicBezTo>
                    <a:pt x="562" y="28"/>
                    <a:pt x="562" y="29"/>
                    <a:pt x="562" y="29"/>
                  </a:cubicBezTo>
                  <a:cubicBezTo>
                    <a:pt x="567" y="58"/>
                    <a:pt x="570" y="88"/>
                    <a:pt x="570" y="117"/>
                  </a:cubicBezTo>
                  <a:cubicBezTo>
                    <a:pt x="570" y="88"/>
                    <a:pt x="567" y="58"/>
                    <a:pt x="562" y="29"/>
                  </a:cubicBezTo>
                  <a:cubicBezTo>
                    <a:pt x="562" y="29"/>
                    <a:pt x="562" y="28"/>
                    <a:pt x="562" y="28"/>
                  </a:cubicBezTo>
                  <a:moveTo>
                    <a:pt x="561" y="28"/>
                  </a:moveTo>
                  <a:cubicBezTo>
                    <a:pt x="561" y="28"/>
                    <a:pt x="561" y="28"/>
                    <a:pt x="561" y="28"/>
                  </a:cubicBezTo>
                  <a:cubicBezTo>
                    <a:pt x="561" y="28"/>
                    <a:pt x="561" y="28"/>
                    <a:pt x="561" y="28"/>
                  </a:cubicBezTo>
                  <a:moveTo>
                    <a:pt x="561" y="27"/>
                  </a:moveTo>
                  <a:cubicBezTo>
                    <a:pt x="561" y="27"/>
                    <a:pt x="561" y="27"/>
                    <a:pt x="561" y="27"/>
                  </a:cubicBezTo>
                  <a:cubicBezTo>
                    <a:pt x="561" y="27"/>
                    <a:pt x="561" y="27"/>
                    <a:pt x="561" y="27"/>
                  </a:cubicBezTo>
                  <a:moveTo>
                    <a:pt x="561" y="26"/>
                  </a:moveTo>
                  <a:cubicBezTo>
                    <a:pt x="561" y="26"/>
                    <a:pt x="561" y="27"/>
                    <a:pt x="561" y="27"/>
                  </a:cubicBezTo>
                  <a:cubicBezTo>
                    <a:pt x="561" y="27"/>
                    <a:pt x="561" y="26"/>
                    <a:pt x="561" y="26"/>
                  </a:cubicBezTo>
                  <a:moveTo>
                    <a:pt x="561" y="26"/>
                  </a:moveTo>
                  <a:cubicBezTo>
                    <a:pt x="561" y="26"/>
                    <a:pt x="561" y="26"/>
                    <a:pt x="561" y="26"/>
                  </a:cubicBezTo>
                  <a:cubicBezTo>
                    <a:pt x="561" y="26"/>
                    <a:pt x="561" y="26"/>
                    <a:pt x="561" y="26"/>
                  </a:cubicBezTo>
                  <a:moveTo>
                    <a:pt x="561" y="25"/>
                  </a:moveTo>
                  <a:cubicBezTo>
                    <a:pt x="561" y="25"/>
                    <a:pt x="561" y="25"/>
                    <a:pt x="561" y="25"/>
                  </a:cubicBezTo>
                  <a:cubicBezTo>
                    <a:pt x="561" y="25"/>
                    <a:pt x="561" y="25"/>
                    <a:pt x="561" y="25"/>
                  </a:cubicBezTo>
                  <a:moveTo>
                    <a:pt x="561" y="24"/>
                  </a:moveTo>
                  <a:cubicBezTo>
                    <a:pt x="561" y="24"/>
                    <a:pt x="561" y="25"/>
                    <a:pt x="561" y="25"/>
                  </a:cubicBezTo>
                  <a:cubicBezTo>
                    <a:pt x="561" y="25"/>
                    <a:pt x="561" y="24"/>
                    <a:pt x="561" y="24"/>
                  </a:cubicBezTo>
                  <a:moveTo>
                    <a:pt x="593" y="0"/>
                  </a:moveTo>
                  <a:cubicBezTo>
                    <a:pt x="598" y="30"/>
                    <a:pt x="600" y="59"/>
                    <a:pt x="599" y="88"/>
                  </a:cubicBezTo>
                  <a:cubicBezTo>
                    <a:pt x="591" y="133"/>
                    <a:pt x="578" y="177"/>
                    <a:pt x="558" y="220"/>
                  </a:cubicBezTo>
                  <a:cubicBezTo>
                    <a:pt x="558" y="220"/>
                    <a:pt x="558" y="220"/>
                    <a:pt x="558" y="220"/>
                  </a:cubicBezTo>
                  <a:cubicBezTo>
                    <a:pt x="578" y="177"/>
                    <a:pt x="591" y="133"/>
                    <a:pt x="599" y="88"/>
                  </a:cubicBezTo>
                  <a:cubicBezTo>
                    <a:pt x="600" y="59"/>
                    <a:pt x="598" y="30"/>
                    <a:pt x="593" y="0"/>
                  </a:cubicBezTo>
                  <a:cubicBezTo>
                    <a:pt x="593" y="0"/>
                    <a:pt x="593" y="0"/>
                    <a:pt x="593" y="0"/>
                  </a:cubicBezTo>
                </a:path>
              </a:pathLst>
            </a:custGeom>
            <a:solidFill>
              <a:srgbClr val="F6C6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íṩļïďe">
              <a:extLst>
                <a:ext uri="{FF2B5EF4-FFF2-40B4-BE49-F238E27FC236}">
                  <a16:creationId xmlns:a16="http://schemas.microsoft.com/office/drawing/2014/main" id="{C36F59EB-6311-4F6A-83DE-364872484400}"/>
                </a:ext>
              </a:extLst>
            </p:cNvPr>
            <p:cNvSpPr/>
            <p:nvPr/>
          </p:nvSpPr>
          <p:spPr bwMode="auto">
            <a:xfrm>
              <a:off x="4744965" y="3047184"/>
              <a:ext cx="4246807" cy="2887244"/>
            </a:xfrm>
            <a:custGeom>
              <a:avLst/>
              <a:gdLst>
                <a:gd name="T0" fmla="*/ 508 w 838"/>
                <a:gd name="T1" fmla="*/ 558 h 570"/>
                <a:gd name="T2" fmla="*/ 508 w 838"/>
                <a:gd name="T3" fmla="*/ 558 h 570"/>
                <a:gd name="T4" fmla="*/ 531 w 838"/>
                <a:gd name="T5" fmla="*/ 549 h 570"/>
                <a:gd name="T6" fmla="*/ 531 w 838"/>
                <a:gd name="T7" fmla="*/ 549 h 570"/>
                <a:gd name="T8" fmla="*/ 532 w 838"/>
                <a:gd name="T9" fmla="*/ 548 h 570"/>
                <a:gd name="T10" fmla="*/ 534 w 838"/>
                <a:gd name="T11" fmla="*/ 548 h 570"/>
                <a:gd name="T12" fmla="*/ 534 w 838"/>
                <a:gd name="T13" fmla="*/ 547 h 570"/>
                <a:gd name="T14" fmla="*/ 535 w 838"/>
                <a:gd name="T15" fmla="*/ 547 h 570"/>
                <a:gd name="T16" fmla="*/ 536 w 838"/>
                <a:gd name="T17" fmla="*/ 547 h 570"/>
                <a:gd name="T18" fmla="*/ 536 w 838"/>
                <a:gd name="T19" fmla="*/ 546 h 570"/>
                <a:gd name="T20" fmla="*/ 537 w 838"/>
                <a:gd name="T21" fmla="*/ 546 h 570"/>
                <a:gd name="T22" fmla="*/ 405 w 838"/>
                <a:gd name="T23" fmla="*/ 522 h 570"/>
                <a:gd name="T24" fmla="*/ 352 w 838"/>
                <a:gd name="T25" fmla="*/ 481 h 570"/>
                <a:gd name="T26" fmla="*/ 701 w 838"/>
                <a:gd name="T27" fmla="*/ 402 h 570"/>
                <a:gd name="T28" fmla="*/ 724 w 838"/>
                <a:gd name="T29" fmla="*/ 33 h 570"/>
                <a:gd name="T30" fmla="*/ 670 w 838"/>
                <a:gd name="T31" fmla="*/ 101 h 570"/>
                <a:gd name="T32" fmla="*/ 658 w 838"/>
                <a:gd name="T33" fmla="*/ 108 h 570"/>
                <a:gd name="T34" fmla="*/ 662 w 838"/>
                <a:gd name="T35" fmla="*/ 120 h 570"/>
                <a:gd name="T36" fmla="*/ 650 w 838"/>
                <a:gd name="T37" fmla="*/ 115 h 570"/>
                <a:gd name="T38" fmla="*/ 645 w 838"/>
                <a:gd name="T39" fmla="*/ 128 h 570"/>
                <a:gd name="T40" fmla="*/ 638 w 838"/>
                <a:gd name="T41" fmla="*/ 141 h 570"/>
                <a:gd name="T42" fmla="*/ 631 w 838"/>
                <a:gd name="T43" fmla="*/ 153 h 570"/>
                <a:gd name="T44" fmla="*/ 623 w 838"/>
                <a:gd name="T45" fmla="*/ 163 h 570"/>
                <a:gd name="T46" fmla="*/ 716 w 838"/>
                <a:gd name="T47" fmla="*/ 379 h 570"/>
                <a:gd name="T48" fmla="*/ 744 w 838"/>
                <a:gd name="T49" fmla="*/ 333 h 570"/>
                <a:gd name="T50" fmla="*/ 818 w 838"/>
                <a:gd name="T51" fmla="*/ 69 h 570"/>
                <a:gd name="T52" fmla="*/ 755 w 838"/>
                <a:gd name="T53" fmla="*/ 265 h 570"/>
                <a:gd name="T54" fmla="*/ 759 w 838"/>
                <a:gd name="T55" fmla="*/ 73 h 570"/>
                <a:gd name="T56" fmla="*/ 758 w 838"/>
                <a:gd name="T57" fmla="*/ 72 h 570"/>
                <a:gd name="T58" fmla="*/ 758 w 838"/>
                <a:gd name="T59" fmla="*/ 71 h 570"/>
                <a:gd name="T60" fmla="*/ 758 w 838"/>
                <a:gd name="T61" fmla="*/ 69 h 570"/>
                <a:gd name="T62" fmla="*/ 324 w 838"/>
                <a:gd name="T63" fmla="*/ 249 h 570"/>
                <a:gd name="T64" fmla="*/ 371 w 838"/>
                <a:gd name="T65" fmla="*/ 216 h 570"/>
                <a:gd name="T66" fmla="*/ 313 w 838"/>
                <a:gd name="T67" fmla="*/ 231 h 570"/>
                <a:gd name="T68" fmla="*/ 333 w 838"/>
                <a:gd name="T69" fmla="*/ 179 h 570"/>
                <a:gd name="T70" fmla="*/ 313 w 838"/>
                <a:gd name="T71" fmla="*/ 231 h 570"/>
                <a:gd name="T72" fmla="*/ 285 w 838"/>
                <a:gd name="T73" fmla="*/ 173 h 570"/>
                <a:gd name="T74" fmla="*/ 287 w 838"/>
                <a:gd name="T75" fmla="*/ 231 h 570"/>
                <a:gd name="T76" fmla="*/ 113 w 838"/>
                <a:gd name="T77" fmla="*/ 181 h 570"/>
                <a:gd name="T78" fmla="*/ 162 w 838"/>
                <a:gd name="T79" fmla="*/ 296 h 570"/>
                <a:gd name="T80" fmla="*/ 320 w 838"/>
                <a:gd name="T81" fmla="*/ 563 h 570"/>
                <a:gd name="T82" fmla="*/ 261 w 838"/>
                <a:gd name="T83" fmla="*/ 278 h 570"/>
                <a:gd name="T84" fmla="*/ 275 w 838"/>
                <a:gd name="T85" fmla="*/ 301 h 570"/>
                <a:gd name="T86" fmla="*/ 309 w 838"/>
                <a:gd name="T87" fmla="*/ 283 h 570"/>
                <a:gd name="T88" fmla="*/ 347 w 838"/>
                <a:gd name="T89" fmla="*/ 466 h 570"/>
                <a:gd name="T90" fmla="*/ 367 w 838"/>
                <a:gd name="T91" fmla="*/ 452 h 570"/>
                <a:gd name="T92" fmla="*/ 506 w 838"/>
                <a:gd name="T93" fmla="*/ 244 h 570"/>
                <a:gd name="T94" fmla="*/ 377 w 838"/>
                <a:gd name="T95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38" h="570">
                  <a:moveTo>
                    <a:pt x="508" y="558"/>
                  </a:moveTo>
                  <a:cubicBezTo>
                    <a:pt x="508" y="558"/>
                    <a:pt x="507" y="558"/>
                    <a:pt x="507" y="558"/>
                  </a:cubicBezTo>
                  <a:cubicBezTo>
                    <a:pt x="507" y="558"/>
                    <a:pt x="507" y="558"/>
                    <a:pt x="507" y="558"/>
                  </a:cubicBezTo>
                  <a:cubicBezTo>
                    <a:pt x="507" y="558"/>
                    <a:pt x="508" y="558"/>
                    <a:pt x="508" y="558"/>
                  </a:cubicBezTo>
                  <a:moveTo>
                    <a:pt x="508" y="558"/>
                  </a:moveTo>
                  <a:cubicBezTo>
                    <a:pt x="508" y="558"/>
                    <a:pt x="508" y="558"/>
                    <a:pt x="508" y="558"/>
                  </a:cubicBezTo>
                  <a:cubicBezTo>
                    <a:pt x="508" y="558"/>
                    <a:pt x="508" y="558"/>
                    <a:pt x="508" y="558"/>
                  </a:cubicBezTo>
                  <a:cubicBezTo>
                    <a:pt x="508" y="558"/>
                    <a:pt x="508" y="558"/>
                    <a:pt x="508" y="558"/>
                  </a:cubicBezTo>
                  <a:moveTo>
                    <a:pt x="530" y="549"/>
                  </a:moveTo>
                  <a:cubicBezTo>
                    <a:pt x="530" y="549"/>
                    <a:pt x="530" y="549"/>
                    <a:pt x="530" y="549"/>
                  </a:cubicBezTo>
                  <a:cubicBezTo>
                    <a:pt x="530" y="549"/>
                    <a:pt x="530" y="549"/>
                    <a:pt x="530" y="549"/>
                  </a:cubicBezTo>
                  <a:moveTo>
                    <a:pt x="531" y="549"/>
                  </a:moveTo>
                  <a:cubicBezTo>
                    <a:pt x="531" y="549"/>
                    <a:pt x="531" y="549"/>
                    <a:pt x="531" y="549"/>
                  </a:cubicBezTo>
                  <a:cubicBezTo>
                    <a:pt x="531" y="549"/>
                    <a:pt x="531" y="549"/>
                    <a:pt x="531" y="549"/>
                  </a:cubicBezTo>
                  <a:moveTo>
                    <a:pt x="531" y="549"/>
                  </a:moveTo>
                  <a:cubicBezTo>
                    <a:pt x="531" y="549"/>
                    <a:pt x="531" y="549"/>
                    <a:pt x="531" y="549"/>
                  </a:cubicBezTo>
                  <a:cubicBezTo>
                    <a:pt x="531" y="549"/>
                    <a:pt x="531" y="549"/>
                    <a:pt x="531" y="549"/>
                  </a:cubicBezTo>
                  <a:moveTo>
                    <a:pt x="532" y="548"/>
                  </a:moveTo>
                  <a:cubicBezTo>
                    <a:pt x="532" y="548"/>
                    <a:pt x="532" y="548"/>
                    <a:pt x="532" y="548"/>
                  </a:cubicBezTo>
                  <a:cubicBezTo>
                    <a:pt x="532" y="548"/>
                    <a:pt x="532" y="548"/>
                    <a:pt x="532" y="548"/>
                  </a:cubicBezTo>
                  <a:moveTo>
                    <a:pt x="533" y="548"/>
                  </a:moveTo>
                  <a:cubicBezTo>
                    <a:pt x="533" y="548"/>
                    <a:pt x="533" y="548"/>
                    <a:pt x="533" y="548"/>
                  </a:cubicBezTo>
                  <a:cubicBezTo>
                    <a:pt x="533" y="548"/>
                    <a:pt x="533" y="548"/>
                    <a:pt x="533" y="548"/>
                  </a:cubicBezTo>
                  <a:moveTo>
                    <a:pt x="534" y="548"/>
                  </a:moveTo>
                  <a:cubicBezTo>
                    <a:pt x="534" y="548"/>
                    <a:pt x="533" y="548"/>
                    <a:pt x="533" y="548"/>
                  </a:cubicBezTo>
                  <a:cubicBezTo>
                    <a:pt x="533" y="548"/>
                    <a:pt x="534" y="548"/>
                    <a:pt x="534" y="548"/>
                  </a:cubicBezTo>
                  <a:moveTo>
                    <a:pt x="534" y="547"/>
                  </a:moveTo>
                  <a:cubicBezTo>
                    <a:pt x="534" y="547"/>
                    <a:pt x="534" y="547"/>
                    <a:pt x="534" y="547"/>
                  </a:cubicBezTo>
                  <a:cubicBezTo>
                    <a:pt x="534" y="547"/>
                    <a:pt x="534" y="547"/>
                    <a:pt x="534" y="547"/>
                  </a:cubicBezTo>
                  <a:moveTo>
                    <a:pt x="535" y="547"/>
                  </a:moveTo>
                  <a:cubicBezTo>
                    <a:pt x="535" y="547"/>
                    <a:pt x="535" y="547"/>
                    <a:pt x="535" y="547"/>
                  </a:cubicBezTo>
                  <a:cubicBezTo>
                    <a:pt x="535" y="547"/>
                    <a:pt x="535" y="547"/>
                    <a:pt x="535" y="547"/>
                  </a:cubicBezTo>
                  <a:moveTo>
                    <a:pt x="535" y="547"/>
                  </a:moveTo>
                  <a:cubicBezTo>
                    <a:pt x="535" y="547"/>
                    <a:pt x="535" y="547"/>
                    <a:pt x="535" y="547"/>
                  </a:cubicBezTo>
                  <a:cubicBezTo>
                    <a:pt x="535" y="547"/>
                    <a:pt x="535" y="547"/>
                    <a:pt x="535" y="547"/>
                  </a:cubicBezTo>
                  <a:moveTo>
                    <a:pt x="536" y="547"/>
                  </a:moveTo>
                  <a:cubicBezTo>
                    <a:pt x="536" y="547"/>
                    <a:pt x="536" y="547"/>
                    <a:pt x="536" y="547"/>
                  </a:cubicBezTo>
                  <a:cubicBezTo>
                    <a:pt x="536" y="547"/>
                    <a:pt x="536" y="547"/>
                    <a:pt x="536" y="547"/>
                  </a:cubicBezTo>
                  <a:moveTo>
                    <a:pt x="537" y="546"/>
                  </a:moveTo>
                  <a:cubicBezTo>
                    <a:pt x="537" y="546"/>
                    <a:pt x="536" y="546"/>
                    <a:pt x="536" y="546"/>
                  </a:cubicBezTo>
                  <a:cubicBezTo>
                    <a:pt x="536" y="546"/>
                    <a:pt x="537" y="546"/>
                    <a:pt x="537" y="546"/>
                  </a:cubicBezTo>
                  <a:moveTo>
                    <a:pt x="537" y="546"/>
                  </a:moveTo>
                  <a:cubicBezTo>
                    <a:pt x="537" y="546"/>
                    <a:pt x="537" y="546"/>
                    <a:pt x="537" y="546"/>
                  </a:cubicBezTo>
                  <a:cubicBezTo>
                    <a:pt x="537" y="546"/>
                    <a:pt x="537" y="546"/>
                    <a:pt x="537" y="546"/>
                  </a:cubicBezTo>
                  <a:moveTo>
                    <a:pt x="538" y="546"/>
                  </a:moveTo>
                  <a:cubicBezTo>
                    <a:pt x="538" y="546"/>
                    <a:pt x="537" y="546"/>
                    <a:pt x="537" y="546"/>
                  </a:cubicBezTo>
                  <a:cubicBezTo>
                    <a:pt x="537" y="546"/>
                    <a:pt x="538" y="546"/>
                    <a:pt x="538" y="546"/>
                  </a:cubicBezTo>
                  <a:moveTo>
                    <a:pt x="405" y="522"/>
                  </a:moveTo>
                  <a:cubicBezTo>
                    <a:pt x="404" y="522"/>
                    <a:pt x="404" y="522"/>
                    <a:pt x="404" y="522"/>
                  </a:cubicBezTo>
                  <a:cubicBezTo>
                    <a:pt x="405" y="522"/>
                    <a:pt x="405" y="522"/>
                    <a:pt x="405" y="522"/>
                  </a:cubicBezTo>
                  <a:cubicBezTo>
                    <a:pt x="405" y="522"/>
                    <a:pt x="405" y="522"/>
                    <a:pt x="405" y="522"/>
                  </a:cubicBezTo>
                  <a:moveTo>
                    <a:pt x="352" y="481"/>
                  </a:moveTo>
                  <a:cubicBezTo>
                    <a:pt x="352" y="481"/>
                    <a:pt x="352" y="481"/>
                    <a:pt x="352" y="481"/>
                  </a:cubicBezTo>
                  <a:cubicBezTo>
                    <a:pt x="352" y="481"/>
                    <a:pt x="352" y="481"/>
                    <a:pt x="352" y="481"/>
                  </a:cubicBezTo>
                  <a:cubicBezTo>
                    <a:pt x="352" y="481"/>
                    <a:pt x="352" y="481"/>
                    <a:pt x="352" y="481"/>
                  </a:cubicBezTo>
                  <a:moveTo>
                    <a:pt x="701" y="402"/>
                  </a:moveTo>
                  <a:cubicBezTo>
                    <a:pt x="701" y="402"/>
                    <a:pt x="701" y="402"/>
                    <a:pt x="701" y="402"/>
                  </a:cubicBezTo>
                  <a:cubicBezTo>
                    <a:pt x="701" y="402"/>
                    <a:pt x="701" y="402"/>
                    <a:pt x="701" y="402"/>
                  </a:cubicBezTo>
                  <a:moveTo>
                    <a:pt x="731" y="8"/>
                  </a:moveTo>
                  <a:cubicBezTo>
                    <a:pt x="729" y="17"/>
                    <a:pt x="727" y="25"/>
                    <a:pt x="724" y="33"/>
                  </a:cubicBezTo>
                  <a:cubicBezTo>
                    <a:pt x="722" y="37"/>
                    <a:pt x="720" y="41"/>
                    <a:pt x="718" y="45"/>
                  </a:cubicBezTo>
                  <a:cubicBezTo>
                    <a:pt x="712" y="57"/>
                    <a:pt x="705" y="67"/>
                    <a:pt x="697" y="76"/>
                  </a:cubicBezTo>
                  <a:cubicBezTo>
                    <a:pt x="696" y="78"/>
                    <a:pt x="695" y="79"/>
                    <a:pt x="693" y="80"/>
                  </a:cubicBezTo>
                  <a:cubicBezTo>
                    <a:pt x="685" y="89"/>
                    <a:pt x="677" y="96"/>
                    <a:pt x="670" y="101"/>
                  </a:cubicBezTo>
                  <a:cubicBezTo>
                    <a:pt x="674" y="103"/>
                    <a:pt x="679" y="107"/>
                    <a:pt x="682" y="110"/>
                  </a:cubicBezTo>
                  <a:cubicBezTo>
                    <a:pt x="693" y="122"/>
                    <a:pt x="693" y="139"/>
                    <a:pt x="693" y="139"/>
                  </a:cubicBezTo>
                  <a:cubicBezTo>
                    <a:pt x="693" y="139"/>
                    <a:pt x="683" y="119"/>
                    <a:pt x="671" y="112"/>
                  </a:cubicBezTo>
                  <a:cubicBezTo>
                    <a:pt x="666" y="110"/>
                    <a:pt x="662" y="109"/>
                    <a:pt x="658" y="108"/>
                  </a:cubicBezTo>
                  <a:cubicBezTo>
                    <a:pt x="658" y="108"/>
                    <a:pt x="658" y="108"/>
                    <a:pt x="658" y="108"/>
                  </a:cubicBezTo>
                  <a:cubicBezTo>
                    <a:pt x="661" y="110"/>
                    <a:pt x="665" y="113"/>
                    <a:pt x="668" y="119"/>
                  </a:cubicBezTo>
                  <a:cubicBezTo>
                    <a:pt x="672" y="128"/>
                    <a:pt x="671" y="138"/>
                    <a:pt x="671" y="138"/>
                  </a:cubicBezTo>
                  <a:cubicBezTo>
                    <a:pt x="671" y="138"/>
                    <a:pt x="667" y="125"/>
                    <a:pt x="662" y="120"/>
                  </a:cubicBezTo>
                  <a:cubicBezTo>
                    <a:pt x="658" y="116"/>
                    <a:pt x="655" y="113"/>
                    <a:pt x="653" y="111"/>
                  </a:cubicBezTo>
                  <a:cubicBezTo>
                    <a:pt x="652" y="112"/>
                    <a:pt x="651" y="112"/>
                    <a:pt x="651" y="112"/>
                  </a:cubicBezTo>
                  <a:cubicBezTo>
                    <a:pt x="651" y="112"/>
                    <a:pt x="651" y="112"/>
                    <a:pt x="651" y="112"/>
                  </a:cubicBezTo>
                  <a:cubicBezTo>
                    <a:pt x="651" y="113"/>
                    <a:pt x="651" y="114"/>
                    <a:pt x="650" y="115"/>
                  </a:cubicBezTo>
                  <a:cubicBezTo>
                    <a:pt x="650" y="116"/>
                    <a:pt x="650" y="117"/>
                    <a:pt x="649" y="118"/>
                  </a:cubicBezTo>
                  <a:cubicBezTo>
                    <a:pt x="649" y="119"/>
                    <a:pt x="648" y="120"/>
                    <a:pt x="648" y="121"/>
                  </a:cubicBezTo>
                  <a:cubicBezTo>
                    <a:pt x="648" y="122"/>
                    <a:pt x="647" y="123"/>
                    <a:pt x="647" y="124"/>
                  </a:cubicBezTo>
                  <a:cubicBezTo>
                    <a:pt x="646" y="125"/>
                    <a:pt x="646" y="126"/>
                    <a:pt x="645" y="128"/>
                  </a:cubicBezTo>
                  <a:cubicBezTo>
                    <a:pt x="645" y="128"/>
                    <a:pt x="645" y="129"/>
                    <a:pt x="644" y="130"/>
                  </a:cubicBezTo>
                  <a:cubicBezTo>
                    <a:pt x="643" y="132"/>
                    <a:pt x="642" y="134"/>
                    <a:pt x="641" y="136"/>
                  </a:cubicBezTo>
                  <a:cubicBezTo>
                    <a:pt x="641" y="136"/>
                    <a:pt x="641" y="137"/>
                    <a:pt x="640" y="138"/>
                  </a:cubicBezTo>
                  <a:cubicBezTo>
                    <a:pt x="639" y="139"/>
                    <a:pt x="639" y="140"/>
                    <a:pt x="638" y="141"/>
                  </a:cubicBezTo>
                  <a:cubicBezTo>
                    <a:pt x="638" y="142"/>
                    <a:pt x="637" y="143"/>
                    <a:pt x="636" y="144"/>
                  </a:cubicBezTo>
                  <a:cubicBezTo>
                    <a:pt x="636" y="145"/>
                    <a:pt x="635" y="146"/>
                    <a:pt x="635" y="147"/>
                  </a:cubicBezTo>
                  <a:cubicBezTo>
                    <a:pt x="634" y="148"/>
                    <a:pt x="633" y="149"/>
                    <a:pt x="633" y="150"/>
                  </a:cubicBezTo>
                  <a:cubicBezTo>
                    <a:pt x="632" y="151"/>
                    <a:pt x="631" y="152"/>
                    <a:pt x="631" y="153"/>
                  </a:cubicBezTo>
                  <a:cubicBezTo>
                    <a:pt x="630" y="154"/>
                    <a:pt x="629" y="155"/>
                    <a:pt x="629" y="156"/>
                  </a:cubicBezTo>
                  <a:cubicBezTo>
                    <a:pt x="628" y="157"/>
                    <a:pt x="627" y="158"/>
                    <a:pt x="627" y="158"/>
                  </a:cubicBezTo>
                  <a:cubicBezTo>
                    <a:pt x="626" y="159"/>
                    <a:pt x="625" y="160"/>
                    <a:pt x="624" y="161"/>
                  </a:cubicBezTo>
                  <a:cubicBezTo>
                    <a:pt x="624" y="162"/>
                    <a:pt x="623" y="163"/>
                    <a:pt x="623" y="163"/>
                  </a:cubicBezTo>
                  <a:cubicBezTo>
                    <a:pt x="626" y="229"/>
                    <a:pt x="626" y="229"/>
                    <a:pt x="626" y="229"/>
                  </a:cubicBezTo>
                  <a:cubicBezTo>
                    <a:pt x="681" y="263"/>
                    <a:pt x="681" y="263"/>
                    <a:pt x="681" y="263"/>
                  </a:cubicBezTo>
                  <a:cubicBezTo>
                    <a:pt x="712" y="283"/>
                    <a:pt x="728" y="320"/>
                    <a:pt x="721" y="355"/>
                  </a:cubicBezTo>
                  <a:cubicBezTo>
                    <a:pt x="716" y="379"/>
                    <a:pt x="716" y="379"/>
                    <a:pt x="716" y="379"/>
                  </a:cubicBezTo>
                  <a:cubicBezTo>
                    <a:pt x="712" y="384"/>
                    <a:pt x="709" y="390"/>
                    <a:pt x="705" y="395"/>
                  </a:cubicBezTo>
                  <a:cubicBezTo>
                    <a:pt x="719" y="375"/>
                    <a:pt x="733" y="354"/>
                    <a:pt x="744" y="333"/>
                  </a:cubicBezTo>
                  <a:cubicBezTo>
                    <a:pt x="744" y="333"/>
                    <a:pt x="744" y="333"/>
                    <a:pt x="744" y="333"/>
                  </a:cubicBezTo>
                  <a:cubicBezTo>
                    <a:pt x="744" y="333"/>
                    <a:pt x="744" y="333"/>
                    <a:pt x="744" y="333"/>
                  </a:cubicBezTo>
                  <a:cubicBezTo>
                    <a:pt x="736" y="349"/>
                    <a:pt x="726" y="366"/>
                    <a:pt x="716" y="381"/>
                  </a:cubicBezTo>
                  <a:cubicBezTo>
                    <a:pt x="708" y="418"/>
                    <a:pt x="708" y="418"/>
                    <a:pt x="708" y="418"/>
                  </a:cubicBezTo>
                  <a:cubicBezTo>
                    <a:pt x="663" y="472"/>
                    <a:pt x="605" y="517"/>
                    <a:pt x="538" y="546"/>
                  </a:cubicBezTo>
                  <a:cubicBezTo>
                    <a:pt x="721" y="466"/>
                    <a:pt x="838" y="272"/>
                    <a:pt x="818" y="69"/>
                  </a:cubicBezTo>
                  <a:cubicBezTo>
                    <a:pt x="809" y="61"/>
                    <a:pt x="800" y="53"/>
                    <a:pt x="790" y="45"/>
                  </a:cubicBezTo>
                  <a:cubicBezTo>
                    <a:pt x="795" y="75"/>
                    <a:pt x="797" y="104"/>
                    <a:pt x="796" y="133"/>
                  </a:cubicBezTo>
                  <a:cubicBezTo>
                    <a:pt x="788" y="178"/>
                    <a:pt x="775" y="222"/>
                    <a:pt x="755" y="265"/>
                  </a:cubicBezTo>
                  <a:cubicBezTo>
                    <a:pt x="755" y="265"/>
                    <a:pt x="755" y="265"/>
                    <a:pt x="755" y="265"/>
                  </a:cubicBezTo>
                  <a:cubicBezTo>
                    <a:pt x="755" y="265"/>
                    <a:pt x="755" y="265"/>
                    <a:pt x="755" y="265"/>
                  </a:cubicBezTo>
                  <a:cubicBezTo>
                    <a:pt x="763" y="232"/>
                    <a:pt x="767" y="197"/>
                    <a:pt x="767" y="162"/>
                  </a:cubicBezTo>
                  <a:cubicBezTo>
                    <a:pt x="767" y="133"/>
                    <a:pt x="764" y="103"/>
                    <a:pt x="759" y="74"/>
                  </a:cubicBezTo>
                  <a:cubicBezTo>
                    <a:pt x="759" y="74"/>
                    <a:pt x="759" y="73"/>
                    <a:pt x="759" y="73"/>
                  </a:cubicBezTo>
                  <a:cubicBezTo>
                    <a:pt x="759" y="73"/>
                    <a:pt x="758" y="73"/>
                    <a:pt x="758" y="73"/>
                  </a:cubicBezTo>
                  <a:cubicBezTo>
                    <a:pt x="758" y="73"/>
                    <a:pt x="758" y="73"/>
                    <a:pt x="758" y="73"/>
                  </a:cubicBezTo>
                  <a:cubicBezTo>
                    <a:pt x="758" y="72"/>
                    <a:pt x="758" y="72"/>
                    <a:pt x="758" y="72"/>
                  </a:cubicBezTo>
                  <a:cubicBezTo>
                    <a:pt x="758" y="72"/>
                    <a:pt x="758" y="72"/>
                    <a:pt x="758" y="72"/>
                  </a:cubicBezTo>
                  <a:cubicBezTo>
                    <a:pt x="758" y="72"/>
                    <a:pt x="758" y="72"/>
                    <a:pt x="758" y="72"/>
                  </a:cubicBezTo>
                  <a:cubicBezTo>
                    <a:pt x="758" y="72"/>
                    <a:pt x="758" y="71"/>
                    <a:pt x="758" y="71"/>
                  </a:cubicBezTo>
                  <a:cubicBezTo>
                    <a:pt x="758" y="71"/>
                    <a:pt x="758" y="71"/>
                    <a:pt x="758" y="71"/>
                  </a:cubicBezTo>
                  <a:cubicBezTo>
                    <a:pt x="758" y="71"/>
                    <a:pt x="758" y="71"/>
                    <a:pt x="758" y="71"/>
                  </a:cubicBezTo>
                  <a:cubicBezTo>
                    <a:pt x="758" y="71"/>
                    <a:pt x="758" y="71"/>
                    <a:pt x="758" y="70"/>
                  </a:cubicBezTo>
                  <a:cubicBezTo>
                    <a:pt x="758" y="70"/>
                    <a:pt x="758" y="70"/>
                    <a:pt x="758" y="70"/>
                  </a:cubicBezTo>
                  <a:cubicBezTo>
                    <a:pt x="758" y="70"/>
                    <a:pt x="758" y="70"/>
                    <a:pt x="758" y="70"/>
                  </a:cubicBezTo>
                  <a:cubicBezTo>
                    <a:pt x="758" y="70"/>
                    <a:pt x="758" y="69"/>
                    <a:pt x="758" y="69"/>
                  </a:cubicBezTo>
                  <a:cubicBezTo>
                    <a:pt x="754" y="51"/>
                    <a:pt x="749" y="32"/>
                    <a:pt x="743" y="14"/>
                  </a:cubicBezTo>
                  <a:cubicBezTo>
                    <a:pt x="739" y="12"/>
                    <a:pt x="735" y="10"/>
                    <a:pt x="731" y="8"/>
                  </a:cubicBezTo>
                  <a:moveTo>
                    <a:pt x="329" y="252"/>
                  </a:moveTo>
                  <a:cubicBezTo>
                    <a:pt x="327" y="252"/>
                    <a:pt x="325" y="251"/>
                    <a:pt x="324" y="249"/>
                  </a:cubicBezTo>
                  <a:cubicBezTo>
                    <a:pt x="322" y="246"/>
                    <a:pt x="322" y="242"/>
                    <a:pt x="325" y="240"/>
                  </a:cubicBezTo>
                  <a:cubicBezTo>
                    <a:pt x="361" y="214"/>
                    <a:pt x="361" y="214"/>
                    <a:pt x="361" y="214"/>
                  </a:cubicBezTo>
                  <a:cubicBezTo>
                    <a:pt x="362" y="213"/>
                    <a:pt x="364" y="213"/>
                    <a:pt x="365" y="213"/>
                  </a:cubicBezTo>
                  <a:cubicBezTo>
                    <a:pt x="367" y="213"/>
                    <a:pt x="369" y="214"/>
                    <a:pt x="371" y="216"/>
                  </a:cubicBezTo>
                  <a:cubicBezTo>
                    <a:pt x="373" y="219"/>
                    <a:pt x="372" y="223"/>
                    <a:pt x="369" y="225"/>
                  </a:cubicBezTo>
                  <a:cubicBezTo>
                    <a:pt x="333" y="251"/>
                    <a:pt x="333" y="251"/>
                    <a:pt x="333" y="251"/>
                  </a:cubicBezTo>
                  <a:cubicBezTo>
                    <a:pt x="332" y="252"/>
                    <a:pt x="331" y="252"/>
                    <a:pt x="329" y="252"/>
                  </a:cubicBezTo>
                  <a:moveTo>
                    <a:pt x="313" y="231"/>
                  </a:moveTo>
                  <a:cubicBezTo>
                    <a:pt x="312" y="231"/>
                    <a:pt x="311" y="231"/>
                    <a:pt x="310" y="231"/>
                  </a:cubicBezTo>
                  <a:cubicBezTo>
                    <a:pt x="307" y="229"/>
                    <a:pt x="306" y="225"/>
                    <a:pt x="307" y="222"/>
                  </a:cubicBezTo>
                  <a:cubicBezTo>
                    <a:pt x="327" y="182"/>
                    <a:pt x="327" y="182"/>
                    <a:pt x="327" y="182"/>
                  </a:cubicBezTo>
                  <a:cubicBezTo>
                    <a:pt x="328" y="180"/>
                    <a:pt x="331" y="179"/>
                    <a:pt x="333" y="179"/>
                  </a:cubicBezTo>
                  <a:cubicBezTo>
                    <a:pt x="334" y="179"/>
                    <a:pt x="335" y="179"/>
                    <a:pt x="336" y="179"/>
                  </a:cubicBezTo>
                  <a:cubicBezTo>
                    <a:pt x="339" y="181"/>
                    <a:pt x="341" y="185"/>
                    <a:pt x="339" y="188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318" y="230"/>
                    <a:pt x="316" y="231"/>
                    <a:pt x="313" y="231"/>
                  </a:cubicBezTo>
                  <a:moveTo>
                    <a:pt x="286" y="231"/>
                  </a:moveTo>
                  <a:cubicBezTo>
                    <a:pt x="283" y="231"/>
                    <a:pt x="280" y="228"/>
                    <a:pt x="280" y="224"/>
                  </a:cubicBezTo>
                  <a:cubicBezTo>
                    <a:pt x="278" y="180"/>
                    <a:pt x="278" y="180"/>
                    <a:pt x="278" y="180"/>
                  </a:cubicBezTo>
                  <a:cubicBezTo>
                    <a:pt x="278" y="176"/>
                    <a:pt x="281" y="173"/>
                    <a:pt x="285" y="173"/>
                  </a:cubicBezTo>
                  <a:cubicBezTo>
                    <a:pt x="285" y="173"/>
                    <a:pt x="285" y="173"/>
                    <a:pt x="285" y="173"/>
                  </a:cubicBezTo>
                  <a:cubicBezTo>
                    <a:pt x="289" y="173"/>
                    <a:pt x="292" y="176"/>
                    <a:pt x="292" y="180"/>
                  </a:cubicBezTo>
                  <a:cubicBezTo>
                    <a:pt x="293" y="224"/>
                    <a:pt x="293" y="224"/>
                    <a:pt x="293" y="224"/>
                  </a:cubicBezTo>
                  <a:cubicBezTo>
                    <a:pt x="293" y="228"/>
                    <a:pt x="290" y="231"/>
                    <a:pt x="287" y="231"/>
                  </a:cubicBezTo>
                  <a:cubicBezTo>
                    <a:pt x="287" y="231"/>
                    <a:pt x="286" y="231"/>
                    <a:pt x="286" y="231"/>
                  </a:cubicBezTo>
                  <a:moveTo>
                    <a:pt x="377" y="0"/>
                  </a:moveTo>
                  <a:cubicBezTo>
                    <a:pt x="289" y="41"/>
                    <a:pt x="219" y="113"/>
                    <a:pt x="179" y="202"/>
                  </a:cubicBezTo>
                  <a:cubicBezTo>
                    <a:pt x="161" y="189"/>
                    <a:pt x="138" y="181"/>
                    <a:pt x="113" y="181"/>
                  </a:cubicBezTo>
                  <a:cubicBezTo>
                    <a:pt x="51" y="181"/>
                    <a:pt x="0" y="231"/>
                    <a:pt x="0" y="294"/>
                  </a:cubicBezTo>
                  <a:cubicBezTo>
                    <a:pt x="0" y="294"/>
                    <a:pt x="0" y="295"/>
                    <a:pt x="0" y="296"/>
                  </a:cubicBezTo>
                  <a:cubicBezTo>
                    <a:pt x="129" y="296"/>
                    <a:pt x="129" y="296"/>
                    <a:pt x="129" y="296"/>
                  </a:cubicBezTo>
                  <a:cubicBezTo>
                    <a:pt x="162" y="296"/>
                    <a:pt x="162" y="296"/>
                    <a:pt x="162" y="296"/>
                  </a:cubicBezTo>
                  <a:cubicBezTo>
                    <a:pt x="173" y="296"/>
                    <a:pt x="182" y="302"/>
                    <a:pt x="185" y="312"/>
                  </a:cubicBezTo>
                  <a:cubicBezTo>
                    <a:pt x="277" y="570"/>
                    <a:pt x="277" y="570"/>
                    <a:pt x="277" y="570"/>
                  </a:cubicBezTo>
                  <a:cubicBezTo>
                    <a:pt x="324" y="570"/>
                    <a:pt x="324" y="570"/>
                    <a:pt x="324" y="570"/>
                  </a:cubicBezTo>
                  <a:cubicBezTo>
                    <a:pt x="322" y="568"/>
                    <a:pt x="321" y="566"/>
                    <a:pt x="320" y="563"/>
                  </a:cubicBezTo>
                  <a:cubicBezTo>
                    <a:pt x="312" y="557"/>
                    <a:pt x="305" y="548"/>
                    <a:pt x="302" y="538"/>
                  </a:cubicBezTo>
                  <a:cubicBezTo>
                    <a:pt x="241" y="343"/>
                    <a:pt x="241" y="343"/>
                    <a:pt x="241" y="343"/>
                  </a:cubicBezTo>
                  <a:cubicBezTo>
                    <a:pt x="237" y="328"/>
                    <a:pt x="243" y="312"/>
                    <a:pt x="257" y="305"/>
                  </a:cubicBezTo>
                  <a:cubicBezTo>
                    <a:pt x="259" y="297"/>
                    <a:pt x="262" y="285"/>
                    <a:pt x="261" y="278"/>
                  </a:cubicBezTo>
                  <a:cubicBezTo>
                    <a:pt x="260" y="266"/>
                    <a:pt x="250" y="262"/>
                    <a:pt x="256" y="253"/>
                  </a:cubicBezTo>
                  <a:cubicBezTo>
                    <a:pt x="257" y="251"/>
                    <a:pt x="259" y="250"/>
                    <a:pt x="261" y="250"/>
                  </a:cubicBezTo>
                  <a:cubicBezTo>
                    <a:pt x="267" y="250"/>
                    <a:pt x="275" y="258"/>
                    <a:pt x="277" y="268"/>
                  </a:cubicBezTo>
                  <a:cubicBezTo>
                    <a:pt x="279" y="279"/>
                    <a:pt x="276" y="296"/>
                    <a:pt x="275" y="301"/>
                  </a:cubicBezTo>
                  <a:cubicBezTo>
                    <a:pt x="279" y="302"/>
                    <a:pt x="283" y="303"/>
                    <a:pt x="286" y="305"/>
                  </a:cubicBezTo>
                  <a:cubicBezTo>
                    <a:pt x="296" y="287"/>
                    <a:pt x="296" y="287"/>
                    <a:pt x="296" y="287"/>
                  </a:cubicBezTo>
                  <a:cubicBezTo>
                    <a:pt x="298" y="284"/>
                    <a:pt x="301" y="282"/>
                    <a:pt x="304" y="282"/>
                  </a:cubicBezTo>
                  <a:cubicBezTo>
                    <a:pt x="306" y="282"/>
                    <a:pt x="308" y="282"/>
                    <a:pt x="309" y="283"/>
                  </a:cubicBezTo>
                  <a:cubicBezTo>
                    <a:pt x="314" y="285"/>
                    <a:pt x="315" y="291"/>
                    <a:pt x="313" y="296"/>
                  </a:cubicBezTo>
                  <a:cubicBezTo>
                    <a:pt x="301" y="318"/>
                    <a:pt x="301" y="318"/>
                    <a:pt x="301" y="318"/>
                  </a:cubicBezTo>
                  <a:cubicBezTo>
                    <a:pt x="302" y="320"/>
                    <a:pt x="303" y="322"/>
                    <a:pt x="303" y="324"/>
                  </a:cubicBezTo>
                  <a:cubicBezTo>
                    <a:pt x="347" y="466"/>
                    <a:pt x="347" y="466"/>
                    <a:pt x="347" y="466"/>
                  </a:cubicBezTo>
                  <a:cubicBezTo>
                    <a:pt x="359" y="452"/>
                    <a:pt x="359" y="452"/>
                    <a:pt x="359" y="452"/>
                  </a:cubicBezTo>
                  <a:cubicBezTo>
                    <a:pt x="360" y="450"/>
                    <a:pt x="361" y="450"/>
                    <a:pt x="363" y="450"/>
                  </a:cubicBezTo>
                  <a:cubicBezTo>
                    <a:pt x="364" y="450"/>
                    <a:pt x="365" y="450"/>
                    <a:pt x="366" y="451"/>
                  </a:cubicBezTo>
                  <a:cubicBezTo>
                    <a:pt x="367" y="452"/>
                    <a:pt x="367" y="452"/>
                    <a:pt x="367" y="452"/>
                  </a:cubicBezTo>
                  <a:cubicBezTo>
                    <a:pt x="445" y="293"/>
                    <a:pt x="445" y="293"/>
                    <a:pt x="445" y="293"/>
                  </a:cubicBezTo>
                  <a:cubicBezTo>
                    <a:pt x="446" y="288"/>
                    <a:pt x="446" y="288"/>
                    <a:pt x="446" y="288"/>
                  </a:cubicBezTo>
                  <a:cubicBezTo>
                    <a:pt x="496" y="252"/>
                    <a:pt x="496" y="252"/>
                    <a:pt x="496" y="252"/>
                  </a:cubicBezTo>
                  <a:cubicBezTo>
                    <a:pt x="506" y="244"/>
                    <a:pt x="506" y="244"/>
                    <a:pt x="506" y="244"/>
                  </a:cubicBezTo>
                  <a:cubicBezTo>
                    <a:pt x="505" y="228"/>
                    <a:pt x="505" y="228"/>
                    <a:pt x="505" y="228"/>
                  </a:cubicBezTo>
                  <a:cubicBezTo>
                    <a:pt x="502" y="228"/>
                    <a:pt x="499" y="229"/>
                    <a:pt x="496" y="229"/>
                  </a:cubicBezTo>
                  <a:cubicBezTo>
                    <a:pt x="426" y="229"/>
                    <a:pt x="399" y="163"/>
                    <a:pt x="386" y="94"/>
                  </a:cubicBezTo>
                  <a:cubicBezTo>
                    <a:pt x="379" y="55"/>
                    <a:pt x="377" y="24"/>
                    <a:pt x="377" y="0"/>
                  </a:cubicBezTo>
                </a:path>
              </a:pathLst>
            </a:custGeom>
            <a:solidFill>
              <a:srgbClr val="F16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ṥľiďé">
              <a:extLst>
                <a:ext uri="{FF2B5EF4-FFF2-40B4-BE49-F238E27FC236}">
                  <a16:creationId xmlns:a16="http://schemas.microsoft.com/office/drawing/2014/main" id="{57D75BDA-CC55-45BE-9A08-0E8161ADB7DD}"/>
                </a:ext>
              </a:extLst>
            </p:cNvPr>
            <p:cNvSpPr/>
            <p:nvPr/>
          </p:nvSpPr>
          <p:spPr bwMode="auto">
            <a:xfrm>
              <a:off x="7315465" y="5846714"/>
              <a:ext cx="70659" cy="26802"/>
            </a:xfrm>
            <a:custGeom>
              <a:avLst/>
              <a:gdLst>
                <a:gd name="T0" fmla="*/ 0 w 14"/>
                <a:gd name="T1" fmla="*/ 5 h 5"/>
                <a:gd name="T2" fmla="*/ 0 w 14"/>
                <a:gd name="T3" fmla="*/ 5 h 5"/>
                <a:gd name="T4" fmla="*/ 0 w 14"/>
                <a:gd name="T5" fmla="*/ 5 h 5"/>
                <a:gd name="T6" fmla="*/ 0 w 14"/>
                <a:gd name="T7" fmla="*/ 5 h 5"/>
                <a:gd name="T8" fmla="*/ 1 w 14"/>
                <a:gd name="T9" fmla="*/ 5 h 5"/>
                <a:gd name="T10" fmla="*/ 1 w 14"/>
                <a:gd name="T11" fmla="*/ 5 h 5"/>
                <a:gd name="T12" fmla="*/ 1 w 14"/>
                <a:gd name="T13" fmla="*/ 5 h 5"/>
                <a:gd name="T14" fmla="*/ 1 w 14"/>
                <a:gd name="T15" fmla="*/ 5 h 5"/>
                <a:gd name="T16" fmla="*/ 2 w 14"/>
                <a:gd name="T17" fmla="*/ 4 h 5"/>
                <a:gd name="T18" fmla="*/ 1 w 14"/>
                <a:gd name="T19" fmla="*/ 5 h 5"/>
                <a:gd name="T20" fmla="*/ 2 w 14"/>
                <a:gd name="T21" fmla="*/ 4 h 5"/>
                <a:gd name="T22" fmla="*/ 2 w 14"/>
                <a:gd name="T23" fmla="*/ 4 h 5"/>
                <a:gd name="T24" fmla="*/ 2 w 14"/>
                <a:gd name="T25" fmla="*/ 4 h 5"/>
                <a:gd name="T26" fmla="*/ 2 w 14"/>
                <a:gd name="T27" fmla="*/ 4 h 5"/>
                <a:gd name="T28" fmla="*/ 2 w 14"/>
                <a:gd name="T29" fmla="*/ 4 h 5"/>
                <a:gd name="T30" fmla="*/ 2 w 14"/>
                <a:gd name="T31" fmla="*/ 4 h 5"/>
                <a:gd name="T32" fmla="*/ 3 w 14"/>
                <a:gd name="T33" fmla="*/ 4 h 5"/>
                <a:gd name="T34" fmla="*/ 3 w 14"/>
                <a:gd name="T35" fmla="*/ 4 h 5"/>
                <a:gd name="T36" fmla="*/ 3 w 14"/>
                <a:gd name="T37" fmla="*/ 4 h 5"/>
                <a:gd name="T38" fmla="*/ 3 w 14"/>
                <a:gd name="T39" fmla="*/ 4 h 5"/>
                <a:gd name="T40" fmla="*/ 3 w 14"/>
                <a:gd name="T41" fmla="*/ 4 h 5"/>
                <a:gd name="T42" fmla="*/ 3 w 14"/>
                <a:gd name="T43" fmla="*/ 4 h 5"/>
                <a:gd name="T44" fmla="*/ 3 w 14"/>
                <a:gd name="T45" fmla="*/ 4 h 5"/>
                <a:gd name="T46" fmla="*/ 3 w 14"/>
                <a:gd name="T47" fmla="*/ 4 h 5"/>
                <a:gd name="T48" fmla="*/ 3 w 14"/>
                <a:gd name="T49" fmla="*/ 4 h 5"/>
                <a:gd name="T50" fmla="*/ 3 w 14"/>
                <a:gd name="T51" fmla="*/ 4 h 5"/>
                <a:gd name="T52" fmla="*/ 4 w 14"/>
                <a:gd name="T53" fmla="*/ 4 h 5"/>
                <a:gd name="T54" fmla="*/ 4 w 14"/>
                <a:gd name="T55" fmla="*/ 4 h 5"/>
                <a:gd name="T56" fmla="*/ 4 w 14"/>
                <a:gd name="T57" fmla="*/ 4 h 5"/>
                <a:gd name="T58" fmla="*/ 5 w 14"/>
                <a:gd name="T59" fmla="*/ 3 h 5"/>
                <a:gd name="T60" fmla="*/ 4 w 14"/>
                <a:gd name="T61" fmla="*/ 3 h 5"/>
                <a:gd name="T62" fmla="*/ 5 w 14"/>
                <a:gd name="T63" fmla="*/ 3 h 5"/>
                <a:gd name="T64" fmla="*/ 5 w 14"/>
                <a:gd name="T65" fmla="*/ 3 h 5"/>
                <a:gd name="T66" fmla="*/ 5 w 14"/>
                <a:gd name="T67" fmla="*/ 3 h 5"/>
                <a:gd name="T68" fmla="*/ 5 w 14"/>
                <a:gd name="T69" fmla="*/ 3 h 5"/>
                <a:gd name="T70" fmla="*/ 6 w 14"/>
                <a:gd name="T71" fmla="*/ 3 h 5"/>
                <a:gd name="T72" fmla="*/ 6 w 14"/>
                <a:gd name="T73" fmla="*/ 3 h 5"/>
                <a:gd name="T74" fmla="*/ 6 w 14"/>
                <a:gd name="T75" fmla="*/ 3 h 5"/>
                <a:gd name="T76" fmla="*/ 6 w 14"/>
                <a:gd name="T77" fmla="*/ 3 h 5"/>
                <a:gd name="T78" fmla="*/ 6 w 14"/>
                <a:gd name="T79" fmla="*/ 3 h 5"/>
                <a:gd name="T80" fmla="*/ 6 w 14"/>
                <a:gd name="T81" fmla="*/ 3 h 5"/>
                <a:gd name="T82" fmla="*/ 7 w 14"/>
                <a:gd name="T83" fmla="*/ 2 h 5"/>
                <a:gd name="T84" fmla="*/ 7 w 14"/>
                <a:gd name="T85" fmla="*/ 3 h 5"/>
                <a:gd name="T86" fmla="*/ 7 w 14"/>
                <a:gd name="T87" fmla="*/ 2 h 5"/>
                <a:gd name="T88" fmla="*/ 8 w 14"/>
                <a:gd name="T89" fmla="*/ 2 h 5"/>
                <a:gd name="T90" fmla="*/ 7 w 14"/>
                <a:gd name="T91" fmla="*/ 2 h 5"/>
                <a:gd name="T92" fmla="*/ 8 w 14"/>
                <a:gd name="T93" fmla="*/ 2 h 5"/>
                <a:gd name="T94" fmla="*/ 12 w 14"/>
                <a:gd name="T95" fmla="*/ 1 h 5"/>
                <a:gd name="T96" fmla="*/ 12 w 14"/>
                <a:gd name="T97" fmla="*/ 1 h 5"/>
                <a:gd name="T98" fmla="*/ 12 w 14"/>
                <a:gd name="T99" fmla="*/ 1 h 5"/>
                <a:gd name="T100" fmla="*/ 12 w 14"/>
                <a:gd name="T101" fmla="*/ 1 h 5"/>
                <a:gd name="T102" fmla="*/ 12 w 14"/>
                <a:gd name="T103" fmla="*/ 1 h 5"/>
                <a:gd name="T104" fmla="*/ 12 w 14"/>
                <a:gd name="T105" fmla="*/ 1 h 5"/>
                <a:gd name="T106" fmla="*/ 13 w 14"/>
                <a:gd name="T107" fmla="*/ 0 h 5"/>
                <a:gd name="T108" fmla="*/ 13 w 14"/>
                <a:gd name="T109" fmla="*/ 0 h 5"/>
                <a:gd name="T110" fmla="*/ 13 w 14"/>
                <a:gd name="T111" fmla="*/ 0 h 5"/>
                <a:gd name="T112" fmla="*/ 13 w 14"/>
                <a:gd name="T113" fmla="*/ 0 h 5"/>
                <a:gd name="T114" fmla="*/ 13 w 14"/>
                <a:gd name="T115" fmla="*/ 0 h 5"/>
                <a:gd name="T116" fmla="*/ 13 w 14"/>
                <a:gd name="T117" fmla="*/ 0 h 5"/>
                <a:gd name="T118" fmla="*/ 14 w 14"/>
                <a:gd name="T119" fmla="*/ 0 h 5"/>
                <a:gd name="T120" fmla="*/ 14 w 14"/>
                <a:gd name="T121" fmla="*/ 0 h 5"/>
                <a:gd name="T122" fmla="*/ 14 w 14"/>
                <a:gd name="T12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moveTo>
                    <a:pt x="2" y="4"/>
                  </a:moveTo>
                  <a:cubicBezTo>
                    <a:pt x="2" y="4"/>
                    <a:pt x="1" y="5"/>
                    <a:pt x="1" y="5"/>
                  </a:cubicBezTo>
                  <a:cubicBezTo>
                    <a:pt x="1" y="5"/>
                    <a:pt x="2" y="5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moveTo>
                    <a:pt x="5" y="3"/>
                  </a:moveTo>
                  <a:cubicBezTo>
                    <a:pt x="5" y="3"/>
                    <a:pt x="5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moveTo>
                    <a:pt x="6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moveTo>
                    <a:pt x="6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moveTo>
                    <a:pt x="7" y="2"/>
                  </a:move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2"/>
                  </a:cubicBezTo>
                  <a:moveTo>
                    <a:pt x="8" y="2"/>
                  </a:move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8" y="2"/>
                    <a:pt x="8" y="2"/>
                  </a:cubicBezTo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D6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ś1íḋé">
              <a:extLst>
                <a:ext uri="{FF2B5EF4-FFF2-40B4-BE49-F238E27FC236}">
                  <a16:creationId xmlns:a16="http://schemas.microsoft.com/office/drawing/2014/main" id="{CB413228-1926-476A-A90D-8D8811124250}"/>
                </a:ext>
              </a:extLst>
            </p:cNvPr>
            <p:cNvSpPr/>
            <p:nvPr/>
          </p:nvSpPr>
          <p:spPr bwMode="auto">
            <a:xfrm>
              <a:off x="4744965" y="2859575"/>
              <a:ext cx="3705905" cy="3267336"/>
            </a:xfrm>
            <a:custGeom>
              <a:avLst/>
              <a:gdLst>
                <a:gd name="T0" fmla="*/ 405 w 731"/>
                <a:gd name="T1" fmla="*/ 559 h 645"/>
                <a:gd name="T2" fmla="*/ 352 w 731"/>
                <a:gd name="T3" fmla="*/ 518 h 645"/>
                <a:gd name="T4" fmla="*/ 546 w 731"/>
                <a:gd name="T5" fmla="*/ 0 h 645"/>
                <a:gd name="T6" fmla="*/ 496 w 731"/>
                <a:gd name="T7" fmla="*/ 266 h 645"/>
                <a:gd name="T8" fmla="*/ 496 w 731"/>
                <a:gd name="T9" fmla="*/ 289 h 645"/>
                <a:gd name="T10" fmla="*/ 367 w 731"/>
                <a:gd name="T11" fmla="*/ 489 h 645"/>
                <a:gd name="T12" fmla="*/ 359 w 731"/>
                <a:gd name="T13" fmla="*/ 489 h 645"/>
                <a:gd name="T14" fmla="*/ 301 w 731"/>
                <a:gd name="T15" fmla="*/ 355 h 645"/>
                <a:gd name="T16" fmla="*/ 304 w 731"/>
                <a:gd name="T17" fmla="*/ 319 h 645"/>
                <a:gd name="T18" fmla="*/ 275 w 731"/>
                <a:gd name="T19" fmla="*/ 338 h 645"/>
                <a:gd name="T20" fmla="*/ 256 w 731"/>
                <a:gd name="T21" fmla="*/ 290 h 645"/>
                <a:gd name="T22" fmla="*/ 241 w 731"/>
                <a:gd name="T23" fmla="*/ 380 h 645"/>
                <a:gd name="T24" fmla="*/ 324 w 731"/>
                <a:gd name="T25" fmla="*/ 607 h 645"/>
                <a:gd name="T26" fmla="*/ 162 w 731"/>
                <a:gd name="T27" fmla="*/ 333 h 645"/>
                <a:gd name="T28" fmla="*/ 113 w 731"/>
                <a:gd name="T29" fmla="*/ 444 h 645"/>
                <a:gd name="T30" fmla="*/ 217 w 731"/>
                <a:gd name="T31" fmla="*/ 603 h 645"/>
                <a:gd name="T32" fmla="*/ 197 w 731"/>
                <a:gd name="T33" fmla="*/ 600 h 645"/>
                <a:gd name="T34" fmla="*/ 507 w 731"/>
                <a:gd name="T35" fmla="*/ 595 h 645"/>
                <a:gd name="T36" fmla="*/ 508 w 731"/>
                <a:gd name="T37" fmla="*/ 595 h 645"/>
                <a:gd name="T38" fmla="*/ 508 w 731"/>
                <a:gd name="T39" fmla="*/ 595 h 645"/>
                <a:gd name="T40" fmla="*/ 509 w 731"/>
                <a:gd name="T41" fmla="*/ 594 h 645"/>
                <a:gd name="T42" fmla="*/ 510 w 731"/>
                <a:gd name="T43" fmla="*/ 594 h 645"/>
                <a:gd name="T44" fmla="*/ 511 w 731"/>
                <a:gd name="T45" fmla="*/ 594 h 645"/>
                <a:gd name="T46" fmla="*/ 512 w 731"/>
                <a:gd name="T47" fmla="*/ 593 h 645"/>
                <a:gd name="T48" fmla="*/ 513 w 731"/>
                <a:gd name="T49" fmla="*/ 593 h 645"/>
                <a:gd name="T50" fmla="*/ 513 w 731"/>
                <a:gd name="T51" fmla="*/ 593 h 645"/>
                <a:gd name="T52" fmla="*/ 514 w 731"/>
                <a:gd name="T53" fmla="*/ 592 h 645"/>
                <a:gd name="T54" fmla="*/ 519 w 731"/>
                <a:gd name="T55" fmla="*/ 591 h 645"/>
                <a:gd name="T56" fmla="*/ 520 w 731"/>
                <a:gd name="T57" fmla="*/ 590 h 645"/>
                <a:gd name="T58" fmla="*/ 520 w 731"/>
                <a:gd name="T59" fmla="*/ 590 h 645"/>
                <a:gd name="T60" fmla="*/ 530 w 731"/>
                <a:gd name="T61" fmla="*/ 586 h 645"/>
                <a:gd name="T62" fmla="*/ 531 w 731"/>
                <a:gd name="T63" fmla="*/ 586 h 645"/>
                <a:gd name="T64" fmla="*/ 532 w 731"/>
                <a:gd name="T65" fmla="*/ 585 h 645"/>
                <a:gd name="T66" fmla="*/ 533 w 731"/>
                <a:gd name="T67" fmla="*/ 585 h 645"/>
                <a:gd name="T68" fmla="*/ 534 w 731"/>
                <a:gd name="T69" fmla="*/ 584 h 645"/>
                <a:gd name="T70" fmla="*/ 535 w 731"/>
                <a:gd name="T71" fmla="*/ 584 h 645"/>
                <a:gd name="T72" fmla="*/ 536 w 731"/>
                <a:gd name="T73" fmla="*/ 584 h 645"/>
                <a:gd name="T74" fmla="*/ 537 w 731"/>
                <a:gd name="T75" fmla="*/ 583 h 645"/>
                <a:gd name="T76" fmla="*/ 537 w 731"/>
                <a:gd name="T77" fmla="*/ 583 h 645"/>
                <a:gd name="T78" fmla="*/ 708 w 731"/>
                <a:gd name="T79" fmla="*/ 455 h 645"/>
                <a:gd name="T80" fmla="*/ 701 w 731"/>
                <a:gd name="T81" fmla="*/ 439 h 645"/>
                <a:gd name="T82" fmla="*/ 701 w 731"/>
                <a:gd name="T83" fmla="*/ 439 h 645"/>
                <a:gd name="T84" fmla="*/ 705 w 731"/>
                <a:gd name="T85" fmla="*/ 432 h 645"/>
                <a:gd name="T86" fmla="*/ 721 w 731"/>
                <a:gd name="T87" fmla="*/ 392 h 645"/>
                <a:gd name="T88" fmla="*/ 623 w 731"/>
                <a:gd name="T89" fmla="*/ 200 h 645"/>
                <a:gd name="T90" fmla="*/ 629 w 731"/>
                <a:gd name="T91" fmla="*/ 193 h 645"/>
                <a:gd name="T92" fmla="*/ 635 w 731"/>
                <a:gd name="T93" fmla="*/ 184 h 645"/>
                <a:gd name="T94" fmla="*/ 640 w 731"/>
                <a:gd name="T95" fmla="*/ 175 h 645"/>
                <a:gd name="T96" fmla="*/ 645 w 731"/>
                <a:gd name="T97" fmla="*/ 165 h 645"/>
                <a:gd name="T98" fmla="*/ 649 w 731"/>
                <a:gd name="T99" fmla="*/ 155 h 645"/>
                <a:gd name="T100" fmla="*/ 651 w 731"/>
                <a:gd name="T101" fmla="*/ 149 h 645"/>
                <a:gd name="T102" fmla="*/ 671 w 731"/>
                <a:gd name="T103" fmla="*/ 175 h 645"/>
                <a:gd name="T104" fmla="*/ 658 w 731"/>
                <a:gd name="T105" fmla="*/ 145 h 645"/>
                <a:gd name="T106" fmla="*/ 682 w 731"/>
                <a:gd name="T107" fmla="*/ 147 h 645"/>
                <a:gd name="T108" fmla="*/ 697 w 731"/>
                <a:gd name="T109" fmla="*/ 113 h 645"/>
                <a:gd name="T110" fmla="*/ 731 w 731"/>
                <a:gd name="T111" fmla="*/ 45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31" h="645">
                  <a:moveTo>
                    <a:pt x="405" y="559"/>
                  </a:moveTo>
                  <a:cubicBezTo>
                    <a:pt x="404" y="559"/>
                    <a:pt x="404" y="559"/>
                    <a:pt x="404" y="559"/>
                  </a:cubicBezTo>
                  <a:cubicBezTo>
                    <a:pt x="405" y="559"/>
                    <a:pt x="405" y="559"/>
                    <a:pt x="405" y="559"/>
                  </a:cubicBezTo>
                  <a:cubicBezTo>
                    <a:pt x="405" y="559"/>
                    <a:pt x="405" y="559"/>
                    <a:pt x="405" y="559"/>
                  </a:cubicBezTo>
                  <a:moveTo>
                    <a:pt x="352" y="518"/>
                  </a:moveTo>
                  <a:cubicBezTo>
                    <a:pt x="352" y="518"/>
                    <a:pt x="352" y="518"/>
                    <a:pt x="352" y="518"/>
                  </a:cubicBezTo>
                  <a:cubicBezTo>
                    <a:pt x="352" y="518"/>
                    <a:pt x="352" y="518"/>
                    <a:pt x="352" y="518"/>
                  </a:cubicBezTo>
                  <a:cubicBezTo>
                    <a:pt x="352" y="518"/>
                    <a:pt x="352" y="518"/>
                    <a:pt x="352" y="518"/>
                  </a:cubicBezTo>
                  <a:moveTo>
                    <a:pt x="546" y="0"/>
                  </a:moveTo>
                  <a:cubicBezTo>
                    <a:pt x="486" y="0"/>
                    <a:pt x="429" y="13"/>
                    <a:pt x="377" y="37"/>
                  </a:cubicBezTo>
                  <a:cubicBezTo>
                    <a:pt x="377" y="61"/>
                    <a:pt x="379" y="92"/>
                    <a:pt x="386" y="131"/>
                  </a:cubicBezTo>
                  <a:cubicBezTo>
                    <a:pt x="399" y="200"/>
                    <a:pt x="426" y="266"/>
                    <a:pt x="496" y="266"/>
                  </a:cubicBezTo>
                  <a:cubicBezTo>
                    <a:pt x="499" y="266"/>
                    <a:pt x="502" y="265"/>
                    <a:pt x="505" y="265"/>
                  </a:cubicBezTo>
                  <a:cubicBezTo>
                    <a:pt x="506" y="281"/>
                    <a:pt x="506" y="281"/>
                    <a:pt x="506" y="281"/>
                  </a:cubicBezTo>
                  <a:cubicBezTo>
                    <a:pt x="496" y="289"/>
                    <a:pt x="496" y="289"/>
                    <a:pt x="496" y="289"/>
                  </a:cubicBezTo>
                  <a:cubicBezTo>
                    <a:pt x="446" y="325"/>
                    <a:pt x="446" y="325"/>
                    <a:pt x="446" y="325"/>
                  </a:cubicBezTo>
                  <a:cubicBezTo>
                    <a:pt x="445" y="330"/>
                    <a:pt x="445" y="330"/>
                    <a:pt x="445" y="330"/>
                  </a:cubicBezTo>
                  <a:cubicBezTo>
                    <a:pt x="367" y="489"/>
                    <a:pt x="367" y="489"/>
                    <a:pt x="367" y="489"/>
                  </a:cubicBezTo>
                  <a:cubicBezTo>
                    <a:pt x="366" y="488"/>
                    <a:pt x="366" y="488"/>
                    <a:pt x="366" y="488"/>
                  </a:cubicBezTo>
                  <a:cubicBezTo>
                    <a:pt x="365" y="487"/>
                    <a:pt x="364" y="487"/>
                    <a:pt x="363" y="487"/>
                  </a:cubicBezTo>
                  <a:cubicBezTo>
                    <a:pt x="361" y="487"/>
                    <a:pt x="360" y="487"/>
                    <a:pt x="359" y="489"/>
                  </a:cubicBezTo>
                  <a:cubicBezTo>
                    <a:pt x="347" y="503"/>
                    <a:pt x="347" y="503"/>
                    <a:pt x="347" y="503"/>
                  </a:cubicBezTo>
                  <a:cubicBezTo>
                    <a:pt x="303" y="361"/>
                    <a:pt x="303" y="361"/>
                    <a:pt x="303" y="361"/>
                  </a:cubicBezTo>
                  <a:cubicBezTo>
                    <a:pt x="303" y="359"/>
                    <a:pt x="302" y="357"/>
                    <a:pt x="301" y="355"/>
                  </a:cubicBezTo>
                  <a:cubicBezTo>
                    <a:pt x="313" y="333"/>
                    <a:pt x="313" y="333"/>
                    <a:pt x="313" y="333"/>
                  </a:cubicBezTo>
                  <a:cubicBezTo>
                    <a:pt x="315" y="328"/>
                    <a:pt x="314" y="322"/>
                    <a:pt x="309" y="320"/>
                  </a:cubicBezTo>
                  <a:cubicBezTo>
                    <a:pt x="308" y="319"/>
                    <a:pt x="306" y="319"/>
                    <a:pt x="304" y="319"/>
                  </a:cubicBezTo>
                  <a:cubicBezTo>
                    <a:pt x="301" y="319"/>
                    <a:pt x="298" y="321"/>
                    <a:pt x="296" y="324"/>
                  </a:cubicBezTo>
                  <a:cubicBezTo>
                    <a:pt x="286" y="342"/>
                    <a:pt x="286" y="342"/>
                    <a:pt x="286" y="342"/>
                  </a:cubicBezTo>
                  <a:cubicBezTo>
                    <a:pt x="283" y="340"/>
                    <a:pt x="279" y="339"/>
                    <a:pt x="275" y="338"/>
                  </a:cubicBezTo>
                  <a:cubicBezTo>
                    <a:pt x="276" y="333"/>
                    <a:pt x="279" y="316"/>
                    <a:pt x="277" y="305"/>
                  </a:cubicBezTo>
                  <a:cubicBezTo>
                    <a:pt x="275" y="295"/>
                    <a:pt x="267" y="287"/>
                    <a:pt x="261" y="287"/>
                  </a:cubicBezTo>
                  <a:cubicBezTo>
                    <a:pt x="259" y="287"/>
                    <a:pt x="257" y="288"/>
                    <a:pt x="256" y="290"/>
                  </a:cubicBezTo>
                  <a:cubicBezTo>
                    <a:pt x="250" y="299"/>
                    <a:pt x="260" y="303"/>
                    <a:pt x="261" y="315"/>
                  </a:cubicBezTo>
                  <a:cubicBezTo>
                    <a:pt x="262" y="322"/>
                    <a:pt x="259" y="334"/>
                    <a:pt x="257" y="342"/>
                  </a:cubicBezTo>
                  <a:cubicBezTo>
                    <a:pt x="243" y="349"/>
                    <a:pt x="237" y="365"/>
                    <a:pt x="241" y="380"/>
                  </a:cubicBezTo>
                  <a:cubicBezTo>
                    <a:pt x="302" y="575"/>
                    <a:pt x="302" y="575"/>
                    <a:pt x="302" y="575"/>
                  </a:cubicBezTo>
                  <a:cubicBezTo>
                    <a:pt x="305" y="585"/>
                    <a:pt x="312" y="594"/>
                    <a:pt x="320" y="600"/>
                  </a:cubicBezTo>
                  <a:cubicBezTo>
                    <a:pt x="321" y="603"/>
                    <a:pt x="322" y="605"/>
                    <a:pt x="324" y="607"/>
                  </a:cubicBezTo>
                  <a:cubicBezTo>
                    <a:pt x="277" y="607"/>
                    <a:pt x="277" y="607"/>
                    <a:pt x="277" y="607"/>
                  </a:cubicBezTo>
                  <a:cubicBezTo>
                    <a:pt x="185" y="349"/>
                    <a:pt x="185" y="349"/>
                    <a:pt x="185" y="349"/>
                  </a:cubicBezTo>
                  <a:cubicBezTo>
                    <a:pt x="182" y="339"/>
                    <a:pt x="173" y="333"/>
                    <a:pt x="162" y="333"/>
                  </a:cubicBezTo>
                  <a:cubicBezTo>
                    <a:pt x="129" y="333"/>
                    <a:pt x="129" y="333"/>
                    <a:pt x="129" y="333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1" y="394"/>
                    <a:pt x="51" y="444"/>
                    <a:pt x="113" y="444"/>
                  </a:cubicBezTo>
                  <a:cubicBezTo>
                    <a:pt x="125" y="444"/>
                    <a:pt x="136" y="442"/>
                    <a:pt x="147" y="438"/>
                  </a:cubicBezTo>
                  <a:cubicBezTo>
                    <a:pt x="152" y="495"/>
                    <a:pt x="169" y="548"/>
                    <a:pt x="195" y="595"/>
                  </a:cubicBezTo>
                  <a:cubicBezTo>
                    <a:pt x="202" y="598"/>
                    <a:pt x="210" y="600"/>
                    <a:pt x="217" y="603"/>
                  </a:cubicBezTo>
                  <a:cubicBezTo>
                    <a:pt x="217" y="603"/>
                    <a:pt x="217" y="603"/>
                    <a:pt x="217" y="603"/>
                  </a:cubicBezTo>
                  <a:cubicBezTo>
                    <a:pt x="217" y="603"/>
                    <a:pt x="217" y="603"/>
                    <a:pt x="217" y="603"/>
                  </a:cubicBezTo>
                  <a:cubicBezTo>
                    <a:pt x="211" y="602"/>
                    <a:pt x="204" y="601"/>
                    <a:pt x="197" y="600"/>
                  </a:cubicBezTo>
                  <a:cubicBezTo>
                    <a:pt x="206" y="614"/>
                    <a:pt x="215" y="628"/>
                    <a:pt x="225" y="642"/>
                  </a:cubicBezTo>
                  <a:cubicBezTo>
                    <a:pt x="244" y="644"/>
                    <a:pt x="264" y="645"/>
                    <a:pt x="284" y="645"/>
                  </a:cubicBezTo>
                  <a:cubicBezTo>
                    <a:pt x="360" y="645"/>
                    <a:pt x="437" y="628"/>
                    <a:pt x="507" y="595"/>
                  </a:cubicBezTo>
                  <a:cubicBezTo>
                    <a:pt x="507" y="595"/>
                    <a:pt x="507" y="595"/>
                    <a:pt x="507" y="595"/>
                  </a:cubicBezTo>
                  <a:cubicBezTo>
                    <a:pt x="507" y="595"/>
                    <a:pt x="507" y="595"/>
                    <a:pt x="507" y="595"/>
                  </a:cubicBezTo>
                  <a:cubicBezTo>
                    <a:pt x="507" y="595"/>
                    <a:pt x="508" y="595"/>
                    <a:pt x="508" y="595"/>
                  </a:cubicBezTo>
                  <a:cubicBezTo>
                    <a:pt x="508" y="595"/>
                    <a:pt x="508" y="595"/>
                    <a:pt x="508" y="595"/>
                  </a:cubicBezTo>
                  <a:cubicBezTo>
                    <a:pt x="508" y="595"/>
                    <a:pt x="508" y="595"/>
                    <a:pt x="508" y="595"/>
                  </a:cubicBezTo>
                  <a:cubicBezTo>
                    <a:pt x="508" y="595"/>
                    <a:pt x="508" y="595"/>
                    <a:pt x="508" y="595"/>
                  </a:cubicBezTo>
                  <a:cubicBezTo>
                    <a:pt x="508" y="595"/>
                    <a:pt x="508" y="595"/>
                    <a:pt x="508" y="595"/>
                  </a:cubicBezTo>
                  <a:cubicBezTo>
                    <a:pt x="508" y="595"/>
                    <a:pt x="509" y="594"/>
                    <a:pt x="509" y="594"/>
                  </a:cubicBezTo>
                  <a:cubicBezTo>
                    <a:pt x="509" y="594"/>
                    <a:pt x="509" y="594"/>
                    <a:pt x="509" y="594"/>
                  </a:cubicBezTo>
                  <a:cubicBezTo>
                    <a:pt x="509" y="594"/>
                    <a:pt x="509" y="594"/>
                    <a:pt x="509" y="594"/>
                  </a:cubicBezTo>
                  <a:cubicBezTo>
                    <a:pt x="509" y="594"/>
                    <a:pt x="510" y="594"/>
                    <a:pt x="510" y="594"/>
                  </a:cubicBezTo>
                  <a:cubicBezTo>
                    <a:pt x="510" y="594"/>
                    <a:pt x="510" y="594"/>
                    <a:pt x="510" y="594"/>
                  </a:cubicBezTo>
                  <a:cubicBezTo>
                    <a:pt x="510" y="594"/>
                    <a:pt x="510" y="594"/>
                    <a:pt x="510" y="594"/>
                  </a:cubicBezTo>
                  <a:cubicBezTo>
                    <a:pt x="510" y="594"/>
                    <a:pt x="510" y="594"/>
                    <a:pt x="510" y="594"/>
                  </a:cubicBezTo>
                  <a:cubicBezTo>
                    <a:pt x="511" y="594"/>
                    <a:pt x="511" y="594"/>
                    <a:pt x="511" y="594"/>
                  </a:cubicBezTo>
                  <a:cubicBezTo>
                    <a:pt x="511" y="594"/>
                    <a:pt x="511" y="594"/>
                    <a:pt x="511" y="594"/>
                  </a:cubicBezTo>
                  <a:cubicBezTo>
                    <a:pt x="511" y="594"/>
                    <a:pt x="511" y="593"/>
                    <a:pt x="511" y="593"/>
                  </a:cubicBezTo>
                  <a:cubicBezTo>
                    <a:pt x="512" y="593"/>
                    <a:pt x="512" y="593"/>
                    <a:pt x="512" y="593"/>
                  </a:cubicBezTo>
                  <a:cubicBezTo>
                    <a:pt x="512" y="593"/>
                    <a:pt x="512" y="593"/>
                    <a:pt x="512" y="593"/>
                  </a:cubicBezTo>
                  <a:cubicBezTo>
                    <a:pt x="512" y="593"/>
                    <a:pt x="512" y="593"/>
                    <a:pt x="512" y="593"/>
                  </a:cubicBezTo>
                  <a:cubicBezTo>
                    <a:pt x="512" y="593"/>
                    <a:pt x="513" y="593"/>
                    <a:pt x="513" y="593"/>
                  </a:cubicBezTo>
                  <a:cubicBezTo>
                    <a:pt x="513" y="593"/>
                    <a:pt x="513" y="593"/>
                    <a:pt x="513" y="593"/>
                  </a:cubicBezTo>
                  <a:cubicBezTo>
                    <a:pt x="513" y="593"/>
                    <a:pt x="513" y="593"/>
                    <a:pt x="513" y="593"/>
                  </a:cubicBezTo>
                  <a:cubicBezTo>
                    <a:pt x="513" y="593"/>
                    <a:pt x="513" y="593"/>
                    <a:pt x="513" y="593"/>
                  </a:cubicBezTo>
                  <a:cubicBezTo>
                    <a:pt x="514" y="593"/>
                    <a:pt x="514" y="593"/>
                    <a:pt x="514" y="593"/>
                  </a:cubicBezTo>
                  <a:cubicBezTo>
                    <a:pt x="514" y="593"/>
                    <a:pt x="514" y="593"/>
                    <a:pt x="514" y="592"/>
                  </a:cubicBezTo>
                  <a:cubicBezTo>
                    <a:pt x="514" y="592"/>
                    <a:pt x="514" y="592"/>
                    <a:pt x="514" y="592"/>
                  </a:cubicBezTo>
                  <a:cubicBezTo>
                    <a:pt x="514" y="592"/>
                    <a:pt x="515" y="592"/>
                    <a:pt x="515" y="592"/>
                  </a:cubicBezTo>
                  <a:cubicBezTo>
                    <a:pt x="516" y="592"/>
                    <a:pt x="517" y="591"/>
                    <a:pt x="519" y="591"/>
                  </a:cubicBezTo>
                  <a:cubicBezTo>
                    <a:pt x="519" y="591"/>
                    <a:pt x="519" y="591"/>
                    <a:pt x="519" y="591"/>
                  </a:cubicBezTo>
                  <a:cubicBezTo>
                    <a:pt x="519" y="591"/>
                    <a:pt x="519" y="591"/>
                    <a:pt x="519" y="591"/>
                  </a:cubicBezTo>
                  <a:cubicBezTo>
                    <a:pt x="519" y="591"/>
                    <a:pt x="519" y="591"/>
                    <a:pt x="519" y="591"/>
                  </a:cubicBezTo>
                  <a:cubicBezTo>
                    <a:pt x="519" y="590"/>
                    <a:pt x="520" y="590"/>
                    <a:pt x="520" y="590"/>
                  </a:cubicBezTo>
                  <a:cubicBezTo>
                    <a:pt x="520" y="590"/>
                    <a:pt x="520" y="590"/>
                    <a:pt x="520" y="590"/>
                  </a:cubicBezTo>
                  <a:cubicBezTo>
                    <a:pt x="520" y="590"/>
                    <a:pt x="520" y="590"/>
                    <a:pt x="520" y="590"/>
                  </a:cubicBezTo>
                  <a:cubicBezTo>
                    <a:pt x="520" y="590"/>
                    <a:pt x="520" y="590"/>
                    <a:pt x="520" y="590"/>
                  </a:cubicBezTo>
                  <a:cubicBezTo>
                    <a:pt x="520" y="590"/>
                    <a:pt x="521" y="590"/>
                    <a:pt x="521" y="590"/>
                  </a:cubicBezTo>
                  <a:cubicBezTo>
                    <a:pt x="521" y="590"/>
                    <a:pt x="521" y="590"/>
                    <a:pt x="521" y="590"/>
                  </a:cubicBezTo>
                  <a:cubicBezTo>
                    <a:pt x="524" y="589"/>
                    <a:pt x="527" y="587"/>
                    <a:pt x="530" y="586"/>
                  </a:cubicBezTo>
                  <a:cubicBezTo>
                    <a:pt x="530" y="586"/>
                    <a:pt x="530" y="586"/>
                    <a:pt x="530" y="586"/>
                  </a:cubicBezTo>
                  <a:cubicBezTo>
                    <a:pt x="530" y="586"/>
                    <a:pt x="530" y="586"/>
                    <a:pt x="531" y="586"/>
                  </a:cubicBezTo>
                  <a:cubicBezTo>
                    <a:pt x="531" y="586"/>
                    <a:pt x="531" y="586"/>
                    <a:pt x="531" y="586"/>
                  </a:cubicBezTo>
                  <a:cubicBezTo>
                    <a:pt x="531" y="586"/>
                    <a:pt x="531" y="586"/>
                    <a:pt x="531" y="586"/>
                  </a:cubicBezTo>
                  <a:cubicBezTo>
                    <a:pt x="531" y="586"/>
                    <a:pt x="531" y="586"/>
                    <a:pt x="531" y="586"/>
                  </a:cubicBezTo>
                  <a:cubicBezTo>
                    <a:pt x="532" y="585"/>
                    <a:pt x="532" y="585"/>
                    <a:pt x="532" y="585"/>
                  </a:cubicBezTo>
                  <a:cubicBezTo>
                    <a:pt x="532" y="585"/>
                    <a:pt x="532" y="585"/>
                    <a:pt x="532" y="585"/>
                  </a:cubicBezTo>
                  <a:cubicBezTo>
                    <a:pt x="533" y="585"/>
                    <a:pt x="533" y="585"/>
                    <a:pt x="533" y="585"/>
                  </a:cubicBezTo>
                  <a:cubicBezTo>
                    <a:pt x="533" y="585"/>
                    <a:pt x="533" y="585"/>
                    <a:pt x="533" y="585"/>
                  </a:cubicBezTo>
                  <a:cubicBezTo>
                    <a:pt x="533" y="585"/>
                    <a:pt x="533" y="585"/>
                    <a:pt x="533" y="585"/>
                  </a:cubicBezTo>
                  <a:cubicBezTo>
                    <a:pt x="533" y="585"/>
                    <a:pt x="534" y="585"/>
                    <a:pt x="534" y="585"/>
                  </a:cubicBezTo>
                  <a:cubicBezTo>
                    <a:pt x="534" y="585"/>
                    <a:pt x="534" y="585"/>
                    <a:pt x="534" y="584"/>
                  </a:cubicBezTo>
                  <a:cubicBezTo>
                    <a:pt x="534" y="584"/>
                    <a:pt x="534" y="584"/>
                    <a:pt x="534" y="584"/>
                  </a:cubicBezTo>
                  <a:cubicBezTo>
                    <a:pt x="534" y="584"/>
                    <a:pt x="534" y="584"/>
                    <a:pt x="535" y="584"/>
                  </a:cubicBezTo>
                  <a:cubicBezTo>
                    <a:pt x="535" y="584"/>
                    <a:pt x="535" y="584"/>
                    <a:pt x="535" y="584"/>
                  </a:cubicBezTo>
                  <a:cubicBezTo>
                    <a:pt x="535" y="584"/>
                    <a:pt x="535" y="584"/>
                    <a:pt x="535" y="584"/>
                  </a:cubicBezTo>
                  <a:cubicBezTo>
                    <a:pt x="535" y="584"/>
                    <a:pt x="535" y="584"/>
                    <a:pt x="535" y="584"/>
                  </a:cubicBezTo>
                  <a:cubicBezTo>
                    <a:pt x="535" y="584"/>
                    <a:pt x="536" y="584"/>
                    <a:pt x="536" y="584"/>
                  </a:cubicBezTo>
                  <a:cubicBezTo>
                    <a:pt x="536" y="584"/>
                    <a:pt x="536" y="584"/>
                    <a:pt x="536" y="584"/>
                  </a:cubicBezTo>
                  <a:cubicBezTo>
                    <a:pt x="536" y="584"/>
                    <a:pt x="536" y="584"/>
                    <a:pt x="536" y="583"/>
                  </a:cubicBezTo>
                  <a:cubicBezTo>
                    <a:pt x="536" y="583"/>
                    <a:pt x="537" y="583"/>
                    <a:pt x="537" y="583"/>
                  </a:cubicBezTo>
                  <a:cubicBezTo>
                    <a:pt x="537" y="583"/>
                    <a:pt x="537" y="583"/>
                    <a:pt x="537" y="583"/>
                  </a:cubicBezTo>
                  <a:cubicBezTo>
                    <a:pt x="537" y="583"/>
                    <a:pt x="537" y="583"/>
                    <a:pt x="537" y="583"/>
                  </a:cubicBezTo>
                  <a:cubicBezTo>
                    <a:pt x="537" y="583"/>
                    <a:pt x="537" y="583"/>
                    <a:pt x="537" y="583"/>
                  </a:cubicBezTo>
                  <a:cubicBezTo>
                    <a:pt x="537" y="583"/>
                    <a:pt x="538" y="583"/>
                    <a:pt x="538" y="583"/>
                  </a:cubicBezTo>
                  <a:cubicBezTo>
                    <a:pt x="538" y="583"/>
                    <a:pt x="538" y="583"/>
                    <a:pt x="538" y="583"/>
                  </a:cubicBezTo>
                  <a:cubicBezTo>
                    <a:pt x="605" y="554"/>
                    <a:pt x="663" y="509"/>
                    <a:pt x="708" y="455"/>
                  </a:cubicBezTo>
                  <a:cubicBezTo>
                    <a:pt x="716" y="418"/>
                    <a:pt x="716" y="418"/>
                    <a:pt x="716" y="418"/>
                  </a:cubicBezTo>
                  <a:cubicBezTo>
                    <a:pt x="711" y="425"/>
                    <a:pt x="706" y="432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1" y="439"/>
                    <a:pt x="701" y="439"/>
                    <a:pt x="701" y="439"/>
                  </a:cubicBezTo>
                  <a:cubicBezTo>
                    <a:pt x="702" y="437"/>
                    <a:pt x="703" y="434"/>
                    <a:pt x="705" y="432"/>
                  </a:cubicBezTo>
                  <a:cubicBezTo>
                    <a:pt x="705" y="432"/>
                    <a:pt x="705" y="432"/>
                    <a:pt x="705" y="432"/>
                  </a:cubicBezTo>
                  <a:cubicBezTo>
                    <a:pt x="709" y="427"/>
                    <a:pt x="712" y="421"/>
                    <a:pt x="716" y="416"/>
                  </a:cubicBezTo>
                  <a:cubicBezTo>
                    <a:pt x="721" y="392"/>
                    <a:pt x="721" y="392"/>
                    <a:pt x="721" y="392"/>
                  </a:cubicBezTo>
                  <a:cubicBezTo>
                    <a:pt x="728" y="357"/>
                    <a:pt x="712" y="320"/>
                    <a:pt x="681" y="300"/>
                  </a:cubicBezTo>
                  <a:cubicBezTo>
                    <a:pt x="626" y="266"/>
                    <a:pt x="626" y="266"/>
                    <a:pt x="626" y="266"/>
                  </a:cubicBezTo>
                  <a:cubicBezTo>
                    <a:pt x="623" y="200"/>
                    <a:pt x="623" y="200"/>
                    <a:pt x="623" y="200"/>
                  </a:cubicBezTo>
                  <a:cubicBezTo>
                    <a:pt x="623" y="200"/>
                    <a:pt x="624" y="199"/>
                    <a:pt x="624" y="198"/>
                  </a:cubicBezTo>
                  <a:cubicBezTo>
                    <a:pt x="625" y="197"/>
                    <a:pt x="626" y="196"/>
                    <a:pt x="627" y="195"/>
                  </a:cubicBezTo>
                  <a:cubicBezTo>
                    <a:pt x="627" y="195"/>
                    <a:pt x="628" y="194"/>
                    <a:pt x="629" y="193"/>
                  </a:cubicBezTo>
                  <a:cubicBezTo>
                    <a:pt x="629" y="192"/>
                    <a:pt x="630" y="191"/>
                    <a:pt x="631" y="190"/>
                  </a:cubicBezTo>
                  <a:cubicBezTo>
                    <a:pt x="631" y="189"/>
                    <a:pt x="632" y="188"/>
                    <a:pt x="633" y="187"/>
                  </a:cubicBezTo>
                  <a:cubicBezTo>
                    <a:pt x="633" y="186"/>
                    <a:pt x="634" y="185"/>
                    <a:pt x="635" y="184"/>
                  </a:cubicBezTo>
                  <a:cubicBezTo>
                    <a:pt x="635" y="183"/>
                    <a:pt x="636" y="182"/>
                    <a:pt x="636" y="181"/>
                  </a:cubicBezTo>
                  <a:cubicBezTo>
                    <a:pt x="637" y="180"/>
                    <a:pt x="638" y="179"/>
                    <a:pt x="638" y="178"/>
                  </a:cubicBezTo>
                  <a:cubicBezTo>
                    <a:pt x="639" y="177"/>
                    <a:pt x="639" y="176"/>
                    <a:pt x="640" y="175"/>
                  </a:cubicBezTo>
                  <a:cubicBezTo>
                    <a:pt x="641" y="174"/>
                    <a:pt x="641" y="173"/>
                    <a:pt x="641" y="173"/>
                  </a:cubicBezTo>
                  <a:cubicBezTo>
                    <a:pt x="642" y="171"/>
                    <a:pt x="643" y="169"/>
                    <a:pt x="644" y="167"/>
                  </a:cubicBezTo>
                  <a:cubicBezTo>
                    <a:pt x="645" y="166"/>
                    <a:pt x="645" y="165"/>
                    <a:pt x="645" y="165"/>
                  </a:cubicBezTo>
                  <a:cubicBezTo>
                    <a:pt x="646" y="163"/>
                    <a:pt x="646" y="162"/>
                    <a:pt x="647" y="161"/>
                  </a:cubicBezTo>
                  <a:cubicBezTo>
                    <a:pt x="647" y="160"/>
                    <a:pt x="648" y="159"/>
                    <a:pt x="648" y="158"/>
                  </a:cubicBezTo>
                  <a:cubicBezTo>
                    <a:pt x="648" y="157"/>
                    <a:pt x="649" y="156"/>
                    <a:pt x="649" y="155"/>
                  </a:cubicBezTo>
                  <a:cubicBezTo>
                    <a:pt x="650" y="154"/>
                    <a:pt x="650" y="153"/>
                    <a:pt x="650" y="152"/>
                  </a:cubicBezTo>
                  <a:cubicBezTo>
                    <a:pt x="651" y="151"/>
                    <a:pt x="651" y="150"/>
                    <a:pt x="651" y="149"/>
                  </a:cubicBezTo>
                  <a:cubicBezTo>
                    <a:pt x="651" y="149"/>
                    <a:pt x="651" y="149"/>
                    <a:pt x="651" y="149"/>
                  </a:cubicBezTo>
                  <a:cubicBezTo>
                    <a:pt x="651" y="149"/>
                    <a:pt x="652" y="149"/>
                    <a:pt x="653" y="148"/>
                  </a:cubicBezTo>
                  <a:cubicBezTo>
                    <a:pt x="655" y="150"/>
                    <a:pt x="658" y="153"/>
                    <a:pt x="662" y="157"/>
                  </a:cubicBezTo>
                  <a:cubicBezTo>
                    <a:pt x="667" y="162"/>
                    <a:pt x="671" y="175"/>
                    <a:pt x="671" y="175"/>
                  </a:cubicBezTo>
                  <a:cubicBezTo>
                    <a:pt x="671" y="175"/>
                    <a:pt x="672" y="165"/>
                    <a:pt x="668" y="156"/>
                  </a:cubicBezTo>
                  <a:cubicBezTo>
                    <a:pt x="665" y="150"/>
                    <a:pt x="661" y="147"/>
                    <a:pt x="658" y="145"/>
                  </a:cubicBezTo>
                  <a:cubicBezTo>
                    <a:pt x="658" y="145"/>
                    <a:pt x="658" y="145"/>
                    <a:pt x="658" y="145"/>
                  </a:cubicBezTo>
                  <a:cubicBezTo>
                    <a:pt x="662" y="146"/>
                    <a:pt x="666" y="147"/>
                    <a:pt x="671" y="149"/>
                  </a:cubicBezTo>
                  <a:cubicBezTo>
                    <a:pt x="683" y="156"/>
                    <a:pt x="693" y="176"/>
                    <a:pt x="693" y="176"/>
                  </a:cubicBezTo>
                  <a:cubicBezTo>
                    <a:pt x="693" y="176"/>
                    <a:pt x="693" y="159"/>
                    <a:pt x="682" y="147"/>
                  </a:cubicBezTo>
                  <a:cubicBezTo>
                    <a:pt x="679" y="144"/>
                    <a:pt x="674" y="140"/>
                    <a:pt x="670" y="138"/>
                  </a:cubicBezTo>
                  <a:cubicBezTo>
                    <a:pt x="677" y="133"/>
                    <a:pt x="685" y="126"/>
                    <a:pt x="693" y="117"/>
                  </a:cubicBezTo>
                  <a:cubicBezTo>
                    <a:pt x="695" y="116"/>
                    <a:pt x="696" y="115"/>
                    <a:pt x="697" y="113"/>
                  </a:cubicBezTo>
                  <a:cubicBezTo>
                    <a:pt x="705" y="104"/>
                    <a:pt x="712" y="94"/>
                    <a:pt x="718" y="82"/>
                  </a:cubicBezTo>
                  <a:cubicBezTo>
                    <a:pt x="720" y="78"/>
                    <a:pt x="722" y="74"/>
                    <a:pt x="724" y="70"/>
                  </a:cubicBezTo>
                  <a:cubicBezTo>
                    <a:pt x="727" y="62"/>
                    <a:pt x="729" y="54"/>
                    <a:pt x="731" y="45"/>
                  </a:cubicBezTo>
                  <a:cubicBezTo>
                    <a:pt x="675" y="16"/>
                    <a:pt x="613" y="0"/>
                    <a:pt x="546" y="0"/>
                  </a:cubicBezTo>
                </a:path>
              </a:pathLst>
            </a:custGeom>
            <a:solidFill>
              <a:srgbClr val="D26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ï$1íḑê">
              <a:extLst>
                <a:ext uri="{FF2B5EF4-FFF2-40B4-BE49-F238E27FC236}">
                  <a16:creationId xmlns:a16="http://schemas.microsoft.com/office/drawing/2014/main" id="{8FFA71F1-7B6A-448D-8444-2998771FAD25}"/>
                </a:ext>
              </a:extLst>
            </p:cNvPr>
            <p:cNvSpPr/>
            <p:nvPr/>
          </p:nvSpPr>
          <p:spPr bwMode="auto">
            <a:xfrm>
              <a:off x="6153257" y="3921886"/>
              <a:ext cx="75532" cy="294816"/>
            </a:xfrm>
            <a:custGeom>
              <a:avLst/>
              <a:gdLst>
                <a:gd name="T0" fmla="*/ 7 w 15"/>
                <a:gd name="T1" fmla="*/ 0 h 58"/>
                <a:gd name="T2" fmla="*/ 7 w 15"/>
                <a:gd name="T3" fmla="*/ 0 h 58"/>
                <a:gd name="T4" fmla="*/ 0 w 15"/>
                <a:gd name="T5" fmla="*/ 7 h 58"/>
                <a:gd name="T6" fmla="*/ 2 w 15"/>
                <a:gd name="T7" fmla="*/ 51 h 58"/>
                <a:gd name="T8" fmla="*/ 8 w 15"/>
                <a:gd name="T9" fmla="*/ 58 h 58"/>
                <a:gd name="T10" fmla="*/ 9 w 15"/>
                <a:gd name="T11" fmla="*/ 58 h 58"/>
                <a:gd name="T12" fmla="*/ 15 w 15"/>
                <a:gd name="T13" fmla="*/ 51 h 58"/>
                <a:gd name="T14" fmla="*/ 14 w 15"/>
                <a:gd name="T15" fmla="*/ 7 h 58"/>
                <a:gd name="T16" fmla="*/ 7 w 15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58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5"/>
                    <a:pt x="5" y="58"/>
                    <a:pt x="8" y="58"/>
                  </a:cubicBezTo>
                  <a:cubicBezTo>
                    <a:pt x="8" y="58"/>
                    <a:pt x="9" y="58"/>
                    <a:pt x="9" y="58"/>
                  </a:cubicBezTo>
                  <a:cubicBezTo>
                    <a:pt x="12" y="58"/>
                    <a:pt x="15" y="55"/>
                    <a:pt x="15" y="51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</a:path>
              </a:pathLst>
            </a:custGeom>
            <a:solidFill>
              <a:srgbClr val="D26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ŝlïḍe">
              <a:extLst>
                <a:ext uri="{FF2B5EF4-FFF2-40B4-BE49-F238E27FC236}">
                  <a16:creationId xmlns:a16="http://schemas.microsoft.com/office/drawing/2014/main" id="{3E9CF4B1-981A-4316-9004-0CE4C7CFE32D}"/>
                </a:ext>
              </a:extLst>
            </p:cNvPr>
            <p:cNvSpPr/>
            <p:nvPr/>
          </p:nvSpPr>
          <p:spPr bwMode="auto">
            <a:xfrm>
              <a:off x="6377414" y="4126551"/>
              <a:ext cx="258268" cy="197357"/>
            </a:xfrm>
            <a:custGeom>
              <a:avLst/>
              <a:gdLst>
                <a:gd name="T0" fmla="*/ 43 w 51"/>
                <a:gd name="T1" fmla="*/ 0 h 39"/>
                <a:gd name="T2" fmla="*/ 39 w 51"/>
                <a:gd name="T3" fmla="*/ 1 h 39"/>
                <a:gd name="T4" fmla="*/ 3 w 51"/>
                <a:gd name="T5" fmla="*/ 27 h 39"/>
                <a:gd name="T6" fmla="*/ 2 w 51"/>
                <a:gd name="T7" fmla="*/ 36 h 39"/>
                <a:gd name="T8" fmla="*/ 7 w 51"/>
                <a:gd name="T9" fmla="*/ 39 h 39"/>
                <a:gd name="T10" fmla="*/ 11 w 51"/>
                <a:gd name="T11" fmla="*/ 38 h 39"/>
                <a:gd name="T12" fmla="*/ 47 w 51"/>
                <a:gd name="T13" fmla="*/ 12 h 39"/>
                <a:gd name="T14" fmla="*/ 49 w 51"/>
                <a:gd name="T15" fmla="*/ 3 h 39"/>
                <a:gd name="T16" fmla="*/ 43 w 51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9">
                  <a:moveTo>
                    <a:pt x="43" y="0"/>
                  </a:moveTo>
                  <a:cubicBezTo>
                    <a:pt x="42" y="0"/>
                    <a:pt x="40" y="0"/>
                    <a:pt x="39" y="1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0" y="29"/>
                    <a:pt x="0" y="33"/>
                    <a:pt x="2" y="36"/>
                  </a:cubicBezTo>
                  <a:cubicBezTo>
                    <a:pt x="3" y="38"/>
                    <a:pt x="5" y="39"/>
                    <a:pt x="7" y="39"/>
                  </a:cubicBezTo>
                  <a:cubicBezTo>
                    <a:pt x="9" y="39"/>
                    <a:pt x="10" y="39"/>
                    <a:pt x="11" y="38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50" y="10"/>
                    <a:pt x="51" y="6"/>
                    <a:pt x="49" y="3"/>
                  </a:cubicBezTo>
                  <a:cubicBezTo>
                    <a:pt x="47" y="1"/>
                    <a:pt x="45" y="0"/>
                    <a:pt x="43" y="0"/>
                  </a:cubicBezTo>
                </a:path>
              </a:pathLst>
            </a:custGeom>
            <a:solidFill>
              <a:srgbClr val="D26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ṡļîḋè">
              <a:extLst>
                <a:ext uri="{FF2B5EF4-FFF2-40B4-BE49-F238E27FC236}">
                  <a16:creationId xmlns:a16="http://schemas.microsoft.com/office/drawing/2014/main" id="{75C28EBA-B9AF-44BF-A0F7-A5804206D323}"/>
                </a:ext>
              </a:extLst>
            </p:cNvPr>
            <p:cNvSpPr/>
            <p:nvPr/>
          </p:nvSpPr>
          <p:spPr bwMode="auto">
            <a:xfrm>
              <a:off x="6294574" y="3953559"/>
              <a:ext cx="177865" cy="263141"/>
            </a:xfrm>
            <a:custGeom>
              <a:avLst/>
              <a:gdLst>
                <a:gd name="T0" fmla="*/ 27 w 35"/>
                <a:gd name="T1" fmla="*/ 0 h 52"/>
                <a:gd name="T2" fmla="*/ 21 w 35"/>
                <a:gd name="T3" fmla="*/ 3 h 52"/>
                <a:gd name="T4" fmla="*/ 1 w 35"/>
                <a:gd name="T5" fmla="*/ 43 h 52"/>
                <a:gd name="T6" fmla="*/ 4 w 35"/>
                <a:gd name="T7" fmla="*/ 52 h 52"/>
                <a:gd name="T8" fmla="*/ 7 w 35"/>
                <a:gd name="T9" fmla="*/ 52 h 52"/>
                <a:gd name="T10" fmla="*/ 13 w 35"/>
                <a:gd name="T11" fmla="*/ 49 h 52"/>
                <a:gd name="T12" fmla="*/ 33 w 35"/>
                <a:gd name="T13" fmla="*/ 9 h 52"/>
                <a:gd name="T14" fmla="*/ 30 w 35"/>
                <a:gd name="T15" fmla="*/ 0 h 52"/>
                <a:gd name="T16" fmla="*/ 27 w 35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52">
                  <a:moveTo>
                    <a:pt x="27" y="0"/>
                  </a:moveTo>
                  <a:cubicBezTo>
                    <a:pt x="25" y="0"/>
                    <a:pt x="22" y="1"/>
                    <a:pt x="21" y="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0" y="46"/>
                    <a:pt x="1" y="50"/>
                    <a:pt x="4" y="52"/>
                  </a:cubicBezTo>
                  <a:cubicBezTo>
                    <a:pt x="5" y="52"/>
                    <a:pt x="6" y="52"/>
                    <a:pt x="7" y="52"/>
                  </a:cubicBezTo>
                  <a:cubicBezTo>
                    <a:pt x="10" y="52"/>
                    <a:pt x="12" y="51"/>
                    <a:pt x="13" y="4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5" y="6"/>
                    <a:pt x="33" y="2"/>
                    <a:pt x="30" y="0"/>
                  </a:cubicBezTo>
                  <a:cubicBezTo>
                    <a:pt x="29" y="0"/>
                    <a:pt x="28" y="0"/>
                    <a:pt x="27" y="0"/>
                  </a:cubicBezTo>
                </a:path>
              </a:pathLst>
            </a:custGeom>
            <a:solidFill>
              <a:srgbClr val="D26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ṧḷíḍè">
              <a:extLst>
                <a:ext uri="{FF2B5EF4-FFF2-40B4-BE49-F238E27FC236}">
                  <a16:creationId xmlns:a16="http://schemas.microsoft.com/office/drawing/2014/main" id="{2E9B49D0-80F6-45A6-BCA7-F621E5CD9BAF}"/>
                </a:ext>
              </a:extLst>
            </p:cNvPr>
            <p:cNvSpPr/>
            <p:nvPr/>
          </p:nvSpPr>
          <p:spPr bwMode="auto">
            <a:xfrm>
              <a:off x="6124019" y="4253248"/>
              <a:ext cx="769932" cy="1169516"/>
            </a:xfrm>
            <a:custGeom>
              <a:avLst/>
              <a:gdLst>
                <a:gd name="T0" fmla="*/ 110 w 316"/>
                <a:gd name="T1" fmla="*/ 480 h 480"/>
                <a:gd name="T2" fmla="*/ 316 w 316"/>
                <a:gd name="T3" fmla="*/ 58 h 480"/>
                <a:gd name="T4" fmla="*/ 193 w 316"/>
                <a:gd name="T5" fmla="*/ 0 h 480"/>
                <a:gd name="T6" fmla="*/ 0 w 316"/>
                <a:gd name="T7" fmla="*/ 397 h 480"/>
                <a:gd name="T8" fmla="*/ 110 w 316"/>
                <a:gd name="T9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" h="480">
                  <a:moveTo>
                    <a:pt x="110" y="480"/>
                  </a:moveTo>
                  <a:lnTo>
                    <a:pt x="316" y="58"/>
                  </a:lnTo>
                  <a:lnTo>
                    <a:pt x="193" y="0"/>
                  </a:lnTo>
                  <a:lnTo>
                    <a:pt x="0" y="397"/>
                  </a:lnTo>
                  <a:lnTo>
                    <a:pt x="110" y="480"/>
                  </a:lnTo>
                  <a:close/>
                </a:path>
              </a:pathLst>
            </a:custGeom>
            <a:solidFill>
              <a:srgbClr val="3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Sļíďé">
              <a:extLst>
                <a:ext uri="{FF2B5EF4-FFF2-40B4-BE49-F238E27FC236}">
                  <a16:creationId xmlns:a16="http://schemas.microsoft.com/office/drawing/2014/main" id="{BE3DAF72-73F0-45C3-ACD6-6CFFEA99B25C}"/>
                </a:ext>
              </a:extLst>
            </p:cNvPr>
            <p:cNvSpPr/>
            <p:nvPr/>
          </p:nvSpPr>
          <p:spPr bwMode="auto">
            <a:xfrm>
              <a:off x="7639517" y="3324944"/>
              <a:ext cx="104770" cy="158373"/>
            </a:xfrm>
            <a:custGeom>
              <a:avLst/>
              <a:gdLst>
                <a:gd name="T0" fmla="*/ 5 w 21"/>
                <a:gd name="T1" fmla="*/ 0 h 31"/>
                <a:gd name="T2" fmla="*/ 16 w 21"/>
                <a:gd name="T3" fmla="*/ 12 h 31"/>
                <a:gd name="T4" fmla="*/ 20 w 21"/>
                <a:gd name="T5" fmla="*/ 31 h 31"/>
                <a:gd name="T6" fmla="*/ 10 w 21"/>
                <a:gd name="T7" fmla="*/ 13 h 31"/>
                <a:gd name="T8" fmla="*/ 0 w 21"/>
                <a:gd name="T9" fmla="*/ 3 h 31"/>
                <a:gd name="T10" fmla="*/ 5 w 21"/>
                <a:gd name="T1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31">
                  <a:moveTo>
                    <a:pt x="5" y="0"/>
                  </a:moveTo>
                  <a:cubicBezTo>
                    <a:pt x="5" y="0"/>
                    <a:pt x="12" y="3"/>
                    <a:pt x="16" y="12"/>
                  </a:cubicBezTo>
                  <a:cubicBezTo>
                    <a:pt x="21" y="20"/>
                    <a:pt x="20" y="31"/>
                    <a:pt x="20" y="31"/>
                  </a:cubicBezTo>
                  <a:cubicBezTo>
                    <a:pt x="20" y="31"/>
                    <a:pt x="15" y="18"/>
                    <a:pt x="10" y="13"/>
                  </a:cubicBezTo>
                  <a:cubicBezTo>
                    <a:pt x="5" y="7"/>
                    <a:pt x="0" y="3"/>
                    <a:pt x="0" y="3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š1îḓe">
              <a:extLst>
                <a:ext uri="{FF2B5EF4-FFF2-40B4-BE49-F238E27FC236}">
                  <a16:creationId xmlns:a16="http://schemas.microsoft.com/office/drawing/2014/main" id="{406198B7-811B-4D60-BC91-D51F69E30DA5}"/>
                </a:ext>
              </a:extLst>
            </p:cNvPr>
            <p:cNvSpPr/>
            <p:nvPr/>
          </p:nvSpPr>
          <p:spPr bwMode="auto">
            <a:xfrm>
              <a:off x="7629771" y="3264033"/>
              <a:ext cx="221722" cy="224157"/>
            </a:xfrm>
            <a:custGeom>
              <a:avLst/>
              <a:gdLst>
                <a:gd name="T0" fmla="*/ 10 w 44"/>
                <a:gd name="T1" fmla="*/ 0 h 44"/>
                <a:gd name="T2" fmla="*/ 33 w 44"/>
                <a:gd name="T3" fmla="*/ 15 h 44"/>
                <a:gd name="T4" fmla="*/ 44 w 44"/>
                <a:gd name="T5" fmla="*/ 44 h 44"/>
                <a:gd name="T6" fmla="*/ 22 w 44"/>
                <a:gd name="T7" fmla="*/ 17 h 44"/>
                <a:gd name="T8" fmla="*/ 0 w 44"/>
                <a:gd name="T9" fmla="*/ 13 h 44"/>
                <a:gd name="T10" fmla="*/ 10 w 44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44">
                  <a:moveTo>
                    <a:pt x="10" y="0"/>
                  </a:moveTo>
                  <a:cubicBezTo>
                    <a:pt x="10" y="0"/>
                    <a:pt x="25" y="7"/>
                    <a:pt x="33" y="15"/>
                  </a:cubicBezTo>
                  <a:cubicBezTo>
                    <a:pt x="44" y="26"/>
                    <a:pt x="44" y="44"/>
                    <a:pt x="44" y="44"/>
                  </a:cubicBezTo>
                  <a:cubicBezTo>
                    <a:pt x="44" y="44"/>
                    <a:pt x="34" y="23"/>
                    <a:pt x="22" y="17"/>
                  </a:cubicBezTo>
                  <a:cubicBezTo>
                    <a:pt x="10" y="11"/>
                    <a:pt x="0" y="13"/>
                    <a:pt x="0" y="13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ïSḻîḍè">
              <a:extLst>
                <a:ext uri="{FF2B5EF4-FFF2-40B4-BE49-F238E27FC236}">
                  <a16:creationId xmlns:a16="http://schemas.microsoft.com/office/drawing/2014/main" id="{A049B4CF-875A-4089-9DFC-B6C5DBD66D22}"/>
                </a:ext>
              </a:extLst>
            </p:cNvPr>
            <p:cNvSpPr/>
            <p:nvPr/>
          </p:nvSpPr>
          <p:spPr bwMode="auto">
            <a:xfrm>
              <a:off x="6416398" y="3938940"/>
              <a:ext cx="1096421" cy="2202589"/>
            </a:xfrm>
            <a:custGeom>
              <a:avLst/>
              <a:gdLst>
                <a:gd name="T0" fmla="*/ 421 w 450"/>
                <a:gd name="T1" fmla="*/ 904 h 904"/>
                <a:gd name="T2" fmla="*/ 450 w 450"/>
                <a:gd name="T3" fmla="*/ 0 h 904"/>
                <a:gd name="T4" fmla="*/ 202 w 450"/>
                <a:gd name="T5" fmla="*/ 74 h 904"/>
                <a:gd name="T6" fmla="*/ 79 w 450"/>
                <a:gd name="T7" fmla="*/ 257 h 904"/>
                <a:gd name="T8" fmla="*/ 0 w 450"/>
                <a:gd name="T9" fmla="*/ 904 h 904"/>
                <a:gd name="T10" fmla="*/ 421 w 450"/>
                <a:gd name="T11" fmla="*/ 904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0" h="904">
                  <a:moveTo>
                    <a:pt x="421" y="904"/>
                  </a:moveTo>
                  <a:lnTo>
                    <a:pt x="450" y="0"/>
                  </a:lnTo>
                  <a:lnTo>
                    <a:pt x="202" y="74"/>
                  </a:lnTo>
                  <a:lnTo>
                    <a:pt x="79" y="257"/>
                  </a:lnTo>
                  <a:lnTo>
                    <a:pt x="0" y="904"/>
                  </a:lnTo>
                  <a:lnTo>
                    <a:pt x="421" y="9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ïślíḑé">
              <a:extLst>
                <a:ext uri="{FF2B5EF4-FFF2-40B4-BE49-F238E27FC236}">
                  <a16:creationId xmlns:a16="http://schemas.microsoft.com/office/drawing/2014/main" id="{FB5C1DB7-76B6-4059-A4D8-4C905BBDC1D6}"/>
                </a:ext>
              </a:extLst>
            </p:cNvPr>
            <p:cNvSpPr/>
            <p:nvPr/>
          </p:nvSpPr>
          <p:spPr bwMode="auto">
            <a:xfrm>
              <a:off x="6538223" y="5023180"/>
              <a:ext cx="791861" cy="1118351"/>
            </a:xfrm>
            <a:custGeom>
              <a:avLst/>
              <a:gdLst>
                <a:gd name="T0" fmla="*/ 0 w 156"/>
                <a:gd name="T1" fmla="*/ 221 h 221"/>
                <a:gd name="T2" fmla="*/ 146 w 156"/>
                <a:gd name="T3" fmla="*/ 221 h 221"/>
                <a:gd name="T4" fmla="*/ 156 w 156"/>
                <a:gd name="T5" fmla="*/ 55 h 221"/>
                <a:gd name="T6" fmla="*/ 122 w 156"/>
                <a:gd name="T7" fmla="*/ 17 h 221"/>
                <a:gd name="T8" fmla="*/ 99 w 156"/>
                <a:gd name="T9" fmla="*/ 22 h 221"/>
                <a:gd name="T10" fmla="*/ 63 w 156"/>
                <a:gd name="T11" fmla="*/ 20 h 221"/>
                <a:gd name="T12" fmla="*/ 31 w 156"/>
                <a:gd name="T13" fmla="*/ 1 h 221"/>
                <a:gd name="T14" fmla="*/ 22 w 156"/>
                <a:gd name="T15" fmla="*/ 119 h 221"/>
                <a:gd name="T16" fmla="*/ 0 w 156"/>
                <a:gd name="T17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21">
                  <a:moveTo>
                    <a:pt x="0" y="221"/>
                  </a:moveTo>
                  <a:cubicBezTo>
                    <a:pt x="146" y="221"/>
                    <a:pt x="146" y="221"/>
                    <a:pt x="146" y="221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22" y="17"/>
                    <a:pt x="122" y="17"/>
                    <a:pt x="122" y="17"/>
                  </a:cubicBezTo>
                  <a:cubicBezTo>
                    <a:pt x="122" y="17"/>
                    <a:pt x="111" y="13"/>
                    <a:pt x="99" y="22"/>
                  </a:cubicBezTo>
                  <a:cubicBezTo>
                    <a:pt x="88" y="31"/>
                    <a:pt x="72" y="32"/>
                    <a:pt x="63" y="20"/>
                  </a:cubicBezTo>
                  <a:cubicBezTo>
                    <a:pt x="55" y="9"/>
                    <a:pt x="42" y="0"/>
                    <a:pt x="31" y="1"/>
                  </a:cubicBezTo>
                  <a:cubicBezTo>
                    <a:pt x="20" y="3"/>
                    <a:pt x="22" y="119"/>
                    <a:pt x="22" y="119"/>
                  </a:cubicBezTo>
                  <a:lnTo>
                    <a:pt x="0" y="221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ïṧḻîḓè">
              <a:extLst>
                <a:ext uri="{FF2B5EF4-FFF2-40B4-BE49-F238E27FC236}">
                  <a16:creationId xmlns:a16="http://schemas.microsoft.com/office/drawing/2014/main" id="{58BED7E3-1CAA-47DD-8DBE-4B9D48548EFD}"/>
                </a:ext>
              </a:extLst>
            </p:cNvPr>
            <p:cNvSpPr/>
            <p:nvPr/>
          </p:nvSpPr>
          <p:spPr bwMode="auto">
            <a:xfrm>
              <a:off x="6879332" y="3066676"/>
              <a:ext cx="633488" cy="1352254"/>
            </a:xfrm>
            <a:custGeom>
              <a:avLst/>
              <a:gdLst>
                <a:gd name="T0" fmla="*/ 6 w 125"/>
                <a:gd name="T1" fmla="*/ 208 h 267"/>
                <a:gd name="T2" fmla="*/ 1 w 125"/>
                <a:gd name="T3" fmla="*/ 137 h 267"/>
                <a:gd name="T4" fmla="*/ 116 w 125"/>
                <a:gd name="T5" fmla="*/ 0 h 267"/>
                <a:gd name="T6" fmla="*/ 125 w 125"/>
                <a:gd name="T7" fmla="*/ 172 h 267"/>
                <a:gd name="T8" fmla="*/ 119 w 125"/>
                <a:gd name="T9" fmla="*/ 205 h 267"/>
                <a:gd name="T10" fmla="*/ 45 w 125"/>
                <a:gd name="T11" fmla="*/ 264 h 267"/>
                <a:gd name="T12" fmla="*/ 24 w 125"/>
                <a:gd name="T13" fmla="*/ 263 h 267"/>
                <a:gd name="T14" fmla="*/ 2 w 125"/>
                <a:gd name="T15" fmla="*/ 236 h 267"/>
                <a:gd name="T16" fmla="*/ 6 w 125"/>
                <a:gd name="T17" fmla="*/ 208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5" h="267">
                  <a:moveTo>
                    <a:pt x="6" y="208"/>
                  </a:moveTo>
                  <a:cubicBezTo>
                    <a:pt x="1" y="137"/>
                    <a:pt x="1" y="137"/>
                    <a:pt x="1" y="137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25" y="172"/>
                    <a:pt x="125" y="172"/>
                    <a:pt x="125" y="172"/>
                  </a:cubicBezTo>
                  <a:cubicBezTo>
                    <a:pt x="119" y="205"/>
                    <a:pt x="119" y="205"/>
                    <a:pt x="119" y="205"/>
                  </a:cubicBezTo>
                  <a:cubicBezTo>
                    <a:pt x="113" y="241"/>
                    <a:pt x="81" y="267"/>
                    <a:pt x="45" y="264"/>
                  </a:cubicBezTo>
                  <a:cubicBezTo>
                    <a:pt x="24" y="263"/>
                    <a:pt x="24" y="263"/>
                    <a:pt x="24" y="263"/>
                  </a:cubicBezTo>
                  <a:cubicBezTo>
                    <a:pt x="10" y="262"/>
                    <a:pt x="0" y="250"/>
                    <a:pt x="2" y="236"/>
                  </a:cubicBezTo>
                  <a:lnTo>
                    <a:pt x="6" y="208"/>
                  </a:ln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ṥḷîďé">
              <a:extLst>
                <a:ext uri="{FF2B5EF4-FFF2-40B4-BE49-F238E27FC236}">
                  <a16:creationId xmlns:a16="http://schemas.microsoft.com/office/drawing/2014/main" id="{E19F9EDA-2AC7-4D1B-8664-E40DC6B630C4}"/>
                </a:ext>
              </a:extLst>
            </p:cNvPr>
            <p:cNvSpPr/>
            <p:nvPr/>
          </p:nvSpPr>
          <p:spPr bwMode="auto">
            <a:xfrm>
              <a:off x="6884205" y="3295706"/>
              <a:ext cx="606687" cy="774804"/>
            </a:xfrm>
            <a:custGeom>
              <a:avLst/>
              <a:gdLst>
                <a:gd name="T0" fmla="*/ 120 w 120"/>
                <a:gd name="T1" fmla="*/ 63 h 153"/>
                <a:gd name="T2" fmla="*/ 54 w 120"/>
                <a:gd name="T3" fmla="*/ 139 h 153"/>
                <a:gd name="T4" fmla="*/ 4 w 120"/>
                <a:gd name="T5" fmla="*/ 151 h 153"/>
                <a:gd name="T6" fmla="*/ 0 w 120"/>
                <a:gd name="T7" fmla="*/ 92 h 153"/>
                <a:gd name="T8" fmla="*/ 47 w 120"/>
                <a:gd name="T9" fmla="*/ 36 h 153"/>
                <a:gd name="T10" fmla="*/ 117 w 120"/>
                <a:gd name="T11" fmla="*/ 0 h 153"/>
                <a:gd name="T12" fmla="*/ 120 w 120"/>
                <a:gd name="T13" fmla="*/ 6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53">
                  <a:moveTo>
                    <a:pt x="120" y="63"/>
                  </a:moveTo>
                  <a:cubicBezTo>
                    <a:pt x="111" y="82"/>
                    <a:pt x="83" y="120"/>
                    <a:pt x="54" y="139"/>
                  </a:cubicBezTo>
                  <a:cubicBezTo>
                    <a:pt x="34" y="153"/>
                    <a:pt x="16" y="153"/>
                    <a:pt x="4" y="151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117" y="0"/>
                    <a:pt x="117" y="0"/>
                    <a:pt x="117" y="0"/>
                  </a:cubicBezTo>
                  <a:lnTo>
                    <a:pt x="120" y="63"/>
                  </a:lnTo>
                  <a:close/>
                </a:path>
              </a:pathLst>
            </a:custGeom>
            <a:solidFill>
              <a:srgbClr val="CF9E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Sḷíḑé">
              <a:extLst>
                <a:ext uri="{FF2B5EF4-FFF2-40B4-BE49-F238E27FC236}">
                  <a16:creationId xmlns:a16="http://schemas.microsoft.com/office/drawing/2014/main" id="{460E9FFA-CC91-49B2-AA2A-4C8D176FC49F}"/>
                </a:ext>
              </a:extLst>
            </p:cNvPr>
            <p:cNvSpPr/>
            <p:nvPr/>
          </p:nvSpPr>
          <p:spPr bwMode="auto">
            <a:xfrm>
              <a:off x="7461654" y="1673003"/>
              <a:ext cx="713893" cy="735821"/>
            </a:xfrm>
            <a:custGeom>
              <a:avLst/>
              <a:gdLst>
                <a:gd name="T0" fmla="*/ 116 w 141"/>
                <a:gd name="T1" fmla="*/ 25 h 145"/>
                <a:gd name="T2" fmla="*/ 116 w 141"/>
                <a:gd name="T3" fmla="*/ 115 h 145"/>
                <a:gd name="T4" fmla="*/ 109 w 141"/>
                <a:gd name="T5" fmla="*/ 122 h 145"/>
                <a:gd name="T6" fmla="*/ 119 w 141"/>
                <a:gd name="T7" fmla="*/ 118 h 145"/>
                <a:gd name="T8" fmla="*/ 134 w 141"/>
                <a:gd name="T9" fmla="*/ 106 h 145"/>
                <a:gd name="T10" fmla="*/ 103 w 141"/>
                <a:gd name="T11" fmla="*/ 139 h 145"/>
                <a:gd name="T12" fmla="*/ 96 w 141"/>
                <a:gd name="T13" fmla="*/ 129 h 145"/>
                <a:gd name="T14" fmla="*/ 26 w 141"/>
                <a:gd name="T15" fmla="*/ 116 h 145"/>
                <a:gd name="T16" fmla="*/ 25 w 141"/>
                <a:gd name="T17" fmla="*/ 25 h 145"/>
                <a:gd name="T18" fmla="*/ 116 w 141"/>
                <a:gd name="T19" fmla="*/ 2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" h="145">
                  <a:moveTo>
                    <a:pt x="116" y="25"/>
                  </a:moveTo>
                  <a:cubicBezTo>
                    <a:pt x="141" y="50"/>
                    <a:pt x="141" y="90"/>
                    <a:pt x="116" y="115"/>
                  </a:cubicBezTo>
                  <a:cubicBezTo>
                    <a:pt x="114" y="118"/>
                    <a:pt x="111" y="120"/>
                    <a:pt x="109" y="122"/>
                  </a:cubicBezTo>
                  <a:cubicBezTo>
                    <a:pt x="112" y="121"/>
                    <a:pt x="115" y="120"/>
                    <a:pt x="119" y="118"/>
                  </a:cubicBezTo>
                  <a:cubicBezTo>
                    <a:pt x="128" y="114"/>
                    <a:pt x="134" y="106"/>
                    <a:pt x="134" y="106"/>
                  </a:cubicBezTo>
                  <a:cubicBezTo>
                    <a:pt x="134" y="106"/>
                    <a:pt x="126" y="131"/>
                    <a:pt x="103" y="139"/>
                  </a:cubicBezTo>
                  <a:cubicBezTo>
                    <a:pt x="87" y="145"/>
                    <a:pt x="91" y="136"/>
                    <a:pt x="96" y="129"/>
                  </a:cubicBezTo>
                  <a:cubicBezTo>
                    <a:pt x="73" y="139"/>
                    <a:pt x="45" y="134"/>
                    <a:pt x="26" y="116"/>
                  </a:cubicBezTo>
                  <a:cubicBezTo>
                    <a:pt x="1" y="91"/>
                    <a:pt x="0" y="50"/>
                    <a:pt x="25" y="25"/>
                  </a:cubicBezTo>
                  <a:cubicBezTo>
                    <a:pt x="50" y="0"/>
                    <a:pt x="91" y="0"/>
                    <a:pt x="116" y="25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Sḷîḓe">
              <a:extLst>
                <a:ext uri="{FF2B5EF4-FFF2-40B4-BE49-F238E27FC236}">
                  <a16:creationId xmlns:a16="http://schemas.microsoft.com/office/drawing/2014/main" id="{0C5B99D5-C25E-476D-82A8-3572D5DEE1E4}"/>
                </a:ext>
              </a:extLst>
            </p:cNvPr>
            <p:cNvSpPr/>
            <p:nvPr/>
          </p:nvSpPr>
          <p:spPr bwMode="auto">
            <a:xfrm>
              <a:off x="6077727" y="5057291"/>
              <a:ext cx="441006" cy="389839"/>
            </a:xfrm>
            <a:custGeom>
              <a:avLst/>
              <a:gdLst>
                <a:gd name="T0" fmla="*/ 22 w 87"/>
                <a:gd name="T1" fmla="*/ 2 h 77"/>
                <a:gd name="T2" fmla="*/ 84 w 87"/>
                <a:gd name="T3" fmla="*/ 48 h 77"/>
                <a:gd name="T4" fmla="*/ 85 w 87"/>
                <a:gd name="T5" fmla="*/ 55 h 77"/>
                <a:gd name="T6" fmla="*/ 71 w 87"/>
                <a:gd name="T7" fmla="*/ 74 h 77"/>
                <a:gd name="T8" fmla="*/ 64 w 87"/>
                <a:gd name="T9" fmla="*/ 75 h 77"/>
                <a:gd name="T10" fmla="*/ 2 w 87"/>
                <a:gd name="T11" fmla="*/ 27 h 77"/>
                <a:gd name="T12" fmla="*/ 1 w 87"/>
                <a:gd name="T13" fmla="*/ 20 h 77"/>
                <a:gd name="T14" fmla="*/ 15 w 87"/>
                <a:gd name="T15" fmla="*/ 3 h 77"/>
                <a:gd name="T16" fmla="*/ 22 w 87"/>
                <a:gd name="T17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77">
                  <a:moveTo>
                    <a:pt x="22" y="2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6" y="49"/>
                    <a:pt x="87" y="53"/>
                    <a:pt x="85" y="55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70" y="76"/>
                    <a:pt x="66" y="77"/>
                    <a:pt x="64" y="7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5"/>
                    <a:pt x="0" y="22"/>
                    <a:pt x="1" y="20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0" y="0"/>
                    <a:pt x="2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íşľîḑe">
              <a:extLst>
                <a:ext uri="{FF2B5EF4-FFF2-40B4-BE49-F238E27FC236}">
                  <a16:creationId xmlns:a16="http://schemas.microsoft.com/office/drawing/2014/main" id="{BD5562EA-83FA-4D8C-BFCC-B93909B0E493}"/>
                </a:ext>
              </a:extLst>
            </p:cNvPr>
            <p:cNvSpPr/>
            <p:nvPr/>
          </p:nvSpPr>
          <p:spPr bwMode="auto">
            <a:xfrm>
              <a:off x="5529515" y="4287359"/>
              <a:ext cx="862518" cy="1393673"/>
            </a:xfrm>
            <a:custGeom>
              <a:avLst/>
              <a:gdLst>
                <a:gd name="T0" fmla="*/ 117 w 170"/>
                <a:gd name="T1" fmla="*/ 184 h 275"/>
                <a:gd name="T2" fmla="*/ 68 w 170"/>
                <a:gd name="T3" fmla="*/ 27 h 275"/>
                <a:gd name="T4" fmla="*/ 27 w 170"/>
                <a:gd name="T5" fmla="*/ 6 h 275"/>
                <a:gd name="T6" fmla="*/ 6 w 170"/>
                <a:gd name="T7" fmla="*/ 46 h 275"/>
                <a:gd name="T8" fmla="*/ 67 w 170"/>
                <a:gd name="T9" fmla="*/ 241 h 275"/>
                <a:gd name="T10" fmla="*/ 110 w 170"/>
                <a:gd name="T11" fmla="*/ 275 h 275"/>
                <a:gd name="T12" fmla="*/ 114 w 170"/>
                <a:gd name="T13" fmla="*/ 275 h 275"/>
                <a:gd name="T14" fmla="*/ 158 w 170"/>
                <a:gd name="T15" fmla="*/ 248 h 275"/>
                <a:gd name="T16" fmla="*/ 170 w 170"/>
                <a:gd name="T17" fmla="*/ 224 h 275"/>
                <a:gd name="T18" fmla="*/ 117 w 170"/>
                <a:gd name="T19" fmla="*/ 184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275">
                  <a:moveTo>
                    <a:pt x="117" y="184"/>
                  </a:moveTo>
                  <a:cubicBezTo>
                    <a:pt x="68" y="27"/>
                    <a:pt x="68" y="27"/>
                    <a:pt x="68" y="27"/>
                  </a:cubicBezTo>
                  <a:cubicBezTo>
                    <a:pt x="62" y="10"/>
                    <a:pt x="44" y="0"/>
                    <a:pt x="27" y="6"/>
                  </a:cubicBezTo>
                  <a:cubicBezTo>
                    <a:pt x="10" y="11"/>
                    <a:pt x="0" y="29"/>
                    <a:pt x="6" y="46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3" y="260"/>
                    <a:pt x="90" y="274"/>
                    <a:pt x="110" y="275"/>
                  </a:cubicBezTo>
                  <a:cubicBezTo>
                    <a:pt x="111" y="275"/>
                    <a:pt x="112" y="275"/>
                    <a:pt x="114" y="275"/>
                  </a:cubicBezTo>
                  <a:cubicBezTo>
                    <a:pt x="132" y="275"/>
                    <a:pt x="150" y="265"/>
                    <a:pt x="158" y="248"/>
                  </a:cubicBezTo>
                  <a:cubicBezTo>
                    <a:pt x="170" y="224"/>
                    <a:pt x="170" y="224"/>
                    <a:pt x="170" y="224"/>
                  </a:cubicBezTo>
                  <a:lnTo>
                    <a:pt x="117" y="184"/>
                  </a:ln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isľiḑe">
              <a:extLst>
                <a:ext uri="{FF2B5EF4-FFF2-40B4-BE49-F238E27FC236}">
                  <a16:creationId xmlns:a16="http://schemas.microsoft.com/office/drawing/2014/main" id="{D49AA4AB-6026-46F0-BCFC-8C8B22AE0B47}"/>
                </a:ext>
              </a:extLst>
            </p:cNvPr>
            <p:cNvSpPr/>
            <p:nvPr/>
          </p:nvSpPr>
          <p:spPr bwMode="auto">
            <a:xfrm>
              <a:off x="7851493" y="1926398"/>
              <a:ext cx="314308" cy="482425"/>
            </a:xfrm>
            <a:custGeom>
              <a:avLst/>
              <a:gdLst>
                <a:gd name="T0" fmla="*/ 40 w 62"/>
                <a:gd name="T1" fmla="*/ 30 h 95"/>
                <a:gd name="T2" fmla="*/ 55 w 62"/>
                <a:gd name="T3" fmla="*/ 0 h 95"/>
                <a:gd name="T4" fmla="*/ 39 w 62"/>
                <a:gd name="T5" fmla="*/ 65 h 95"/>
                <a:gd name="T6" fmla="*/ 32 w 62"/>
                <a:gd name="T7" fmla="*/ 72 h 95"/>
                <a:gd name="T8" fmla="*/ 42 w 62"/>
                <a:gd name="T9" fmla="*/ 68 h 95"/>
                <a:gd name="T10" fmla="*/ 57 w 62"/>
                <a:gd name="T11" fmla="*/ 56 h 95"/>
                <a:gd name="T12" fmla="*/ 26 w 62"/>
                <a:gd name="T13" fmla="*/ 89 h 95"/>
                <a:gd name="T14" fmla="*/ 19 w 62"/>
                <a:gd name="T15" fmla="*/ 79 h 95"/>
                <a:gd name="T16" fmla="*/ 1 w 62"/>
                <a:gd name="T17" fmla="*/ 84 h 95"/>
                <a:gd name="T18" fmla="*/ 3 w 62"/>
                <a:gd name="T19" fmla="*/ 56 h 95"/>
                <a:gd name="T20" fmla="*/ 40 w 62"/>
                <a:gd name="T21" fmla="*/ 3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95">
                  <a:moveTo>
                    <a:pt x="40" y="30"/>
                  </a:moveTo>
                  <a:cubicBezTo>
                    <a:pt x="48" y="18"/>
                    <a:pt x="53" y="8"/>
                    <a:pt x="55" y="0"/>
                  </a:cubicBezTo>
                  <a:cubicBezTo>
                    <a:pt x="62" y="22"/>
                    <a:pt x="57" y="48"/>
                    <a:pt x="39" y="65"/>
                  </a:cubicBezTo>
                  <a:cubicBezTo>
                    <a:pt x="37" y="68"/>
                    <a:pt x="34" y="70"/>
                    <a:pt x="32" y="72"/>
                  </a:cubicBezTo>
                  <a:cubicBezTo>
                    <a:pt x="35" y="71"/>
                    <a:pt x="38" y="70"/>
                    <a:pt x="42" y="68"/>
                  </a:cubicBezTo>
                  <a:cubicBezTo>
                    <a:pt x="51" y="64"/>
                    <a:pt x="57" y="56"/>
                    <a:pt x="57" y="56"/>
                  </a:cubicBezTo>
                  <a:cubicBezTo>
                    <a:pt x="57" y="56"/>
                    <a:pt x="49" y="81"/>
                    <a:pt x="26" y="89"/>
                  </a:cubicBezTo>
                  <a:cubicBezTo>
                    <a:pt x="10" y="95"/>
                    <a:pt x="14" y="86"/>
                    <a:pt x="19" y="79"/>
                  </a:cubicBezTo>
                  <a:cubicBezTo>
                    <a:pt x="13" y="82"/>
                    <a:pt x="7" y="83"/>
                    <a:pt x="1" y="84"/>
                  </a:cubicBezTo>
                  <a:cubicBezTo>
                    <a:pt x="0" y="69"/>
                    <a:pt x="3" y="56"/>
                    <a:pt x="3" y="56"/>
                  </a:cubicBezTo>
                  <a:cubicBezTo>
                    <a:pt x="3" y="56"/>
                    <a:pt x="21" y="59"/>
                    <a:pt x="40" y="30"/>
                  </a:cubicBezTo>
                  <a:close/>
                </a:path>
              </a:pathLst>
            </a:custGeom>
            <a:solidFill>
              <a:srgbClr val="722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îṣ1îḓe">
              <a:extLst>
                <a:ext uri="{FF2B5EF4-FFF2-40B4-BE49-F238E27FC236}">
                  <a16:creationId xmlns:a16="http://schemas.microsoft.com/office/drawing/2014/main" id="{14E8C9FD-9285-4507-816C-1623C4540DA7}"/>
                </a:ext>
              </a:extLst>
            </p:cNvPr>
            <p:cNvSpPr/>
            <p:nvPr/>
          </p:nvSpPr>
          <p:spPr bwMode="auto">
            <a:xfrm>
              <a:off x="7498201" y="1673003"/>
              <a:ext cx="526282" cy="375220"/>
            </a:xfrm>
            <a:custGeom>
              <a:avLst/>
              <a:gdLst>
                <a:gd name="T0" fmla="*/ 18 w 104"/>
                <a:gd name="T1" fmla="*/ 25 h 74"/>
                <a:gd name="T2" fmla="*/ 104 w 104"/>
                <a:gd name="T3" fmla="*/ 20 h 74"/>
                <a:gd name="T4" fmla="*/ 99 w 104"/>
                <a:gd name="T5" fmla="*/ 40 h 74"/>
                <a:gd name="T6" fmla="*/ 47 w 104"/>
                <a:gd name="T7" fmla="*/ 56 h 74"/>
                <a:gd name="T8" fmla="*/ 67 w 104"/>
                <a:gd name="T9" fmla="*/ 62 h 74"/>
                <a:gd name="T10" fmla="*/ 85 w 104"/>
                <a:gd name="T11" fmla="*/ 61 h 74"/>
                <a:gd name="T12" fmla="*/ 40 w 104"/>
                <a:gd name="T13" fmla="*/ 71 h 74"/>
                <a:gd name="T14" fmla="*/ 0 w 104"/>
                <a:gd name="T15" fmla="*/ 69 h 74"/>
                <a:gd name="T16" fmla="*/ 18 w 104"/>
                <a:gd name="T17" fmla="*/ 2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74">
                  <a:moveTo>
                    <a:pt x="18" y="25"/>
                  </a:moveTo>
                  <a:cubicBezTo>
                    <a:pt x="42" y="1"/>
                    <a:pt x="79" y="0"/>
                    <a:pt x="104" y="20"/>
                  </a:cubicBezTo>
                  <a:cubicBezTo>
                    <a:pt x="104" y="26"/>
                    <a:pt x="103" y="35"/>
                    <a:pt x="99" y="40"/>
                  </a:cubicBezTo>
                  <a:cubicBezTo>
                    <a:pt x="84" y="57"/>
                    <a:pt x="47" y="56"/>
                    <a:pt x="47" y="56"/>
                  </a:cubicBezTo>
                  <a:cubicBezTo>
                    <a:pt x="47" y="56"/>
                    <a:pt x="58" y="62"/>
                    <a:pt x="67" y="62"/>
                  </a:cubicBezTo>
                  <a:cubicBezTo>
                    <a:pt x="76" y="62"/>
                    <a:pt x="85" y="61"/>
                    <a:pt x="85" y="61"/>
                  </a:cubicBezTo>
                  <a:cubicBezTo>
                    <a:pt x="85" y="61"/>
                    <a:pt x="68" y="74"/>
                    <a:pt x="40" y="71"/>
                  </a:cubicBezTo>
                  <a:cubicBezTo>
                    <a:pt x="29" y="69"/>
                    <a:pt x="13" y="71"/>
                    <a:pt x="0" y="69"/>
                  </a:cubicBezTo>
                  <a:cubicBezTo>
                    <a:pt x="0" y="53"/>
                    <a:pt x="6" y="37"/>
                    <a:pt x="18" y="25"/>
                  </a:cubicBezTo>
                  <a:close/>
                </a:path>
              </a:pathLst>
            </a:custGeom>
            <a:solidFill>
              <a:srgbClr val="A03F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iS1íḍè">
              <a:extLst>
                <a:ext uri="{FF2B5EF4-FFF2-40B4-BE49-F238E27FC236}">
                  <a16:creationId xmlns:a16="http://schemas.microsoft.com/office/drawing/2014/main" id="{FBA31C8C-6E1F-46E3-A418-6773A56E994B}"/>
                </a:ext>
              </a:extLst>
            </p:cNvPr>
            <p:cNvSpPr/>
            <p:nvPr/>
          </p:nvSpPr>
          <p:spPr bwMode="auto">
            <a:xfrm>
              <a:off x="7568860" y="1982438"/>
              <a:ext cx="501917" cy="1366873"/>
            </a:xfrm>
            <a:custGeom>
              <a:avLst/>
              <a:gdLst>
                <a:gd name="T0" fmla="*/ 18 w 99"/>
                <a:gd name="T1" fmla="*/ 0 h 270"/>
                <a:gd name="T2" fmla="*/ 95 w 99"/>
                <a:gd name="T3" fmla="*/ 138 h 270"/>
                <a:gd name="T4" fmla="*/ 14 w 99"/>
                <a:gd name="T5" fmla="*/ 270 h 270"/>
                <a:gd name="T6" fmla="*/ 0 w 99"/>
                <a:gd name="T7" fmla="*/ 45 h 270"/>
                <a:gd name="T8" fmla="*/ 18 w 99"/>
                <a:gd name="T9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270">
                  <a:moveTo>
                    <a:pt x="18" y="0"/>
                  </a:moveTo>
                  <a:cubicBezTo>
                    <a:pt x="18" y="0"/>
                    <a:pt x="90" y="35"/>
                    <a:pt x="95" y="138"/>
                  </a:cubicBezTo>
                  <a:cubicBezTo>
                    <a:pt x="99" y="229"/>
                    <a:pt x="14" y="270"/>
                    <a:pt x="14" y="270"/>
                  </a:cubicBezTo>
                  <a:cubicBezTo>
                    <a:pt x="0" y="45"/>
                    <a:pt x="0" y="45"/>
                    <a:pt x="0" y="45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B949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íṡḷîḍè">
              <a:extLst>
                <a:ext uri="{FF2B5EF4-FFF2-40B4-BE49-F238E27FC236}">
                  <a16:creationId xmlns:a16="http://schemas.microsoft.com/office/drawing/2014/main" id="{5C1A27EA-94BA-4D3C-8AD8-F2E16215A6CB}"/>
                </a:ext>
              </a:extLst>
            </p:cNvPr>
            <p:cNvSpPr/>
            <p:nvPr/>
          </p:nvSpPr>
          <p:spPr bwMode="auto">
            <a:xfrm>
              <a:off x="6158130" y="1943454"/>
              <a:ext cx="1505752" cy="1995488"/>
            </a:xfrm>
            <a:custGeom>
              <a:avLst/>
              <a:gdLst>
                <a:gd name="T0" fmla="*/ 136 w 297"/>
                <a:gd name="T1" fmla="*/ 394 h 394"/>
                <a:gd name="T2" fmla="*/ 136 w 297"/>
                <a:gd name="T3" fmla="*/ 394 h 394"/>
                <a:gd name="T4" fmla="*/ 297 w 297"/>
                <a:gd name="T5" fmla="*/ 251 h 394"/>
                <a:gd name="T6" fmla="*/ 296 w 297"/>
                <a:gd name="T7" fmla="*/ 8 h 394"/>
                <a:gd name="T8" fmla="*/ 293 w 297"/>
                <a:gd name="T9" fmla="*/ 3 h 394"/>
                <a:gd name="T10" fmla="*/ 103 w 297"/>
                <a:gd name="T11" fmla="*/ 0 h 394"/>
                <a:gd name="T12" fmla="*/ 43 w 297"/>
                <a:gd name="T13" fmla="*/ 86 h 394"/>
                <a:gd name="T14" fmla="*/ 26 w 297"/>
                <a:gd name="T15" fmla="*/ 260 h 394"/>
                <a:gd name="T16" fmla="*/ 136 w 297"/>
                <a:gd name="T17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7" h="394">
                  <a:moveTo>
                    <a:pt x="136" y="394"/>
                  </a:moveTo>
                  <a:cubicBezTo>
                    <a:pt x="136" y="394"/>
                    <a:pt x="136" y="394"/>
                    <a:pt x="136" y="394"/>
                  </a:cubicBezTo>
                  <a:cubicBezTo>
                    <a:pt x="218" y="394"/>
                    <a:pt x="293" y="319"/>
                    <a:pt x="297" y="251"/>
                  </a:cubicBezTo>
                  <a:cubicBezTo>
                    <a:pt x="296" y="8"/>
                    <a:pt x="296" y="8"/>
                    <a:pt x="296" y="8"/>
                  </a:cubicBezTo>
                  <a:cubicBezTo>
                    <a:pt x="293" y="3"/>
                    <a:pt x="293" y="3"/>
                    <a:pt x="293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6"/>
                    <a:pt x="0" y="117"/>
                    <a:pt x="26" y="260"/>
                  </a:cubicBezTo>
                  <a:cubicBezTo>
                    <a:pt x="39" y="329"/>
                    <a:pt x="66" y="394"/>
                    <a:pt x="136" y="394"/>
                  </a:cubicBez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ïś1îḋê">
              <a:extLst>
                <a:ext uri="{FF2B5EF4-FFF2-40B4-BE49-F238E27FC236}">
                  <a16:creationId xmlns:a16="http://schemas.microsoft.com/office/drawing/2014/main" id="{0764C498-F9C0-490F-9A78-3EDC2BDE8A2B}"/>
                </a:ext>
              </a:extLst>
            </p:cNvPr>
            <p:cNvSpPr/>
            <p:nvPr/>
          </p:nvSpPr>
          <p:spPr bwMode="auto">
            <a:xfrm>
              <a:off x="7668755" y="1743662"/>
              <a:ext cx="248522" cy="163246"/>
            </a:xfrm>
            <a:custGeom>
              <a:avLst/>
              <a:gdLst>
                <a:gd name="T0" fmla="*/ 22 w 49"/>
                <a:gd name="T1" fmla="*/ 2 h 32"/>
                <a:gd name="T2" fmla="*/ 41 w 49"/>
                <a:gd name="T3" fmla="*/ 4 h 32"/>
                <a:gd name="T4" fmla="*/ 34 w 49"/>
                <a:gd name="T5" fmla="*/ 25 h 32"/>
                <a:gd name="T6" fmla="*/ 3 w 49"/>
                <a:gd name="T7" fmla="*/ 19 h 32"/>
                <a:gd name="T8" fmla="*/ 22 w 49"/>
                <a:gd name="T9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2">
                  <a:moveTo>
                    <a:pt x="22" y="2"/>
                  </a:moveTo>
                  <a:cubicBezTo>
                    <a:pt x="22" y="2"/>
                    <a:pt x="33" y="0"/>
                    <a:pt x="41" y="4"/>
                  </a:cubicBezTo>
                  <a:cubicBezTo>
                    <a:pt x="49" y="8"/>
                    <a:pt x="44" y="19"/>
                    <a:pt x="34" y="25"/>
                  </a:cubicBezTo>
                  <a:cubicBezTo>
                    <a:pt x="24" y="32"/>
                    <a:pt x="6" y="29"/>
                    <a:pt x="3" y="19"/>
                  </a:cubicBezTo>
                  <a:cubicBezTo>
                    <a:pt x="0" y="9"/>
                    <a:pt x="16" y="2"/>
                    <a:pt x="22" y="2"/>
                  </a:cubicBezTo>
                  <a:close/>
                </a:path>
              </a:pathLst>
            </a:custGeom>
            <a:solidFill>
              <a:srgbClr val="B949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iṡḻîḍê">
              <a:extLst>
                <a:ext uri="{FF2B5EF4-FFF2-40B4-BE49-F238E27FC236}">
                  <a16:creationId xmlns:a16="http://schemas.microsoft.com/office/drawing/2014/main" id="{0D27E109-E5FC-4B79-912C-E224D925236B}"/>
                </a:ext>
              </a:extLst>
            </p:cNvPr>
            <p:cNvSpPr/>
            <p:nvPr/>
          </p:nvSpPr>
          <p:spPr bwMode="auto">
            <a:xfrm>
              <a:off x="6945118" y="2930233"/>
              <a:ext cx="151063" cy="146190"/>
            </a:xfrm>
            <a:prstGeom prst="ellipse">
              <a:avLst/>
            </a:pr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i$ľîḓê">
              <a:extLst>
                <a:ext uri="{FF2B5EF4-FFF2-40B4-BE49-F238E27FC236}">
                  <a16:creationId xmlns:a16="http://schemas.microsoft.com/office/drawing/2014/main" id="{BB54E49D-4436-4D6A-A5AA-F85590E14C17}"/>
                </a:ext>
              </a:extLst>
            </p:cNvPr>
            <p:cNvSpPr/>
            <p:nvPr/>
          </p:nvSpPr>
          <p:spPr bwMode="auto">
            <a:xfrm>
              <a:off x="6372541" y="2930233"/>
              <a:ext cx="151063" cy="146190"/>
            </a:xfrm>
            <a:prstGeom prst="ellipse">
              <a:avLst/>
            </a:pr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sľîḍé">
              <a:extLst>
                <a:ext uri="{FF2B5EF4-FFF2-40B4-BE49-F238E27FC236}">
                  <a16:creationId xmlns:a16="http://schemas.microsoft.com/office/drawing/2014/main" id="{9A4E6523-D2B0-49BF-86BC-DAEA71678B25}"/>
                </a:ext>
              </a:extLst>
            </p:cNvPr>
            <p:cNvSpPr/>
            <p:nvPr/>
          </p:nvSpPr>
          <p:spPr bwMode="auto">
            <a:xfrm>
              <a:off x="6443201" y="2954598"/>
              <a:ext cx="56040" cy="5604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i$ļide">
              <a:extLst>
                <a:ext uri="{FF2B5EF4-FFF2-40B4-BE49-F238E27FC236}">
                  <a16:creationId xmlns:a16="http://schemas.microsoft.com/office/drawing/2014/main" id="{7CDB214A-36FB-4D60-A6A7-D2E948D8C418}"/>
                </a:ext>
              </a:extLst>
            </p:cNvPr>
            <p:cNvSpPr/>
            <p:nvPr/>
          </p:nvSpPr>
          <p:spPr bwMode="auto">
            <a:xfrm>
              <a:off x="6893951" y="2545267"/>
              <a:ext cx="309435" cy="95024"/>
            </a:xfrm>
            <a:custGeom>
              <a:avLst/>
              <a:gdLst>
                <a:gd name="T0" fmla="*/ 0 w 61"/>
                <a:gd name="T1" fmla="*/ 19 h 19"/>
                <a:gd name="T2" fmla="*/ 1 w 61"/>
                <a:gd name="T3" fmla="*/ 17 h 19"/>
                <a:gd name="T4" fmla="*/ 6 w 61"/>
                <a:gd name="T5" fmla="*/ 10 h 19"/>
                <a:gd name="T6" fmla="*/ 10 w 61"/>
                <a:gd name="T7" fmla="*/ 6 h 19"/>
                <a:gd name="T8" fmla="*/ 16 w 61"/>
                <a:gd name="T9" fmla="*/ 2 h 19"/>
                <a:gd name="T10" fmla="*/ 19 w 61"/>
                <a:gd name="T11" fmla="*/ 1 h 19"/>
                <a:gd name="T12" fmla="*/ 23 w 61"/>
                <a:gd name="T13" fmla="*/ 0 h 19"/>
                <a:gd name="T14" fmla="*/ 27 w 61"/>
                <a:gd name="T15" fmla="*/ 0 h 19"/>
                <a:gd name="T16" fmla="*/ 29 w 61"/>
                <a:gd name="T17" fmla="*/ 0 h 19"/>
                <a:gd name="T18" fmla="*/ 30 w 61"/>
                <a:gd name="T19" fmla="*/ 0 h 19"/>
                <a:gd name="T20" fmla="*/ 37 w 61"/>
                <a:gd name="T21" fmla="*/ 1 h 19"/>
                <a:gd name="T22" fmla="*/ 44 w 61"/>
                <a:gd name="T23" fmla="*/ 3 h 19"/>
                <a:gd name="T24" fmla="*/ 50 w 61"/>
                <a:gd name="T25" fmla="*/ 6 h 19"/>
                <a:gd name="T26" fmla="*/ 55 w 61"/>
                <a:gd name="T27" fmla="*/ 10 h 19"/>
                <a:gd name="T28" fmla="*/ 60 w 61"/>
                <a:gd name="T29" fmla="*/ 16 h 19"/>
                <a:gd name="T30" fmla="*/ 61 w 61"/>
                <a:gd name="T31" fmla="*/ 19 h 19"/>
                <a:gd name="T32" fmla="*/ 52 w 61"/>
                <a:gd name="T33" fmla="*/ 12 h 19"/>
                <a:gd name="T34" fmla="*/ 48 w 61"/>
                <a:gd name="T35" fmla="*/ 10 h 19"/>
                <a:gd name="T36" fmla="*/ 42 w 61"/>
                <a:gd name="T37" fmla="*/ 8 h 19"/>
                <a:gd name="T38" fmla="*/ 36 w 61"/>
                <a:gd name="T39" fmla="*/ 7 h 19"/>
                <a:gd name="T40" fmla="*/ 30 w 61"/>
                <a:gd name="T41" fmla="*/ 6 h 19"/>
                <a:gd name="T42" fmla="*/ 28 w 61"/>
                <a:gd name="T43" fmla="*/ 6 h 19"/>
                <a:gd name="T44" fmla="*/ 27 w 61"/>
                <a:gd name="T45" fmla="*/ 6 h 19"/>
                <a:gd name="T46" fmla="*/ 24 w 61"/>
                <a:gd name="T47" fmla="*/ 6 h 19"/>
                <a:gd name="T48" fmla="*/ 18 w 61"/>
                <a:gd name="T49" fmla="*/ 7 h 19"/>
                <a:gd name="T50" fmla="*/ 8 w 61"/>
                <a:gd name="T51" fmla="*/ 12 h 19"/>
                <a:gd name="T52" fmla="*/ 2 w 61"/>
                <a:gd name="T53" fmla="*/ 17 h 19"/>
                <a:gd name="T54" fmla="*/ 0 w 61"/>
                <a:gd name="T5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1" h="19">
                  <a:moveTo>
                    <a:pt x="0" y="19"/>
                  </a:moveTo>
                  <a:cubicBezTo>
                    <a:pt x="0" y="19"/>
                    <a:pt x="0" y="18"/>
                    <a:pt x="1" y="17"/>
                  </a:cubicBezTo>
                  <a:cubicBezTo>
                    <a:pt x="2" y="15"/>
                    <a:pt x="4" y="12"/>
                    <a:pt x="6" y="10"/>
                  </a:cubicBezTo>
                  <a:cubicBezTo>
                    <a:pt x="7" y="8"/>
                    <a:pt x="9" y="7"/>
                    <a:pt x="10" y="6"/>
                  </a:cubicBezTo>
                  <a:cubicBezTo>
                    <a:pt x="12" y="5"/>
                    <a:pt x="14" y="3"/>
                    <a:pt x="16" y="2"/>
                  </a:cubicBezTo>
                  <a:cubicBezTo>
                    <a:pt x="17" y="2"/>
                    <a:pt x="18" y="1"/>
                    <a:pt x="19" y="1"/>
                  </a:cubicBezTo>
                  <a:cubicBezTo>
                    <a:pt x="21" y="1"/>
                    <a:pt x="22" y="0"/>
                    <a:pt x="23" y="0"/>
                  </a:cubicBezTo>
                  <a:cubicBezTo>
                    <a:pt x="24" y="0"/>
                    <a:pt x="25" y="0"/>
                    <a:pt x="27" y="0"/>
                  </a:cubicBezTo>
                  <a:cubicBezTo>
                    <a:pt x="27" y="0"/>
                    <a:pt x="28" y="0"/>
                    <a:pt x="2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5" y="1"/>
                    <a:pt x="37" y="1"/>
                  </a:cubicBezTo>
                  <a:cubicBezTo>
                    <a:pt x="40" y="2"/>
                    <a:pt x="42" y="2"/>
                    <a:pt x="44" y="3"/>
                  </a:cubicBezTo>
                  <a:cubicBezTo>
                    <a:pt x="46" y="4"/>
                    <a:pt x="48" y="5"/>
                    <a:pt x="50" y="6"/>
                  </a:cubicBezTo>
                  <a:cubicBezTo>
                    <a:pt x="52" y="7"/>
                    <a:pt x="53" y="8"/>
                    <a:pt x="55" y="10"/>
                  </a:cubicBezTo>
                  <a:cubicBezTo>
                    <a:pt x="57" y="12"/>
                    <a:pt x="59" y="15"/>
                    <a:pt x="60" y="16"/>
                  </a:cubicBezTo>
                  <a:cubicBezTo>
                    <a:pt x="61" y="18"/>
                    <a:pt x="61" y="19"/>
                    <a:pt x="61" y="19"/>
                  </a:cubicBezTo>
                  <a:cubicBezTo>
                    <a:pt x="61" y="19"/>
                    <a:pt x="58" y="16"/>
                    <a:pt x="52" y="12"/>
                  </a:cubicBezTo>
                  <a:cubicBezTo>
                    <a:pt x="51" y="12"/>
                    <a:pt x="49" y="11"/>
                    <a:pt x="48" y="10"/>
                  </a:cubicBezTo>
                  <a:cubicBezTo>
                    <a:pt x="46" y="9"/>
                    <a:pt x="44" y="9"/>
                    <a:pt x="42" y="8"/>
                  </a:cubicBezTo>
                  <a:cubicBezTo>
                    <a:pt x="40" y="8"/>
                    <a:pt x="38" y="7"/>
                    <a:pt x="36" y="7"/>
                  </a:cubicBezTo>
                  <a:cubicBezTo>
                    <a:pt x="34" y="6"/>
                    <a:pt x="32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6" y="6"/>
                    <a:pt x="25" y="6"/>
                    <a:pt x="24" y="6"/>
                  </a:cubicBezTo>
                  <a:cubicBezTo>
                    <a:pt x="22" y="6"/>
                    <a:pt x="20" y="7"/>
                    <a:pt x="18" y="7"/>
                  </a:cubicBezTo>
                  <a:cubicBezTo>
                    <a:pt x="14" y="8"/>
                    <a:pt x="11" y="10"/>
                    <a:pt x="8" y="12"/>
                  </a:cubicBezTo>
                  <a:cubicBezTo>
                    <a:pt x="6" y="14"/>
                    <a:pt x="3" y="16"/>
                    <a:pt x="2" y="17"/>
                  </a:cubicBezTo>
                  <a:cubicBezTo>
                    <a:pt x="1" y="19"/>
                    <a:pt x="0" y="19"/>
                    <a:pt x="0" y="19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íṣļïḋe">
              <a:extLst>
                <a:ext uri="{FF2B5EF4-FFF2-40B4-BE49-F238E27FC236}">
                  <a16:creationId xmlns:a16="http://schemas.microsoft.com/office/drawing/2014/main" id="{09A6A6E8-4372-4672-B0F3-A03FDB6FD8DC}"/>
                </a:ext>
              </a:extLst>
            </p:cNvPr>
            <p:cNvSpPr/>
            <p:nvPr/>
          </p:nvSpPr>
          <p:spPr bwMode="auto">
            <a:xfrm>
              <a:off x="6289701" y="2545267"/>
              <a:ext cx="275324" cy="95024"/>
            </a:xfrm>
            <a:custGeom>
              <a:avLst/>
              <a:gdLst>
                <a:gd name="T0" fmla="*/ 54 w 54"/>
                <a:gd name="T1" fmla="*/ 19 h 19"/>
                <a:gd name="T2" fmla="*/ 47 w 54"/>
                <a:gd name="T3" fmla="*/ 12 h 19"/>
                <a:gd name="T4" fmla="*/ 43 w 54"/>
                <a:gd name="T5" fmla="*/ 10 h 19"/>
                <a:gd name="T6" fmla="*/ 38 w 54"/>
                <a:gd name="T7" fmla="*/ 7 h 19"/>
                <a:gd name="T8" fmla="*/ 33 w 54"/>
                <a:gd name="T9" fmla="*/ 6 h 19"/>
                <a:gd name="T10" fmla="*/ 27 w 54"/>
                <a:gd name="T11" fmla="*/ 6 h 19"/>
                <a:gd name="T12" fmla="*/ 21 w 54"/>
                <a:gd name="T13" fmla="*/ 7 h 19"/>
                <a:gd name="T14" fmla="*/ 16 w 54"/>
                <a:gd name="T15" fmla="*/ 8 h 19"/>
                <a:gd name="T16" fmla="*/ 7 w 54"/>
                <a:gd name="T17" fmla="*/ 12 h 19"/>
                <a:gd name="T18" fmla="*/ 4 w 54"/>
                <a:gd name="T19" fmla="*/ 14 h 19"/>
                <a:gd name="T20" fmla="*/ 2 w 54"/>
                <a:gd name="T21" fmla="*/ 17 h 19"/>
                <a:gd name="T22" fmla="*/ 0 w 54"/>
                <a:gd name="T23" fmla="*/ 19 h 19"/>
                <a:gd name="T24" fmla="*/ 1 w 54"/>
                <a:gd name="T25" fmla="*/ 16 h 19"/>
                <a:gd name="T26" fmla="*/ 4 w 54"/>
                <a:gd name="T27" fmla="*/ 9 h 19"/>
                <a:gd name="T28" fmla="*/ 8 w 54"/>
                <a:gd name="T29" fmla="*/ 5 h 19"/>
                <a:gd name="T30" fmla="*/ 11 w 54"/>
                <a:gd name="T31" fmla="*/ 4 h 19"/>
                <a:gd name="T32" fmla="*/ 14 w 54"/>
                <a:gd name="T33" fmla="*/ 2 h 19"/>
                <a:gd name="T34" fmla="*/ 20 w 54"/>
                <a:gd name="T35" fmla="*/ 1 h 19"/>
                <a:gd name="T36" fmla="*/ 27 w 54"/>
                <a:gd name="T37" fmla="*/ 0 h 19"/>
                <a:gd name="T38" fmla="*/ 34 w 54"/>
                <a:gd name="T39" fmla="*/ 1 h 19"/>
                <a:gd name="T40" fmla="*/ 40 w 54"/>
                <a:gd name="T41" fmla="*/ 3 h 19"/>
                <a:gd name="T42" fmla="*/ 45 w 54"/>
                <a:gd name="T43" fmla="*/ 6 h 19"/>
                <a:gd name="T44" fmla="*/ 49 w 54"/>
                <a:gd name="T45" fmla="*/ 10 h 19"/>
                <a:gd name="T46" fmla="*/ 53 w 54"/>
                <a:gd name="T47" fmla="*/ 17 h 19"/>
                <a:gd name="T48" fmla="*/ 54 w 54"/>
                <a:gd name="T4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19">
                  <a:moveTo>
                    <a:pt x="54" y="19"/>
                  </a:moveTo>
                  <a:cubicBezTo>
                    <a:pt x="54" y="19"/>
                    <a:pt x="52" y="16"/>
                    <a:pt x="47" y="12"/>
                  </a:cubicBezTo>
                  <a:cubicBezTo>
                    <a:pt x="46" y="11"/>
                    <a:pt x="44" y="10"/>
                    <a:pt x="43" y="10"/>
                  </a:cubicBezTo>
                  <a:cubicBezTo>
                    <a:pt x="41" y="9"/>
                    <a:pt x="40" y="8"/>
                    <a:pt x="38" y="7"/>
                  </a:cubicBezTo>
                  <a:cubicBezTo>
                    <a:pt x="36" y="7"/>
                    <a:pt x="35" y="6"/>
                    <a:pt x="33" y="6"/>
                  </a:cubicBezTo>
                  <a:cubicBezTo>
                    <a:pt x="31" y="6"/>
                    <a:pt x="29" y="6"/>
                    <a:pt x="27" y="6"/>
                  </a:cubicBezTo>
                  <a:cubicBezTo>
                    <a:pt x="25" y="6"/>
                    <a:pt x="23" y="6"/>
                    <a:pt x="21" y="7"/>
                  </a:cubicBezTo>
                  <a:cubicBezTo>
                    <a:pt x="19" y="7"/>
                    <a:pt x="17" y="7"/>
                    <a:pt x="16" y="8"/>
                  </a:cubicBezTo>
                  <a:cubicBezTo>
                    <a:pt x="12" y="9"/>
                    <a:pt x="9" y="10"/>
                    <a:pt x="7" y="12"/>
                  </a:cubicBezTo>
                  <a:cubicBezTo>
                    <a:pt x="6" y="13"/>
                    <a:pt x="5" y="13"/>
                    <a:pt x="4" y="14"/>
                  </a:cubicBezTo>
                  <a:cubicBezTo>
                    <a:pt x="3" y="15"/>
                    <a:pt x="2" y="16"/>
                    <a:pt x="2" y="17"/>
                  </a:cubicBezTo>
                  <a:cubicBezTo>
                    <a:pt x="1" y="18"/>
                    <a:pt x="0" y="19"/>
                    <a:pt x="0" y="19"/>
                  </a:cubicBezTo>
                  <a:cubicBezTo>
                    <a:pt x="0" y="19"/>
                    <a:pt x="0" y="18"/>
                    <a:pt x="1" y="16"/>
                  </a:cubicBezTo>
                  <a:cubicBezTo>
                    <a:pt x="1" y="15"/>
                    <a:pt x="2" y="12"/>
                    <a:pt x="4" y="9"/>
                  </a:cubicBezTo>
                  <a:cubicBezTo>
                    <a:pt x="5" y="8"/>
                    <a:pt x="7" y="6"/>
                    <a:pt x="8" y="5"/>
                  </a:cubicBezTo>
                  <a:cubicBezTo>
                    <a:pt x="9" y="5"/>
                    <a:pt x="10" y="4"/>
                    <a:pt x="11" y="4"/>
                  </a:cubicBezTo>
                  <a:cubicBezTo>
                    <a:pt x="12" y="3"/>
                    <a:pt x="13" y="3"/>
                    <a:pt x="14" y="2"/>
                  </a:cubicBezTo>
                  <a:cubicBezTo>
                    <a:pt x="16" y="2"/>
                    <a:pt x="18" y="1"/>
                    <a:pt x="20" y="1"/>
                  </a:cubicBezTo>
                  <a:cubicBezTo>
                    <a:pt x="23" y="0"/>
                    <a:pt x="25" y="0"/>
                    <a:pt x="27" y="0"/>
                  </a:cubicBezTo>
                  <a:cubicBezTo>
                    <a:pt x="29" y="0"/>
                    <a:pt x="31" y="0"/>
                    <a:pt x="34" y="1"/>
                  </a:cubicBezTo>
                  <a:cubicBezTo>
                    <a:pt x="36" y="1"/>
                    <a:pt x="38" y="2"/>
                    <a:pt x="40" y="3"/>
                  </a:cubicBezTo>
                  <a:cubicBezTo>
                    <a:pt x="42" y="4"/>
                    <a:pt x="44" y="5"/>
                    <a:pt x="45" y="6"/>
                  </a:cubicBezTo>
                  <a:cubicBezTo>
                    <a:pt x="47" y="7"/>
                    <a:pt x="48" y="9"/>
                    <a:pt x="49" y="10"/>
                  </a:cubicBezTo>
                  <a:cubicBezTo>
                    <a:pt x="51" y="12"/>
                    <a:pt x="53" y="15"/>
                    <a:pt x="53" y="17"/>
                  </a:cubicBezTo>
                  <a:cubicBezTo>
                    <a:pt x="54" y="18"/>
                    <a:pt x="54" y="19"/>
                    <a:pt x="54" y="19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işľíḓè">
              <a:extLst>
                <a:ext uri="{FF2B5EF4-FFF2-40B4-BE49-F238E27FC236}">
                  <a16:creationId xmlns:a16="http://schemas.microsoft.com/office/drawing/2014/main" id="{B5DD6332-3B3A-4F34-B4DD-53EE702BAA6A}"/>
                </a:ext>
              </a:extLst>
            </p:cNvPr>
            <p:cNvSpPr/>
            <p:nvPr/>
          </p:nvSpPr>
          <p:spPr bwMode="auto">
            <a:xfrm>
              <a:off x="7020648" y="2939979"/>
              <a:ext cx="126698" cy="80405"/>
            </a:xfrm>
            <a:custGeom>
              <a:avLst/>
              <a:gdLst>
                <a:gd name="T0" fmla="*/ 0 w 25"/>
                <a:gd name="T1" fmla="*/ 13 h 16"/>
                <a:gd name="T2" fmla="*/ 5 w 25"/>
                <a:gd name="T3" fmla="*/ 11 h 16"/>
                <a:gd name="T4" fmla="*/ 9 w 25"/>
                <a:gd name="T5" fmla="*/ 10 h 16"/>
                <a:gd name="T6" fmla="*/ 14 w 25"/>
                <a:gd name="T7" fmla="*/ 8 h 16"/>
                <a:gd name="T8" fmla="*/ 16 w 25"/>
                <a:gd name="T9" fmla="*/ 7 h 16"/>
                <a:gd name="T10" fmla="*/ 18 w 25"/>
                <a:gd name="T11" fmla="*/ 6 h 16"/>
                <a:gd name="T12" fmla="*/ 20 w 25"/>
                <a:gd name="T13" fmla="*/ 4 h 16"/>
                <a:gd name="T14" fmla="*/ 22 w 25"/>
                <a:gd name="T15" fmla="*/ 3 h 16"/>
                <a:gd name="T16" fmla="*/ 23 w 25"/>
                <a:gd name="T17" fmla="*/ 2 h 16"/>
                <a:gd name="T18" fmla="*/ 24 w 25"/>
                <a:gd name="T19" fmla="*/ 1 h 16"/>
                <a:gd name="T20" fmla="*/ 25 w 25"/>
                <a:gd name="T21" fmla="*/ 0 h 16"/>
                <a:gd name="T22" fmla="*/ 25 w 25"/>
                <a:gd name="T23" fmla="*/ 1 h 16"/>
                <a:gd name="T24" fmla="*/ 24 w 25"/>
                <a:gd name="T25" fmla="*/ 5 h 16"/>
                <a:gd name="T26" fmla="*/ 23 w 25"/>
                <a:gd name="T27" fmla="*/ 7 h 16"/>
                <a:gd name="T28" fmla="*/ 22 w 25"/>
                <a:gd name="T29" fmla="*/ 10 h 16"/>
                <a:gd name="T30" fmla="*/ 19 w 25"/>
                <a:gd name="T31" fmla="*/ 12 h 16"/>
                <a:gd name="T32" fmla="*/ 16 w 25"/>
                <a:gd name="T33" fmla="*/ 14 h 16"/>
                <a:gd name="T34" fmla="*/ 5 w 25"/>
                <a:gd name="T35" fmla="*/ 15 h 16"/>
                <a:gd name="T36" fmla="*/ 0 w 25"/>
                <a:gd name="T37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16">
                  <a:moveTo>
                    <a:pt x="0" y="13"/>
                  </a:moveTo>
                  <a:cubicBezTo>
                    <a:pt x="0" y="13"/>
                    <a:pt x="2" y="12"/>
                    <a:pt x="5" y="11"/>
                  </a:cubicBezTo>
                  <a:cubicBezTo>
                    <a:pt x="6" y="11"/>
                    <a:pt x="8" y="11"/>
                    <a:pt x="9" y="10"/>
                  </a:cubicBezTo>
                  <a:cubicBezTo>
                    <a:pt x="11" y="10"/>
                    <a:pt x="12" y="9"/>
                    <a:pt x="14" y="8"/>
                  </a:cubicBezTo>
                  <a:cubicBezTo>
                    <a:pt x="15" y="8"/>
                    <a:pt x="15" y="7"/>
                    <a:pt x="16" y="7"/>
                  </a:cubicBezTo>
                  <a:cubicBezTo>
                    <a:pt x="17" y="7"/>
                    <a:pt x="17" y="6"/>
                    <a:pt x="18" y="6"/>
                  </a:cubicBezTo>
                  <a:cubicBezTo>
                    <a:pt x="19" y="5"/>
                    <a:pt x="19" y="5"/>
                    <a:pt x="20" y="4"/>
                  </a:cubicBezTo>
                  <a:cubicBezTo>
                    <a:pt x="21" y="4"/>
                    <a:pt x="21" y="3"/>
                    <a:pt x="22" y="3"/>
                  </a:cubicBezTo>
                  <a:cubicBezTo>
                    <a:pt x="22" y="2"/>
                    <a:pt x="23" y="2"/>
                    <a:pt x="23" y="2"/>
                  </a:cubicBezTo>
                  <a:cubicBezTo>
                    <a:pt x="23" y="1"/>
                    <a:pt x="24" y="1"/>
                    <a:pt x="24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1"/>
                  </a:cubicBezTo>
                  <a:cubicBezTo>
                    <a:pt x="25" y="2"/>
                    <a:pt x="25" y="3"/>
                    <a:pt x="24" y="5"/>
                  </a:cubicBezTo>
                  <a:cubicBezTo>
                    <a:pt x="24" y="6"/>
                    <a:pt x="24" y="6"/>
                    <a:pt x="23" y="7"/>
                  </a:cubicBezTo>
                  <a:cubicBezTo>
                    <a:pt x="23" y="8"/>
                    <a:pt x="22" y="9"/>
                    <a:pt x="22" y="10"/>
                  </a:cubicBezTo>
                  <a:cubicBezTo>
                    <a:pt x="21" y="10"/>
                    <a:pt x="20" y="11"/>
                    <a:pt x="19" y="12"/>
                  </a:cubicBezTo>
                  <a:cubicBezTo>
                    <a:pt x="18" y="13"/>
                    <a:pt x="17" y="13"/>
                    <a:pt x="16" y="14"/>
                  </a:cubicBezTo>
                  <a:cubicBezTo>
                    <a:pt x="12" y="16"/>
                    <a:pt x="8" y="16"/>
                    <a:pt x="5" y="15"/>
                  </a:cubicBezTo>
                  <a:cubicBezTo>
                    <a:pt x="2" y="14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ṥļidè">
              <a:extLst>
                <a:ext uri="{FF2B5EF4-FFF2-40B4-BE49-F238E27FC236}">
                  <a16:creationId xmlns:a16="http://schemas.microsoft.com/office/drawing/2014/main" id="{BFA80A09-C17E-426E-AA58-48EAE7021578}"/>
                </a:ext>
              </a:extLst>
            </p:cNvPr>
            <p:cNvSpPr/>
            <p:nvPr/>
          </p:nvSpPr>
          <p:spPr bwMode="auto">
            <a:xfrm>
              <a:off x="7015775" y="2954598"/>
              <a:ext cx="56040" cy="5604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ïšļïḋè">
              <a:extLst>
                <a:ext uri="{FF2B5EF4-FFF2-40B4-BE49-F238E27FC236}">
                  <a16:creationId xmlns:a16="http://schemas.microsoft.com/office/drawing/2014/main" id="{60CA7415-D236-43CB-B053-106AFD0B4747}"/>
                </a:ext>
              </a:extLst>
            </p:cNvPr>
            <p:cNvSpPr/>
            <p:nvPr/>
          </p:nvSpPr>
          <p:spPr bwMode="auto">
            <a:xfrm>
              <a:off x="6321376" y="2939979"/>
              <a:ext cx="126698" cy="80405"/>
            </a:xfrm>
            <a:custGeom>
              <a:avLst/>
              <a:gdLst>
                <a:gd name="T0" fmla="*/ 25 w 25"/>
                <a:gd name="T1" fmla="*/ 13 h 16"/>
                <a:gd name="T2" fmla="*/ 20 w 25"/>
                <a:gd name="T3" fmla="*/ 15 h 16"/>
                <a:gd name="T4" fmla="*/ 8 w 25"/>
                <a:gd name="T5" fmla="*/ 14 h 16"/>
                <a:gd name="T6" fmla="*/ 6 w 25"/>
                <a:gd name="T7" fmla="*/ 12 h 16"/>
                <a:gd name="T8" fmla="*/ 3 w 25"/>
                <a:gd name="T9" fmla="*/ 10 h 16"/>
                <a:gd name="T10" fmla="*/ 2 w 25"/>
                <a:gd name="T11" fmla="*/ 7 h 16"/>
                <a:gd name="T12" fmla="*/ 0 w 25"/>
                <a:gd name="T13" fmla="*/ 5 h 16"/>
                <a:gd name="T14" fmla="*/ 0 w 25"/>
                <a:gd name="T15" fmla="*/ 1 h 16"/>
                <a:gd name="T16" fmla="*/ 0 w 25"/>
                <a:gd name="T17" fmla="*/ 0 h 16"/>
                <a:gd name="T18" fmla="*/ 1 w 25"/>
                <a:gd name="T19" fmla="*/ 1 h 16"/>
                <a:gd name="T20" fmla="*/ 2 w 25"/>
                <a:gd name="T21" fmla="*/ 2 h 16"/>
                <a:gd name="T22" fmla="*/ 3 w 25"/>
                <a:gd name="T23" fmla="*/ 3 h 16"/>
                <a:gd name="T24" fmla="*/ 5 w 25"/>
                <a:gd name="T25" fmla="*/ 4 h 16"/>
                <a:gd name="T26" fmla="*/ 7 w 25"/>
                <a:gd name="T27" fmla="*/ 6 h 16"/>
                <a:gd name="T28" fmla="*/ 9 w 25"/>
                <a:gd name="T29" fmla="*/ 7 h 16"/>
                <a:gd name="T30" fmla="*/ 11 w 25"/>
                <a:gd name="T31" fmla="*/ 8 h 16"/>
                <a:gd name="T32" fmla="*/ 16 w 25"/>
                <a:gd name="T33" fmla="*/ 10 h 16"/>
                <a:gd name="T34" fmla="*/ 20 w 25"/>
                <a:gd name="T35" fmla="*/ 11 h 16"/>
                <a:gd name="T36" fmla="*/ 25 w 25"/>
                <a:gd name="T37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16">
                  <a:moveTo>
                    <a:pt x="25" y="13"/>
                  </a:moveTo>
                  <a:cubicBezTo>
                    <a:pt x="25" y="13"/>
                    <a:pt x="23" y="14"/>
                    <a:pt x="20" y="15"/>
                  </a:cubicBezTo>
                  <a:cubicBezTo>
                    <a:pt x="17" y="16"/>
                    <a:pt x="13" y="16"/>
                    <a:pt x="8" y="14"/>
                  </a:cubicBezTo>
                  <a:cubicBezTo>
                    <a:pt x="7" y="13"/>
                    <a:pt x="7" y="13"/>
                    <a:pt x="6" y="12"/>
                  </a:cubicBezTo>
                  <a:cubicBezTo>
                    <a:pt x="5" y="11"/>
                    <a:pt x="4" y="10"/>
                    <a:pt x="3" y="10"/>
                  </a:cubicBezTo>
                  <a:cubicBezTo>
                    <a:pt x="3" y="9"/>
                    <a:pt x="2" y="8"/>
                    <a:pt x="2" y="7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1" y="1"/>
                    <a:pt x="1" y="1"/>
                    <a:pt x="2" y="2"/>
                  </a:cubicBezTo>
                  <a:cubicBezTo>
                    <a:pt x="2" y="2"/>
                    <a:pt x="3" y="2"/>
                    <a:pt x="3" y="3"/>
                  </a:cubicBezTo>
                  <a:cubicBezTo>
                    <a:pt x="4" y="3"/>
                    <a:pt x="4" y="4"/>
                    <a:pt x="5" y="4"/>
                  </a:cubicBezTo>
                  <a:cubicBezTo>
                    <a:pt x="6" y="5"/>
                    <a:pt x="6" y="5"/>
                    <a:pt x="7" y="6"/>
                  </a:cubicBezTo>
                  <a:cubicBezTo>
                    <a:pt x="8" y="6"/>
                    <a:pt x="8" y="7"/>
                    <a:pt x="9" y="7"/>
                  </a:cubicBezTo>
                  <a:cubicBezTo>
                    <a:pt x="10" y="7"/>
                    <a:pt x="10" y="8"/>
                    <a:pt x="11" y="8"/>
                  </a:cubicBezTo>
                  <a:cubicBezTo>
                    <a:pt x="13" y="9"/>
                    <a:pt x="14" y="10"/>
                    <a:pt x="16" y="10"/>
                  </a:cubicBezTo>
                  <a:cubicBezTo>
                    <a:pt x="17" y="11"/>
                    <a:pt x="19" y="11"/>
                    <a:pt x="20" y="11"/>
                  </a:cubicBezTo>
                  <a:cubicBezTo>
                    <a:pt x="23" y="12"/>
                    <a:pt x="25" y="13"/>
                    <a:pt x="25" y="13"/>
                  </a:cubicBezTo>
                  <a:close/>
                </a:path>
              </a:pathLst>
            </a:custGeom>
            <a:solidFill>
              <a:srgbClr val="8B3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śḻíḑe">
              <a:extLst>
                <a:ext uri="{FF2B5EF4-FFF2-40B4-BE49-F238E27FC236}">
                  <a16:creationId xmlns:a16="http://schemas.microsoft.com/office/drawing/2014/main" id="{0996AC08-011D-43BB-B507-E541A237E26E}"/>
                </a:ext>
              </a:extLst>
            </p:cNvPr>
            <p:cNvSpPr/>
            <p:nvPr/>
          </p:nvSpPr>
          <p:spPr bwMode="auto">
            <a:xfrm>
              <a:off x="6392033" y="4236192"/>
              <a:ext cx="207103" cy="1045256"/>
            </a:xfrm>
            <a:custGeom>
              <a:avLst/>
              <a:gdLst>
                <a:gd name="T0" fmla="*/ 41 w 41"/>
                <a:gd name="T1" fmla="*/ 0 h 206"/>
                <a:gd name="T2" fmla="*/ 4 w 41"/>
                <a:gd name="T3" fmla="*/ 129 h 206"/>
                <a:gd name="T4" fmla="*/ 2 w 41"/>
                <a:gd name="T5" fmla="*/ 164 h 206"/>
                <a:gd name="T6" fmla="*/ 9 w 41"/>
                <a:gd name="T7" fmla="*/ 206 h 206"/>
                <a:gd name="T8" fmla="*/ 24 w 41"/>
                <a:gd name="T9" fmla="*/ 198 h 206"/>
                <a:gd name="T10" fmla="*/ 41 w 41"/>
                <a:gd name="T11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06">
                  <a:moveTo>
                    <a:pt x="41" y="0"/>
                  </a:moveTo>
                  <a:cubicBezTo>
                    <a:pt x="4" y="129"/>
                    <a:pt x="4" y="129"/>
                    <a:pt x="4" y="129"/>
                  </a:cubicBezTo>
                  <a:cubicBezTo>
                    <a:pt x="1" y="140"/>
                    <a:pt x="0" y="152"/>
                    <a:pt x="2" y="164"/>
                  </a:cubicBezTo>
                  <a:cubicBezTo>
                    <a:pt x="9" y="206"/>
                    <a:pt x="9" y="206"/>
                    <a:pt x="9" y="206"/>
                  </a:cubicBezTo>
                  <a:cubicBezTo>
                    <a:pt x="24" y="198"/>
                    <a:pt x="24" y="198"/>
                    <a:pt x="24" y="198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şľîḍê">
              <a:extLst>
                <a:ext uri="{FF2B5EF4-FFF2-40B4-BE49-F238E27FC236}">
                  <a16:creationId xmlns:a16="http://schemas.microsoft.com/office/drawing/2014/main" id="{03BF31B4-75F6-4035-86A7-DF1E2D83D9B7}"/>
                </a:ext>
              </a:extLst>
            </p:cNvPr>
            <p:cNvSpPr/>
            <p:nvPr/>
          </p:nvSpPr>
          <p:spPr bwMode="auto">
            <a:xfrm>
              <a:off x="6996283" y="2438061"/>
              <a:ext cx="667599" cy="1483824"/>
            </a:xfrm>
            <a:custGeom>
              <a:avLst/>
              <a:gdLst>
                <a:gd name="T0" fmla="*/ 94 w 132"/>
                <a:gd name="T1" fmla="*/ 130 h 293"/>
                <a:gd name="T2" fmla="*/ 62 w 132"/>
                <a:gd name="T3" fmla="*/ 14 h 293"/>
                <a:gd name="T4" fmla="*/ 131 w 132"/>
                <a:gd name="T5" fmla="*/ 18 h 293"/>
                <a:gd name="T6" fmla="*/ 132 w 132"/>
                <a:gd name="T7" fmla="*/ 153 h 293"/>
                <a:gd name="T8" fmla="*/ 0 w 132"/>
                <a:gd name="T9" fmla="*/ 293 h 293"/>
                <a:gd name="T10" fmla="*/ 94 w 132"/>
                <a:gd name="T11" fmla="*/ 13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293">
                  <a:moveTo>
                    <a:pt x="94" y="130"/>
                  </a:moveTo>
                  <a:cubicBezTo>
                    <a:pt x="92" y="66"/>
                    <a:pt x="62" y="14"/>
                    <a:pt x="62" y="14"/>
                  </a:cubicBezTo>
                  <a:cubicBezTo>
                    <a:pt x="62" y="14"/>
                    <a:pt x="91" y="0"/>
                    <a:pt x="131" y="18"/>
                  </a:cubicBezTo>
                  <a:cubicBezTo>
                    <a:pt x="132" y="153"/>
                    <a:pt x="132" y="153"/>
                    <a:pt x="132" y="153"/>
                  </a:cubicBezTo>
                  <a:cubicBezTo>
                    <a:pt x="129" y="213"/>
                    <a:pt x="69" y="279"/>
                    <a:pt x="0" y="293"/>
                  </a:cubicBezTo>
                  <a:cubicBezTo>
                    <a:pt x="54" y="259"/>
                    <a:pt x="96" y="194"/>
                    <a:pt x="94" y="130"/>
                  </a:cubicBezTo>
                  <a:close/>
                </a:path>
              </a:pathLst>
            </a:custGeom>
            <a:solidFill>
              <a:srgbClr val="DF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sḻiḑé">
              <a:extLst>
                <a:ext uri="{FF2B5EF4-FFF2-40B4-BE49-F238E27FC236}">
                  <a16:creationId xmlns:a16="http://schemas.microsoft.com/office/drawing/2014/main" id="{818E71B6-E0C7-428A-8BFB-88DC359280A7}"/>
                </a:ext>
              </a:extLst>
            </p:cNvPr>
            <p:cNvSpPr/>
            <p:nvPr/>
          </p:nvSpPr>
          <p:spPr bwMode="auto">
            <a:xfrm>
              <a:off x="7176584" y="1982438"/>
              <a:ext cx="533593" cy="1013581"/>
            </a:xfrm>
            <a:custGeom>
              <a:avLst/>
              <a:gdLst>
                <a:gd name="T0" fmla="*/ 95 w 105"/>
                <a:gd name="T1" fmla="*/ 0 h 200"/>
                <a:gd name="T2" fmla="*/ 3 w 105"/>
                <a:gd name="T3" fmla="*/ 75 h 200"/>
                <a:gd name="T4" fmla="*/ 65 w 105"/>
                <a:gd name="T5" fmla="*/ 136 h 200"/>
                <a:gd name="T6" fmla="*/ 96 w 105"/>
                <a:gd name="T7" fmla="*/ 200 h 200"/>
                <a:gd name="T8" fmla="*/ 105 w 105"/>
                <a:gd name="T9" fmla="*/ 78 h 200"/>
                <a:gd name="T10" fmla="*/ 95 w 105"/>
                <a:gd name="T11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200">
                  <a:moveTo>
                    <a:pt x="95" y="0"/>
                  </a:moveTo>
                  <a:cubicBezTo>
                    <a:pt x="95" y="0"/>
                    <a:pt x="6" y="52"/>
                    <a:pt x="3" y="75"/>
                  </a:cubicBezTo>
                  <a:cubicBezTo>
                    <a:pt x="0" y="98"/>
                    <a:pt x="42" y="105"/>
                    <a:pt x="65" y="136"/>
                  </a:cubicBezTo>
                  <a:cubicBezTo>
                    <a:pt x="88" y="167"/>
                    <a:pt x="96" y="200"/>
                    <a:pt x="96" y="200"/>
                  </a:cubicBezTo>
                  <a:cubicBezTo>
                    <a:pt x="105" y="78"/>
                    <a:pt x="105" y="78"/>
                    <a:pt x="105" y="78"/>
                  </a:cubicBezTo>
                  <a:lnTo>
                    <a:pt x="95" y="0"/>
                  </a:lnTo>
                  <a:close/>
                </a:path>
              </a:pathLst>
            </a:custGeom>
            <a:solidFill>
              <a:srgbClr val="B949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Sľiḍê">
              <a:extLst>
                <a:ext uri="{FF2B5EF4-FFF2-40B4-BE49-F238E27FC236}">
                  <a16:creationId xmlns:a16="http://schemas.microsoft.com/office/drawing/2014/main" id="{F4ECE14D-D4BD-4563-A1BD-FF27121A51F0}"/>
                </a:ext>
              </a:extLst>
            </p:cNvPr>
            <p:cNvSpPr/>
            <p:nvPr/>
          </p:nvSpPr>
          <p:spPr bwMode="auto">
            <a:xfrm>
              <a:off x="6189805" y="1699805"/>
              <a:ext cx="1454587" cy="677345"/>
            </a:xfrm>
            <a:custGeom>
              <a:avLst/>
              <a:gdLst>
                <a:gd name="T0" fmla="*/ 232 w 287"/>
                <a:gd name="T1" fmla="*/ 82 h 134"/>
                <a:gd name="T2" fmla="*/ 189 w 287"/>
                <a:gd name="T3" fmla="*/ 121 h 134"/>
                <a:gd name="T4" fmla="*/ 104 w 287"/>
                <a:gd name="T5" fmla="*/ 111 h 134"/>
                <a:gd name="T6" fmla="*/ 37 w 287"/>
                <a:gd name="T7" fmla="*/ 134 h 134"/>
                <a:gd name="T8" fmla="*/ 71 w 287"/>
                <a:gd name="T9" fmla="*/ 40 h 134"/>
                <a:gd name="T10" fmla="*/ 227 w 287"/>
                <a:gd name="T11" fmla="*/ 9 h 134"/>
                <a:gd name="T12" fmla="*/ 287 w 287"/>
                <a:gd name="T13" fmla="*/ 51 h 134"/>
                <a:gd name="T14" fmla="*/ 232 w 287"/>
                <a:gd name="T15" fmla="*/ 8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134">
                  <a:moveTo>
                    <a:pt x="232" y="82"/>
                  </a:moveTo>
                  <a:cubicBezTo>
                    <a:pt x="207" y="99"/>
                    <a:pt x="189" y="121"/>
                    <a:pt x="189" y="121"/>
                  </a:cubicBezTo>
                  <a:cubicBezTo>
                    <a:pt x="189" y="121"/>
                    <a:pt x="144" y="107"/>
                    <a:pt x="104" y="111"/>
                  </a:cubicBezTo>
                  <a:cubicBezTo>
                    <a:pt x="64" y="115"/>
                    <a:pt x="37" y="134"/>
                    <a:pt x="37" y="134"/>
                  </a:cubicBezTo>
                  <a:cubicBezTo>
                    <a:pt x="37" y="134"/>
                    <a:pt x="0" y="85"/>
                    <a:pt x="71" y="40"/>
                  </a:cubicBezTo>
                  <a:cubicBezTo>
                    <a:pt x="128" y="4"/>
                    <a:pt x="184" y="0"/>
                    <a:pt x="227" y="9"/>
                  </a:cubicBezTo>
                  <a:cubicBezTo>
                    <a:pt x="269" y="17"/>
                    <a:pt x="287" y="51"/>
                    <a:pt x="287" y="51"/>
                  </a:cubicBezTo>
                  <a:cubicBezTo>
                    <a:pt x="287" y="51"/>
                    <a:pt x="268" y="58"/>
                    <a:pt x="232" y="82"/>
                  </a:cubicBezTo>
                  <a:close/>
                </a:path>
              </a:pathLst>
            </a:custGeom>
            <a:solidFill>
              <a:srgbClr val="B949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š1ide">
              <a:extLst>
                <a:ext uri="{FF2B5EF4-FFF2-40B4-BE49-F238E27FC236}">
                  <a16:creationId xmlns:a16="http://schemas.microsoft.com/office/drawing/2014/main" id="{8922FDAA-0F51-4E07-9114-3E29FE1B73A4}"/>
                </a:ext>
              </a:extLst>
            </p:cNvPr>
            <p:cNvSpPr/>
            <p:nvPr/>
          </p:nvSpPr>
          <p:spPr bwMode="auto">
            <a:xfrm>
              <a:off x="7288663" y="2316237"/>
              <a:ext cx="782115" cy="1033073"/>
            </a:xfrm>
            <a:custGeom>
              <a:avLst/>
              <a:gdLst>
                <a:gd name="T0" fmla="*/ 58 w 154"/>
                <a:gd name="T1" fmla="*/ 36 h 204"/>
                <a:gd name="T2" fmla="*/ 58 w 154"/>
                <a:gd name="T3" fmla="*/ 36 h 204"/>
                <a:gd name="T4" fmla="*/ 64 w 154"/>
                <a:gd name="T5" fmla="*/ 34 h 204"/>
                <a:gd name="T6" fmla="*/ 64 w 154"/>
                <a:gd name="T7" fmla="*/ 34 h 204"/>
                <a:gd name="T8" fmla="*/ 70 w 154"/>
                <a:gd name="T9" fmla="*/ 31 h 204"/>
                <a:gd name="T10" fmla="*/ 74 w 154"/>
                <a:gd name="T11" fmla="*/ 29 h 204"/>
                <a:gd name="T12" fmla="*/ 75 w 154"/>
                <a:gd name="T13" fmla="*/ 28 h 204"/>
                <a:gd name="T14" fmla="*/ 77 w 154"/>
                <a:gd name="T15" fmla="*/ 26 h 204"/>
                <a:gd name="T16" fmla="*/ 79 w 154"/>
                <a:gd name="T17" fmla="*/ 25 h 204"/>
                <a:gd name="T18" fmla="*/ 81 w 154"/>
                <a:gd name="T19" fmla="*/ 24 h 204"/>
                <a:gd name="T20" fmla="*/ 82 w 154"/>
                <a:gd name="T21" fmla="*/ 23 h 204"/>
                <a:gd name="T22" fmla="*/ 99 w 154"/>
                <a:gd name="T23" fmla="*/ 0 h 204"/>
                <a:gd name="T24" fmla="*/ 95 w 154"/>
                <a:gd name="T25" fmla="*/ 28 h 204"/>
                <a:gd name="T26" fmla="*/ 86 w 154"/>
                <a:gd name="T27" fmla="*/ 46 h 204"/>
                <a:gd name="T28" fmla="*/ 124 w 154"/>
                <a:gd name="T29" fmla="*/ 46 h 204"/>
                <a:gd name="T30" fmla="*/ 136 w 154"/>
                <a:gd name="T31" fmla="*/ 8 h 204"/>
                <a:gd name="T32" fmla="*/ 150 w 154"/>
                <a:gd name="T33" fmla="*/ 72 h 204"/>
                <a:gd name="T34" fmla="*/ 69 w 154"/>
                <a:gd name="T35" fmla="*/ 204 h 204"/>
                <a:gd name="T36" fmla="*/ 62 w 154"/>
                <a:gd name="T37" fmla="*/ 104 h 204"/>
                <a:gd name="T38" fmla="*/ 43 w 154"/>
                <a:gd name="T39" fmla="*/ 70 h 204"/>
                <a:gd name="T40" fmla="*/ 0 w 154"/>
                <a:gd name="T41" fmla="*/ 36 h 204"/>
                <a:gd name="T42" fmla="*/ 58 w 154"/>
                <a:gd name="T43" fmla="*/ 3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4" h="204">
                  <a:moveTo>
                    <a:pt x="58" y="36"/>
                  </a:moveTo>
                  <a:cubicBezTo>
                    <a:pt x="58" y="36"/>
                    <a:pt x="58" y="36"/>
                    <a:pt x="58" y="36"/>
                  </a:cubicBezTo>
                  <a:cubicBezTo>
                    <a:pt x="60" y="35"/>
                    <a:pt x="62" y="34"/>
                    <a:pt x="64" y="34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6" y="33"/>
                    <a:pt x="68" y="32"/>
                    <a:pt x="70" y="31"/>
                  </a:cubicBezTo>
                  <a:cubicBezTo>
                    <a:pt x="71" y="30"/>
                    <a:pt x="72" y="30"/>
                    <a:pt x="74" y="29"/>
                  </a:cubicBezTo>
                  <a:cubicBezTo>
                    <a:pt x="74" y="28"/>
                    <a:pt x="75" y="28"/>
                    <a:pt x="75" y="28"/>
                  </a:cubicBezTo>
                  <a:cubicBezTo>
                    <a:pt x="76" y="27"/>
                    <a:pt x="77" y="27"/>
                    <a:pt x="77" y="26"/>
                  </a:cubicBezTo>
                  <a:cubicBezTo>
                    <a:pt x="78" y="26"/>
                    <a:pt x="78" y="26"/>
                    <a:pt x="79" y="25"/>
                  </a:cubicBezTo>
                  <a:cubicBezTo>
                    <a:pt x="80" y="25"/>
                    <a:pt x="80" y="24"/>
                    <a:pt x="81" y="24"/>
                  </a:cubicBezTo>
                  <a:cubicBezTo>
                    <a:pt x="81" y="24"/>
                    <a:pt x="82" y="23"/>
                    <a:pt x="82" y="23"/>
                  </a:cubicBezTo>
                  <a:cubicBezTo>
                    <a:pt x="97" y="11"/>
                    <a:pt x="99" y="0"/>
                    <a:pt x="99" y="0"/>
                  </a:cubicBezTo>
                  <a:cubicBezTo>
                    <a:pt x="99" y="0"/>
                    <a:pt x="100" y="15"/>
                    <a:pt x="95" y="28"/>
                  </a:cubicBezTo>
                  <a:cubicBezTo>
                    <a:pt x="90" y="41"/>
                    <a:pt x="86" y="46"/>
                    <a:pt x="86" y="46"/>
                  </a:cubicBezTo>
                  <a:cubicBezTo>
                    <a:pt x="86" y="46"/>
                    <a:pt x="110" y="57"/>
                    <a:pt x="124" y="46"/>
                  </a:cubicBezTo>
                  <a:cubicBezTo>
                    <a:pt x="133" y="38"/>
                    <a:pt x="136" y="22"/>
                    <a:pt x="136" y="8"/>
                  </a:cubicBezTo>
                  <a:cubicBezTo>
                    <a:pt x="143" y="26"/>
                    <a:pt x="148" y="47"/>
                    <a:pt x="150" y="72"/>
                  </a:cubicBezTo>
                  <a:cubicBezTo>
                    <a:pt x="154" y="163"/>
                    <a:pt x="69" y="204"/>
                    <a:pt x="69" y="20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58" y="93"/>
                    <a:pt x="51" y="82"/>
                    <a:pt x="43" y="70"/>
                  </a:cubicBezTo>
                  <a:cubicBezTo>
                    <a:pt x="31" y="54"/>
                    <a:pt x="13" y="44"/>
                    <a:pt x="0" y="36"/>
                  </a:cubicBezTo>
                  <a:cubicBezTo>
                    <a:pt x="0" y="36"/>
                    <a:pt x="33" y="43"/>
                    <a:pt x="58" y="36"/>
                  </a:cubicBezTo>
                  <a:close/>
                </a:path>
              </a:pathLst>
            </a:custGeom>
            <a:solidFill>
              <a:srgbClr val="A03F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ṥlíďê">
              <a:extLst>
                <a:ext uri="{FF2B5EF4-FFF2-40B4-BE49-F238E27FC236}">
                  <a16:creationId xmlns:a16="http://schemas.microsoft.com/office/drawing/2014/main" id="{173C8303-F619-482D-B482-5878E12B24D6}"/>
                </a:ext>
              </a:extLst>
            </p:cNvPr>
            <p:cNvSpPr/>
            <p:nvPr/>
          </p:nvSpPr>
          <p:spPr bwMode="auto">
            <a:xfrm>
              <a:off x="7110799" y="3938940"/>
              <a:ext cx="913685" cy="2202589"/>
            </a:xfrm>
            <a:custGeom>
              <a:avLst/>
              <a:gdLst>
                <a:gd name="T0" fmla="*/ 15 w 180"/>
                <a:gd name="T1" fmla="*/ 292 h 435"/>
                <a:gd name="T2" fmla="*/ 0 w 180"/>
                <a:gd name="T3" fmla="*/ 435 h 435"/>
                <a:gd name="T4" fmla="*/ 140 w 180"/>
                <a:gd name="T5" fmla="*/ 435 h 435"/>
                <a:gd name="T6" fmla="*/ 126 w 180"/>
                <a:gd name="T7" fmla="*/ 369 h 435"/>
                <a:gd name="T8" fmla="*/ 173 w 180"/>
                <a:gd name="T9" fmla="*/ 127 h 435"/>
                <a:gd name="T10" fmla="*/ 134 w 180"/>
                <a:gd name="T11" fmla="*/ 35 h 435"/>
                <a:gd name="T12" fmla="*/ 79 w 180"/>
                <a:gd name="T13" fmla="*/ 0 h 435"/>
                <a:gd name="T14" fmla="*/ 34 w 180"/>
                <a:gd name="T15" fmla="*/ 114 h 435"/>
                <a:gd name="T16" fmla="*/ 30 w 180"/>
                <a:gd name="T17" fmla="*/ 147 h 435"/>
                <a:gd name="T18" fmla="*/ 11 w 180"/>
                <a:gd name="T19" fmla="*/ 215 h 435"/>
                <a:gd name="T20" fmla="*/ 9 w 180"/>
                <a:gd name="T21" fmla="*/ 251 h 435"/>
                <a:gd name="T22" fmla="*/ 15 w 180"/>
                <a:gd name="T23" fmla="*/ 292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0" h="435">
                  <a:moveTo>
                    <a:pt x="15" y="292"/>
                  </a:moveTo>
                  <a:cubicBezTo>
                    <a:pt x="0" y="435"/>
                    <a:pt x="0" y="435"/>
                    <a:pt x="0" y="435"/>
                  </a:cubicBezTo>
                  <a:cubicBezTo>
                    <a:pt x="140" y="435"/>
                    <a:pt x="140" y="435"/>
                    <a:pt x="140" y="435"/>
                  </a:cubicBezTo>
                  <a:cubicBezTo>
                    <a:pt x="126" y="369"/>
                    <a:pt x="126" y="369"/>
                    <a:pt x="126" y="369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80" y="91"/>
                    <a:pt x="164" y="55"/>
                    <a:pt x="134" y="3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30" y="147"/>
                    <a:pt x="30" y="147"/>
                    <a:pt x="30" y="147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8" y="227"/>
                    <a:pt x="7" y="239"/>
                    <a:pt x="9" y="251"/>
                  </a:cubicBezTo>
                  <a:lnTo>
                    <a:pt x="15" y="292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íṧľídé">
              <a:extLst>
                <a:ext uri="{FF2B5EF4-FFF2-40B4-BE49-F238E27FC236}">
                  <a16:creationId xmlns:a16="http://schemas.microsoft.com/office/drawing/2014/main" id="{F45089E1-B173-46F0-A8B5-05E42033E100}"/>
                </a:ext>
              </a:extLst>
            </p:cNvPr>
            <p:cNvSpPr/>
            <p:nvPr/>
          </p:nvSpPr>
          <p:spPr bwMode="auto">
            <a:xfrm>
              <a:off x="7110799" y="5103583"/>
              <a:ext cx="679782" cy="1037946"/>
            </a:xfrm>
            <a:custGeom>
              <a:avLst/>
              <a:gdLst>
                <a:gd name="T0" fmla="*/ 134 w 134"/>
                <a:gd name="T1" fmla="*/ 205 h 205"/>
                <a:gd name="T2" fmla="*/ 109 w 134"/>
                <a:gd name="T3" fmla="*/ 128 h 205"/>
                <a:gd name="T4" fmla="*/ 109 w 134"/>
                <a:gd name="T5" fmla="*/ 60 h 205"/>
                <a:gd name="T6" fmla="*/ 74 w 134"/>
                <a:gd name="T7" fmla="*/ 47 h 205"/>
                <a:gd name="T8" fmla="*/ 56 w 134"/>
                <a:gd name="T9" fmla="*/ 40 h 205"/>
                <a:gd name="T10" fmla="*/ 51 w 134"/>
                <a:gd name="T11" fmla="*/ 0 h 205"/>
                <a:gd name="T12" fmla="*/ 28 w 134"/>
                <a:gd name="T13" fmla="*/ 70 h 205"/>
                <a:gd name="T14" fmla="*/ 3 w 134"/>
                <a:gd name="T15" fmla="*/ 180 h 205"/>
                <a:gd name="T16" fmla="*/ 0 w 134"/>
                <a:gd name="T17" fmla="*/ 205 h 205"/>
                <a:gd name="T18" fmla="*/ 134 w 134"/>
                <a:gd name="T1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205">
                  <a:moveTo>
                    <a:pt x="134" y="205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58" y="48"/>
                    <a:pt x="56" y="40"/>
                  </a:cubicBezTo>
                  <a:cubicBezTo>
                    <a:pt x="53" y="33"/>
                    <a:pt x="51" y="0"/>
                    <a:pt x="51" y="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3" y="180"/>
                    <a:pt x="3" y="180"/>
                    <a:pt x="3" y="180"/>
                  </a:cubicBezTo>
                  <a:cubicBezTo>
                    <a:pt x="0" y="205"/>
                    <a:pt x="0" y="205"/>
                    <a:pt x="0" y="205"/>
                  </a:cubicBezTo>
                  <a:lnTo>
                    <a:pt x="134" y="205"/>
                  </a:lnTo>
                  <a:close/>
                </a:path>
              </a:pathLst>
            </a:custGeom>
            <a:solidFill>
              <a:srgbClr val="3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ṩ1îdê">
              <a:extLst>
                <a:ext uri="{FF2B5EF4-FFF2-40B4-BE49-F238E27FC236}">
                  <a16:creationId xmlns:a16="http://schemas.microsoft.com/office/drawing/2014/main" id="{9DDD977D-7D1B-4088-BACD-9A34AB2B15E5}"/>
                </a:ext>
              </a:extLst>
            </p:cNvPr>
            <p:cNvSpPr/>
            <p:nvPr/>
          </p:nvSpPr>
          <p:spPr bwMode="auto">
            <a:xfrm>
              <a:off x="7127854" y="4606539"/>
              <a:ext cx="302125" cy="1408292"/>
            </a:xfrm>
            <a:custGeom>
              <a:avLst/>
              <a:gdLst>
                <a:gd name="T0" fmla="*/ 5 w 60"/>
                <a:gd name="T1" fmla="*/ 245 h 278"/>
                <a:gd name="T2" fmla="*/ 4 w 60"/>
                <a:gd name="T3" fmla="*/ 243 h 278"/>
                <a:gd name="T4" fmla="*/ 12 w 60"/>
                <a:gd name="T5" fmla="*/ 160 h 278"/>
                <a:gd name="T6" fmla="*/ 6 w 60"/>
                <a:gd name="T7" fmla="*/ 119 h 278"/>
                <a:gd name="T8" fmla="*/ 8 w 60"/>
                <a:gd name="T9" fmla="*/ 83 h 278"/>
                <a:gd name="T10" fmla="*/ 27 w 60"/>
                <a:gd name="T11" fmla="*/ 17 h 278"/>
                <a:gd name="T12" fmla="*/ 52 w 60"/>
                <a:gd name="T13" fmla="*/ 0 h 278"/>
                <a:gd name="T14" fmla="*/ 60 w 60"/>
                <a:gd name="T15" fmla="*/ 52 h 278"/>
                <a:gd name="T16" fmla="*/ 52 w 60"/>
                <a:gd name="T17" fmla="*/ 80 h 278"/>
                <a:gd name="T18" fmla="*/ 40 w 60"/>
                <a:gd name="T19" fmla="*/ 137 h 278"/>
                <a:gd name="T20" fmla="*/ 35 w 60"/>
                <a:gd name="T21" fmla="*/ 209 h 278"/>
                <a:gd name="T22" fmla="*/ 0 w 60"/>
                <a:gd name="T23" fmla="*/ 278 h 278"/>
                <a:gd name="T24" fmla="*/ 5 w 60"/>
                <a:gd name="T25" fmla="*/ 245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278">
                  <a:moveTo>
                    <a:pt x="5" y="245"/>
                  </a:moveTo>
                  <a:cubicBezTo>
                    <a:pt x="5" y="245"/>
                    <a:pt x="4" y="244"/>
                    <a:pt x="4" y="243"/>
                  </a:cubicBezTo>
                  <a:cubicBezTo>
                    <a:pt x="12" y="160"/>
                    <a:pt x="12" y="160"/>
                    <a:pt x="12" y="160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4" y="107"/>
                    <a:pt x="5" y="95"/>
                    <a:pt x="8" y="83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101"/>
                    <a:pt x="39" y="130"/>
                    <a:pt x="40" y="137"/>
                  </a:cubicBezTo>
                  <a:cubicBezTo>
                    <a:pt x="41" y="150"/>
                    <a:pt x="43" y="190"/>
                    <a:pt x="35" y="209"/>
                  </a:cubicBezTo>
                  <a:cubicBezTo>
                    <a:pt x="27" y="227"/>
                    <a:pt x="0" y="278"/>
                    <a:pt x="0" y="278"/>
                  </a:cubicBezTo>
                  <a:lnTo>
                    <a:pt x="5" y="245"/>
                  </a:ln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ŝlïḋe">
              <a:extLst>
                <a:ext uri="{FF2B5EF4-FFF2-40B4-BE49-F238E27FC236}">
                  <a16:creationId xmlns:a16="http://schemas.microsoft.com/office/drawing/2014/main" id="{DBF22984-0411-48A1-B197-8B99926F80BB}"/>
                </a:ext>
              </a:extLst>
            </p:cNvPr>
            <p:cNvSpPr/>
            <p:nvPr/>
          </p:nvSpPr>
          <p:spPr bwMode="auto">
            <a:xfrm>
              <a:off x="6299447" y="4019345"/>
              <a:ext cx="609123" cy="2122185"/>
            </a:xfrm>
            <a:custGeom>
              <a:avLst/>
              <a:gdLst>
                <a:gd name="T0" fmla="*/ 62 w 120"/>
                <a:gd name="T1" fmla="*/ 419 h 419"/>
                <a:gd name="T2" fmla="*/ 84 w 120"/>
                <a:gd name="T3" fmla="*/ 263 h 419"/>
                <a:gd name="T4" fmla="*/ 79 w 120"/>
                <a:gd name="T5" fmla="*/ 227 h 419"/>
                <a:gd name="T6" fmla="*/ 81 w 120"/>
                <a:gd name="T7" fmla="*/ 192 h 419"/>
                <a:gd name="T8" fmla="*/ 109 w 120"/>
                <a:gd name="T9" fmla="*/ 94 h 419"/>
                <a:gd name="T10" fmla="*/ 120 w 120"/>
                <a:gd name="T11" fmla="*/ 20 h 419"/>
                <a:gd name="T12" fmla="*/ 118 w 120"/>
                <a:gd name="T13" fmla="*/ 0 h 419"/>
                <a:gd name="T14" fmla="*/ 59 w 120"/>
                <a:gd name="T15" fmla="*/ 43 h 419"/>
                <a:gd name="T16" fmla="*/ 13 w 120"/>
                <a:gd name="T17" fmla="*/ 339 h 419"/>
                <a:gd name="T18" fmla="*/ 0 w 120"/>
                <a:gd name="T19" fmla="*/ 419 h 419"/>
                <a:gd name="T20" fmla="*/ 62 w 120"/>
                <a:gd name="T21" fmla="*/ 4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419">
                  <a:moveTo>
                    <a:pt x="62" y="419"/>
                  </a:moveTo>
                  <a:cubicBezTo>
                    <a:pt x="84" y="263"/>
                    <a:pt x="84" y="263"/>
                    <a:pt x="84" y="263"/>
                  </a:cubicBezTo>
                  <a:cubicBezTo>
                    <a:pt x="79" y="227"/>
                    <a:pt x="79" y="227"/>
                    <a:pt x="79" y="227"/>
                  </a:cubicBezTo>
                  <a:cubicBezTo>
                    <a:pt x="77" y="216"/>
                    <a:pt x="78" y="204"/>
                    <a:pt x="81" y="192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13" y="339"/>
                    <a:pt x="13" y="339"/>
                    <a:pt x="13" y="339"/>
                  </a:cubicBezTo>
                  <a:cubicBezTo>
                    <a:pt x="0" y="419"/>
                    <a:pt x="0" y="419"/>
                    <a:pt x="0" y="419"/>
                  </a:cubicBezTo>
                  <a:lnTo>
                    <a:pt x="62" y="419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Sḷidé">
              <a:extLst>
                <a:ext uri="{FF2B5EF4-FFF2-40B4-BE49-F238E27FC236}">
                  <a16:creationId xmlns:a16="http://schemas.microsoft.com/office/drawing/2014/main" id="{E56F7D5D-3A57-40DB-B4B7-A309EFF18F81}"/>
                </a:ext>
              </a:extLst>
            </p:cNvPr>
            <p:cNvSpPr/>
            <p:nvPr/>
          </p:nvSpPr>
          <p:spPr bwMode="auto">
            <a:xfrm>
              <a:off x="6360360" y="5052418"/>
              <a:ext cx="309435" cy="799169"/>
            </a:xfrm>
            <a:custGeom>
              <a:avLst/>
              <a:gdLst>
                <a:gd name="T0" fmla="*/ 43 w 61"/>
                <a:gd name="T1" fmla="*/ 3 h 158"/>
                <a:gd name="T2" fmla="*/ 26 w 61"/>
                <a:gd name="T3" fmla="*/ 5 h 158"/>
                <a:gd name="T4" fmla="*/ 11 w 61"/>
                <a:gd name="T5" fmla="*/ 0 h 158"/>
                <a:gd name="T6" fmla="*/ 18 w 61"/>
                <a:gd name="T7" fmla="*/ 46 h 158"/>
                <a:gd name="T8" fmla="*/ 9 w 61"/>
                <a:gd name="T9" fmla="*/ 92 h 158"/>
                <a:gd name="T10" fmla="*/ 0 w 61"/>
                <a:gd name="T11" fmla="*/ 153 h 158"/>
                <a:gd name="T12" fmla="*/ 59 w 61"/>
                <a:gd name="T13" fmla="*/ 158 h 158"/>
                <a:gd name="T14" fmla="*/ 61 w 61"/>
                <a:gd name="T15" fmla="*/ 99 h 158"/>
                <a:gd name="T16" fmla="*/ 43 w 61"/>
                <a:gd name="T17" fmla="*/ 3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58">
                  <a:moveTo>
                    <a:pt x="43" y="3"/>
                  </a:moveTo>
                  <a:cubicBezTo>
                    <a:pt x="43" y="3"/>
                    <a:pt x="36" y="5"/>
                    <a:pt x="26" y="5"/>
                  </a:cubicBezTo>
                  <a:cubicBezTo>
                    <a:pt x="15" y="4"/>
                    <a:pt x="11" y="0"/>
                    <a:pt x="11" y="0"/>
                  </a:cubicBezTo>
                  <a:cubicBezTo>
                    <a:pt x="11" y="0"/>
                    <a:pt x="20" y="37"/>
                    <a:pt x="18" y="46"/>
                  </a:cubicBezTo>
                  <a:cubicBezTo>
                    <a:pt x="17" y="54"/>
                    <a:pt x="9" y="92"/>
                    <a:pt x="9" y="9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59" y="158"/>
                    <a:pt x="59" y="158"/>
                    <a:pt x="59" y="158"/>
                  </a:cubicBezTo>
                  <a:cubicBezTo>
                    <a:pt x="61" y="99"/>
                    <a:pt x="61" y="99"/>
                    <a:pt x="61" y="99"/>
                  </a:cubicBezTo>
                  <a:lnTo>
                    <a:pt x="43" y="3"/>
                  </a:lnTo>
                  <a:close/>
                </a:path>
              </a:pathLst>
            </a:custGeom>
            <a:solidFill>
              <a:srgbClr val="3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şḻidê">
              <a:extLst>
                <a:ext uri="{FF2B5EF4-FFF2-40B4-BE49-F238E27FC236}">
                  <a16:creationId xmlns:a16="http://schemas.microsoft.com/office/drawing/2014/main" id="{4EE21004-AD78-4703-8CD9-9F23CDA5A100}"/>
                </a:ext>
              </a:extLst>
            </p:cNvPr>
            <p:cNvSpPr/>
            <p:nvPr/>
          </p:nvSpPr>
          <p:spPr bwMode="auto">
            <a:xfrm>
              <a:off x="6538223" y="4550501"/>
              <a:ext cx="258268" cy="1115913"/>
            </a:xfrm>
            <a:custGeom>
              <a:avLst/>
              <a:gdLst>
                <a:gd name="T0" fmla="*/ 12 w 51"/>
                <a:gd name="T1" fmla="*/ 50 h 220"/>
                <a:gd name="T2" fmla="*/ 42 w 51"/>
                <a:gd name="T3" fmla="*/ 0 h 220"/>
                <a:gd name="T4" fmla="*/ 51 w 51"/>
                <a:gd name="T5" fmla="*/ 28 h 220"/>
                <a:gd name="T6" fmla="*/ 34 w 51"/>
                <a:gd name="T7" fmla="*/ 87 h 220"/>
                <a:gd name="T8" fmla="*/ 32 w 51"/>
                <a:gd name="T9" fmla="*/ 122 h 220"/>
                <a:gd name="T10" fmla="*/ 37 w 51"/>
                <a:gd name="T11" fmla="*/ 158 h 220"/>
                <a:gd name="T12" fmla="*/ 28 w 51"/>
                <a:gd name="T13" fmla="*/ 220 h 220"/>
                <a:gd name="T14" fmla="*/ 7 w 51"/>
                <a:gd name="T15" fmla="*/ 130 h 220"/>
                <a:gd name="T16" fmla="*/ 12 w 51"/>
                <a:gd name="T17" fmla="*/ 5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220">
                  <a:moveTo>
                    <a:pt x="12" y="5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34" y="87"/>
                    <a:pt x="34" y="87"/>
                    <a:pt x="34" y="87"/>
                  </a:cubicBezTo>
                  <a:cubicBezTo>
                    <a:pt x="31" y="99"/>
                    <a:pt x="30" y="111"/>
                    <a:pt x="32" y="122"/>
                  </a:cubicBezTo>
                  <a:cubicBezTo>
                    <a:pt x="37" y="158"/>
                    <a:pt x="37" y="158"/>
                    <a:pt x="37" y="158"/>
                  </a:cubicBezTo>
                  <a:cubicBezTo>
                    <a:pt x="28" y="220"/>
                    <a:pt x="28" y="220"/>
                    <a:pt x="28" y="220"/>
                  </a:cubicBezTo>
                  <a:cubicBezTo>
                    <a:pt x="28" y="220"/>
                    <a:pt x="14" y="163"/>
                    <a:pt x="7" y="130"/>
                  </a:cubicBezTo>
                  <a:cubicBezTo>
                    <a:pt x="0" y="98"/>
                    <a:pt x="12" y="50"/>
                    <a:pt x="12" y="50"/>
                  </a:cubicBez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îşlïďê">
              <a:extLst>
                <a:ext uri="{FF2B5EF4-FFF2-40B4-BE49-F238E27FC236}">
                  <a16:creationId xmlns:a16="http://schemas.microsoft.com/office/drawing/2014/main" id="{45305D04-435D-4468-BB77-7B0DA328B502}"/>
                </a:ext>
              </a:extLst>
            </p:cNvPr>
            <p:cNvSpPr/>
            <p:nvPr/>
          </p:nvSpPr>
          <p:spPr bwMode="auto">
            <a:xfrm>
              <a:off x="7264298" y="3938940"/>
              <a:ext cx="333800" cy="752877"/>
            </a:xfrm>
            <a:custGeom>
              <a:avLst/>
              <a:gdLst>
                <a:gd name="T0" fmla="*/ 137 w 137"/>
                <a:gd name="T1" fmla="*/ 25 h 309"/>
                <a:gd name="T2" fmla="*/ 73 w 137"/>
                <a:gd name="T3" fmla="*/ 259 h 309"/>
                <a:gd name="T4" fmla="*/ 0 w 137"/>
                <a:gd name="T5" fmla="*/ 309 h 309"/>
                <a:gd name="T6" fmla="*/ 8 w 137"/>
                <a:gd name="T7" fmla="*/ 237 h 309"/>
                <a:gd name="T8" fmla="*/ 102 w 137"/>
                <a:gd name="T9" fmla="*/ 0 h 309"/>
                <a:gd name="T10" fmla="*/ 137 w 137"/>
                <a:gd name="T11" fmla="*/ 25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" h="309">
                  <a:moveTo>
                    <a:pt x="137" y="25"/>
                  </a:moveTo>
                  <a:lnTo>
                    <a:pt x="73" y="259"/>
                  </a:lnTo>
                  <a:lnTo>
                    <a:pt x="0" y="309"/>
                  </a:lnTo>
                  <a:lnTo>
                    <a:pt x="8" y="237"/>
                  </a:lnTo>
                  <a:lnTo>
                    <a:pt x="102" y="0"/>
                  </a:lnTo>
                  <a:lnTo>
                    <a:pt x="137" y="25"/>
                  </a:ln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$ḻîdê">
              <a:extLst>
                <a:ext uri="{FF2B5EF4-FFF2-40B4-BE49-F238E27FC236}">
                  <a16:creationId xmlns:a16="http://schemas.microsoft.com/office/drawing/2014/main" id="{749D4F04-7560-4E60-8621-A8AA1BBB064A}"/>
                </a:ext>
              </a:extLst>
            </p:cNvPr>
            <p:cNvSpPr/>
            <p:nvPr/>
          </p:nvSpPr>
          <p:spPr bwMode="auto">
            <a:xfrm>
              <a:off x="6735580" y="4019345"/>
              <a:ext cx="172992" cy="672472"/>
            </a:xfrm>
            <a:custGeom>
              <a:avLst/>
              <a:gdLst>
                <a:gd name="T0" fmla="*/ 46 w 71"/>
                <a:gd name="T1" fmla="*/ 17 h 276"/>
                <a:gd name="T2" fmla="*/ 0 w 71"/>
                <a:gd name="T3" fmla="*/ 197 h 276"/>
                <a:gd name="T4" fmla="*/ 25 w 71"/>
                <a:gd name="T5" fmla="*/ 276 h 276"/>
                <a:gd name="T6" fmla="*/ 48 w 71"/>
                <a:gd name="T7" fmla="*/ 195 h 276"/>
                <a:gd name="T8" fmla="*/ 71 w 71"/>
                <a:gd name="T9" fmla="*/ 41 h 276"/>
                <a:gd name="T10" fmla="*/ 67 w 71"/>
                <a:gd name="T11" fmla="*/ 0 h 276"/>
                <a:gd name="T12" fmla="*/ 46 w 71"/>
                <a:gd name="T13" fmla="*/ 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276">
                  <a:moveTo>
                    <a:pt x="46" y="17"/>
                  </a:moveTo>
                  <a:lnTo>
                    <a:pt x="0" y="197"/>
                  </a:lnTo>
                  <a:lnTo>
                    <a:pt x="25" y="276"/>
                  </a:lnTo>
                  <a:lnTo>
                    <a:pt x="48" y="195"/>
                  </a:lnTo>
                  <a:lnTo>
                    <a:pt x="71" y="41"/>
                  </a:lnTo>
                  <a:lnTo>
                    <a:pt x="67" y="0"/>
                  </a:lnTo>
                  <a:lnTo>
                    <a:pt x="46" y="17"/>
                  </a:ln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îṩḻiďè">
              <a:extLst>
                <a:ext uri="{FF2B5EF4-FFF2-40B4-BE49-F238E27FC236}">
                  <a16:creationId xmlns:a16="http://schemas.microsoft.com/office/drawing/2014/main" id="{76A89486-10EA-4135-8855-C835DE48B7E2}"/>
                </a:ext>
              </a:extLst>
            </p:cNvPr>
            <p:cNvSpPr/>
            <p:nvPr/>
          </p:nvSpPr>
          <p:spPr bwMode="auto">
            <a:xfrm>
              <a:off x="7624898" y="2888813"/>
              <a:ext cx="231468" cy="355728"/>
            </a:xfrm>
            <a:custGeom>
              <a:avLst/>
              <a:gdLst>
                <a:gd name="T0" fmla="*/ 2 w 46"/>
                <a:gd name="T1" fmla="*/ 68 h 70"/>
                <a:gd name="T2" fmla="*/ 0 w 46"/>
                <a:gd name="T3" fmla="*/ 1 h 70"/>
                <a:gd name="T4" fmla="*/ 11 w 46"/>
                <a:gd name="T5" fmla="*/ 0 h 70"/>
                <a:gd name="T6" fmla="*/ 46 w 46"/>
                <a:gd name="T7" fmla="*/ 35 h 70"/>
                <a:gd name="T8" fmla="*/ 11 w 46"/>
                <a:gd name="T9" fmla="*/ 70 h 70"/>
                <a:gd name="T10" fmla="*/ 2 w 46"/>
                <a:gd name="T11" fmla="*/ 69 h 70"/>
                <a:gd name="T12" fmla="*/ 2 w 46"/>
                <a:gd name="T13" fmla="*/ 6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70">
                  <a:moveTo>
                    <a:pt x="2" y="68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0"/>
                    <a:pt x="7" y="0"/>
                    <a:pt x="11" y="0"/>
                  </a:cubicBezTo>
                  <a:cubicBezTo>
                    <a:pt x="30" y="0"/>
                    <a:pt x="46" y="15"/>
                    <a:pt x="46" y="35"/>
                  </a:cubicBezTo>
                  <a:cubicBezTo>
                    <a:pt x="46" y="54"/>
                    <a:pt x="30" y="70"/>
                    <a:pt x="11" y="70"/>
                  </a:cubicBezTo>
                  <a:cubicBezTo>
                    <a:pt x="8" y="70"/>
                    <a:pt x="5" y="69"/>
                    <a:pt x="2" y="69"/>
                  </a:cubicBezTo>
                  <a:lnTo>
                    <a:pt x="2" y="68"/>
                  </a:ln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ṣliḍê">
              <a:extLst>
                <a:ext uri="{FF2B5EF4-FFF2-40B4-BE49-F238E27FC236}">
                  <a16:creationId xmlns:a16="http://schemas.microsoft.com/office/drawing/2014/main" id="{A0D1006F-E4F8-4A5A-889D-BE0511FFA43E}"/>
                </a:ext>
              </a:extLst>
            </p:cNvPr>
            <p:cNvSpPr/>
            <p:nvPr/>
          </p:nvSpPr>
          <p:spPr bwMode="auto">
            <a:xfrm>
              <a:off x="7527439" y="2667091"/>
              <a:ext cx="163246" cy="409331"/>
            </a:xfrm>
            <a:custGeom>
              <a:avLst/>
              <a:gdLst>
                <a:gd name="T0" fmla="*/ 0 w 32"/>
                <a:gd name="T1" fmla="*/ 7 h 81"/>
                <a:gd name="T2" fmla="*/ 0 w 32"/>
                <a:gd name="T3" fmla="*/ 7 h 81"/>
                <a:gd name="T4" fmla="*/ 17 w 32"/>
                <a:gd name="T5" fmla="*/ 66 h 81"/>
                <a:gd name="T6" fmla="*/ 18 w 32"/>
                <a:gd name="T7" fmla="*/ 81 h 81"/>
                <a:gd name="T8" fmla="*/ 32 w 32"/>
                <a:gd name="T9" fmla="*/ 0 h 81"/>
                <a:gd name="T10" fmla="*/ 0 w 32"/>
                <a:gd name="T11" fmla="*/ 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81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10" y="25"/>
                    <a:pt x="16" y="45"/>
                    <a:pt x="17" y="66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A03F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$ļîḋe">
              <a:extLst>
                <a:ext uri="{FF2B5EF4-FFF2-40B4-BE49-F238E27FC236}">
                  <a16:creationId xmlns:a16="http://schemas.microsoft.com/office/drawing/2014/main" id="{28FB145D-F2E1-41A3-B787-3E5E5916B83D}"/>
                </a:ext>
              </a:extLst>
            </p:cNvPr>
            <p:cNvSpPr/>
            <p:nvPr/>
          </p:nvSpPr>
          <p:spPr bwMode="auto">
            <a:xfrm>
              <a:off x="7390995" y="2123755"/>
              <a:ext cx="389839" cy="285070"/>
            </a:xfrm>
            <a:custGeom>
              <a:avLst/>
              <a:gdLst>
                <a:gd name="T0" fmla="*/ 4 w 77"/>
                <a:gd name="T1" fmla="*/ 36 h 56"/>
                <a:gd name="T2" fmla="*/ 28 w 77"/>
                <a:gd name="T3" fmla="*/ 11 h 56"/>
                <a:gd name="T4" fmla="*/ 68 w 77"/>
                <a:gd name="T5" fmla="*/ 6 h 56"/>
                <a:gd name="T6" fmla="*/ 33 w 77"/>
                <a:gd name="T7" fmla="*/ 50 h 56"/>
                <a:gd name="T8" fmla="*/ 4 w 77"/>
                <a:gd name="T9" fmla="*/ 3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6">
                  <a:moveTo>
                    <a:pt x="4" y="36"/>
                  </a:moveTo>
                  <a:cubicBezTo>
                    <a:pt x="4" y="36"/>
                    <a:pt x="8" y="21"/>
                    <a:pt x="28" y="11"/>
                  </a:cubicBezTo>
                  <a:cubicBezTo>
                    <a:pt x="47" y="1"/>
                    <a:pt x="60" y="0"/>
                    <a:pt x="68" y="6"/>
                  </a:cubicBezTo>
                  <a:cubicBezTo>
                    <a:pt x="77" y="13"/>
                    <a:pt x="58" y="44"/>
                    <a:pt x="33" y="50"/>
                  </a:cubicBezTo>
                  <a:cubicBezTo>
                    <a:pt x="12" y="56"/>
                    <a:pt x="0" y="49"/>
                    <a:pt x="4" y="36"/>
                  </a:cubicBezTo>
                  <a:close/>
                </a:path>
              </a:pathLst>
            </a:custGeom>
            <a:solidFill>
              <a:srgbClr val="D35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ŝlíde">
              <a:extLst>
                <a:ext uri="{FF2B5EF4-FFF2-40B4-BE49-F238E27FC236}">
                  <a16:creationId xmlns:a16="http://schemas.microsoft.com/office/drawing/2014/main" id="{B932C032-4714-4074-9A7F-EA2FDAA83A22}"/>
                </a:ext>
              </a:extLst>
            </p:cNvPr>
            <p:cNvSpPr/>
            <p:nvPr/>
          </p:nvSpPr>
          <p:spPr bwMode="auto">
            <a:xfrm>
              <a:off x="6681977" y="1770462"/>
              <a:ext cx="484863" cy="258268"/>
            </a:xfrm>
            <a:custGeom>
              <a:avLst/>
              <a:gdLst>
                <a:gd name="T0" fmla="*/ 11 w 96"/>
                <a:gd name="T1" fmla="*/ 19 h 51"/>
                <a:gd name="T2" fmla="*/ 47 w 96"/>
                <a:gd name="T3" fmla="*/ 3 h 51"/>
                <a:gd name="T4" fmla="*/ 90 w 96"/>
                <a:gd name="T5" fmla="*/ 15 h 51"/>
                <a:gd name="T6" fmla="*/ 33 w 96"/>
                <a:gd name="T7" fmla="*/ 47 h 51"/>
                <a:gd name="T8" fmla="*/ 11 w 96"/>
                <a:gd name="T9" fmla="*/ 1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1">
                  <a:moveTo>
                    <a:pt x="11" y="19"/>
                  </a:moveTo>
                  <a:cubicBezTo>
                    <a:pt x="11" y="19"/>
                    <a:pt x="23" y="5"/>
                    <a:pt x="47" y="3"/>
                  </a:cubicBezTo>
                  <a:cubicBezTo>
                    <a:pt x="72" y="0"/>
                    <a:pt x="85" y="5"/>
                    <a:pt x="90" y="15"/>
                  </a:cubicBezTo>
                  <a:cubicBezTo>
                    <a:pt x="96" y="27"/>
                    <a:pt x="61" y="51"/>
                    <a:pt x="33" y="47"/>
                  </a:cubicBezTo>
                  <a:cubicBezTo>
                    <a:pt x="9" y="44"/>
                    <a:pt x="0" y="32"/>
                    <a:pt x="11" y="19"/>
                  </a:cubicBezTo>
                  <a:close/>
                </a:path>
              </a:pathLst>
            </a:custGeom>
            <a:solidFill>
              <a:srgbClr val="D35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śḷîḑe">
              <a:extLst>
                <a:ext uri="{FF2B5EF4-FFF2-40B4-BE49-F238E27FC236}">
                  <a16:creationId xmlns:a16="http://schemas.microsoft.com/office/drawing/2014/main" id="{C5058A54-A2B4-4D2B-8210-B8B9C3BBB244}"/>
                </a:ext>
              </a:extLst>
            </p:cNvPr>
            <p:cNvSpPr/>
            <p:nvPr/>
          </p:nvSpPr>
          <p:spPr bwMode="auto">
            <a:xfrm>
              <a:off x="6331122" y="1789954"/>
              <a:ext cx="1281595" cy="587195"/>
            </a:xfrm>
            <a:custGeom>
              <a:avLst/>
              <a:gdLst>
                <a:gd name="T0" fmla="*/ 7 w 253"/>
                <a:gd name="T1" fmla="*/ 68 h 116"/>
                <a:gd name="T2" fmla="*/ 50 w 253"/>
                <a:gd name="T3" fmla="*/ 26 h 116"/>
                <a:gd name="T4" fmla="*/ 50 w 253"/>
                <a:gd name="T5" fmla="*/ 57 h 116"/>
                <a:gd name="T6" fmla="*/ 180 w 253"/>
                <a:gd name="T7" fmla="*/ 39 h 116"/>
                <a:gd name="T8" fmla="*/ 188 w 253"/>
                <a:gd name="T9" fmla="*/ 0 h 116"/>
                <a:gd name="T10" fmla="*/ 227 w 253"/>
                <a:gd name="T11" fmla="*/ 12 h 116"/>
                <a:gd name="T12" fmla="*/ 253 w 253"/>
                <a:gd name="T13" fmla="*/ 35 h 116"/>
                <a:gd name="T14" fmla="*/ 204 w 253"/>
                <a:gd name="T15" fmla="*/ 64 h 116"/>
                <a:gd name="T16" fmla="*/ 161 w 253"/>
                <a:gd name="T17" fmla="*/ 103 h 116"/>
                <a:gd name="T18" fmla="*/ 76 w 253"/>
                <a:gd name="T19" fmla="*/ 93 h 116"/>
                <a:gd name="T20" fmla="*/ 9 w 253"/>
                <a:gd name="T21" fmla="*/ 116 h 116"/>
                <a:gd name="T22" fmla="*/ 0 w 253"/>
                <a:gd name="T23" fmla="*/ 89 h 116"/>
                <a:gd name="T24" fmla="*/ 7 w 253"/>
                <a:gd name="T25" fmla="*/ 6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3" h="116">
                  <a:moveTo>
                    <a:pt x="7" y="68"/>
                  </a:moveTo>
                  <a:cubicBezTo>
                    <a:pt x="18" y="45"/>
                    <a:pt x="50" y="26"/>
                    <a:pt x="50" y="26"/>
                  </a:cubicBezTo>
                  <a:cubicBezTo>
                    <a:pt x="50" y="26"/>
                    <a:pt x="30" y="51"/>
                    <a:pt x="50" y="57"/>
                  </a:cubicBezTo>
                  <a:cubicBezTo>
                    <a:pt x="70" y="63"/>
                    <a:pt x="154" y="65"/>
                    <a:pt x="180" y="39"/>
                  </a:cubicBezTo>
                  <a:cubicBezTo>
                    <a:pt x="207" y="14"/>
                    <a:pt x="188" y="0"/>
                    <a:pt x="188" y="0"/>
                  </a:cubicBezTo>
                  <a:cubicBezTo>
                    <a:pt x="188" y="0"/>
                    <a:pt x="208" y="2"/>
                    <a:pt x="227" y="12"/>
                  </a:cubicBezTo>
                  <a:cubicBezTo>
                    <a:pt x="240" y="18"/>
                    <a:pt x="249" y="29"/>
                    <a:pt x="253" y="35"/>
                  </a:cubicBezTo>
                  <a:cubicBezTo>
                    <a:pt x="245" y="39"/>
                    <a:pt x="229" y="47"/>
                    <a:pt x="204" y="64"/>
                  </a:cubicBezTo>
                  <a:cubicBezTo>
                    <a:pt x="179" y="81"/>
                    <a:pt x="161" y="103"/>
                    <a:pt x="161" y="103"/>
                  </a:cubicBezTo>
                  <a:cubicBezTo>
                    <a:pt x="161" y="103"/>
                    <a:pt x="116" y="89"/>
                    <a:pt x="76" y="93"/>
                  </a:cubicBezTo>
                  <a:cubicBezTo>
                    <a:pt x="36" y="97"/>
                    <a:pt x="9" y="116"/>
                    <a:pt x="9" y="116"/>
                  </a:cubicBezTo>
                  <a:cubicBezTo>
                    <a:pt x="9" y="116"/>
                    <a:pt x="1" y="105"/>
                    <a:pt x="0" y="89"/>
                  </a:cubicBezTo>
                  <a:cubicBezTo>
                    <a:pt x="1" y="83"/>
                    <a:pt x="3" y="75"/>
                    <a:pt x="7" y="68"/>
                  </a:cubicBezTo>
                  <a:close/>
                </a:path>
              </a:pathLst>
            </a:custGeom>
            <a:solidFill>
              <a:srgbClr val="A03F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$ḻïḋé">
              <a:extLst>
                <a:ext uri="{FF2B5EF4-FFF2-40B4-BE49-F238E27FC236}">
                  <a16:creationId xmlns:a16="http://schemas.microsoft.com/office/drawing/2014/main" id="{D43DBB45-E496-41A5-93FC-E0273875BD51}"/>
                </a:ext>
              </a:extLst>
            </p:cNvPr>
            <p:cNvSpPr/>
            <p:nvPr/>
          </p:nvSpPr>
          <p:spPr bwMode="auto">
            <a:xfrm>
              <a:off x="7320338" y="5944174"/>
              <a:ext cx="343546" cy="155935"/>
            </a:xfrm>
            <a:custGeom>
              <a:avLst/>
              <a:gdLst>
                <a:gd name="T0" fmla="*/ 0 w 141"/>
                <a:gd name="T1" fmla="*/ 23 h 64"/>
                <a:gd name="T2" fmla="*/ 135 w 141"/>
                <a:gd name="T3" fmla="*/ 0 h 64"/>
                <a:gd name="T4" fmla="*/ 141 w 141"/>
                <a:gd name="T5" fmla="*/ 33 h 64"/>
                <a:gd name="T6" fmla="*/ 77 w 141"/>
                <a:gd name="T7" fmla="*/ 64 h 64"/>
                <a:gd name="T8" fmla="*/ 6 w 141"/>
                <a:gd name="T9" fmla="*/ 56 h 64"/>
                <a:gd name="T10" fmla="*/ 0 w 141"/>
                <a:gd name="T11" fmla="*/ 2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64">
                  <a:moveTo>
                    <a:pt x="0" y="23"/>
                  </a:moveTo>
                  <a:lnTo>
                    <a:pt x="135" y="0"/>
                  </a:lnTo>
                  <a:lnTo>
                    <a:pt x="141" y="33"/>
                  </a:lnTo>
                  <a:lnTo>
                    <a:pt x="77" y="64"/>
                  </a:lnTo>
                  <a:lnTo>
                    <a:pt x="6" y="56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ş1îḍè">
              <a:extLst>
                <a:ext uri="{FF2B5EF4-FFF2-40B4-BE49-F238E27FC236}">
                  <a16:creationId xmlns:a16="http://schemas.microsoft.com/office/drawing/2014/main" id="{EF1BB9CB-D3C0-4032-9DDF-BC2066AC35FD}"/>
                </a:ext>
              </a:extLst>
            </p:cNvPr>
            <p:cNvSpPr/>
            <p:nvPr/>
          </p:nvSpPr>
          <p:spPr bwMode="auto">
            <a:xfrm>
              <a:off x="6589390" y="3349309"/>
              <a:ext cx="426387" cy="421514"/>
            </a:xfrm>
            <a:custGeom>
              <a:avLst/>
              <a:gdLst>
                <a:gd name="T0" fmla="*/ 42 w 84"/>
                <a:gd name="T1" fmla="*/ 83 h 83"/>
                <a:gd name="T2" fmla="*/ 42 w 84"/>
                <a:gd name="T3" fmla="*/ 83 h 83"/>
                <a:gd name="T4" fmla="*/ 0 w 84"/>
                <a:gd name="T5" fmla="*/ 41 h 83"/>
                <a:gd name="T6" fmla="*/ 0 w 84"/>
                <a:gd name="T7" fmla="*/ 5 h 83"/>
                <a:gd name="T8" fmla="*/ 5 w 84"/>
                <a:gd name="T9" fmla="*/ 0 h 83"/>
                <a:gd name="T10" fmla="*/ 79 w 84"/>
                <a:gd name="T11" fmla="*/ 0 h 83"/>
                <a:gd name="T12" fmla="*/ 84 w 84"/>
                <a:gd name="T13" fmla="*/ 5 h 83"/>
                <a:gd name="T14" fmla="*/ 84 w 84"/>
                <a:gd name="T15" fmla="*/ 41 h 83"/>
                <a:gd name="T16" fmla="*/ 42 w 84"/>
                <a:gd name="T17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83">
                  <a:moveTo>
                    <a:pt x="42" y="83"/>
                  </a:moveTo>
                  <a:cubicBezTo>
                    <a:pt x="42" y="83"/>
                    <a:pt x="42" y="83"/>
                    <a:pt x="42" y="83"/>
                  </a:cubicBezTo>
                  <a:cubicBezTo>
                    <a:pt x="18" y="83"/>
                    <a:pt x="0" y="64"/>
                    <a:pt x="0" y="4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4" y="2"/>
                    <a:pt x="84" y="5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64"/>
                    <a:pt x="65" y="83"/>
                    <a:pt x="42" y="83"/>
                  </a:cubicBezTo>
                  <a:close/>
                </a:path>
              </a:pathLst>
            </a:custGeom>
            <a:solidFill>
              <a:srgbClr val="E241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ṩļíďé">
              <a:extLst>
                <a:ext uri="{FF2B5EF4-FFF2-40B4-BE49-F238E27FC236}">
                  <a16:creationId xmlns:a16="http://schemas.microsoft.com/office/drawing/2014/main" id="{B907846B-D235-465D-84F7-25FB30901573}"/>
                </a:ext>
              </a:extLst>
            </p:cNvPr>
            <p:cNvSpPr/>
            <p:nvPr/>
          </p:nvSpPr>
          <p:spPr bwMode="auto">
            <a:xfrm>
              <a:off x="6599136" y="3361492"/>
              <a:ext cx="406895" cy="95024"/>
            </a:xfrm>
            <a:custGeom>
              <a:avLst/>
              <a:gdLst>
                <a:gd name="T0" fmla="*/ 70 w 80"/>
                <a:gd name="T1" fmla="*/ 19 h 19"/>
                <a:gd name="T2" fmla="*/ 9 w 80"/>
                <a:gd name="T3" fmla="*/ 19 h 19"/>
                <a:gd name="T4" fmla="*/ 0 w 80"/>
                <a:gd name="T5" fmla="*/ 9 h 19"/>
                <a:gd name="T6" fmla="*/ 0 w 80"/>
                <a:gd name="T7" fmla="*/ 6 h 19"/>
                <a:gd name="T8" fmla="*/ 6 w 80"/>
                <a:gd name="T9" fmla="*/ 0 h 19"/>
                <a:gd name="T10" fmla="*/ 74 w 80"/>
                <a:gd name="T11" fmla="*/ 0 h 19"/>
                <a:gd name="T12" fmla="*/ 80 w 80"/>
                <a:gd name="T13" fmla="*/ 6 h 19"/>
                <a:gd name="T14" fmla="*/ 80 w 80"/>
                <a:gd name="T15" fmla="*/ 9 h 19"/>
                <a:gd name="T16" fmla="*/ 70 w 80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19">
                  <a:moveTo>
                    <a:pt x="70" y="19"/>
                  </a:moveTo>
                  <a:cubicBezTo>
                    <a:pt x="9" y="19"/>
                    <a:pt x="9" y="19"/>
                    <a:pt x="9" y="19"/>
                  </a:cubicBezTo>
                  <a:cubicBezTo>
                    <a:pt x="4" y="19"/>
                    <a:pt x="0" y="14"/>
                    <a:pt x="0" y="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7" y="0"/>
                    <a:pt x="80" y="3"/>
                    <a:pt x="80" y="6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0" y="14"/>
                    <a:pt x="75" y="19"/>
                    <a:pt x="70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ṣḻïďè">
              <a:extLst>
                <a:ext uri="{FF2B5EF4-FFF2-40B4-BE49-F238E27FC236}">
                  <a16:creationId xmlns:a16="http://schemas.microsoft.com/office/drawing/2014/main" id="{EEE3C448-F7CB-4CFA-8E63-87F8F62F3B3E}"/>
                </a:ext>
              </a:extLst>
            </p:cNvPr>
            <p:cNvSpPr/>
            <p:nvPr/>
          </p:nvSpPr>
          <p:spPr bwMode="auto">
            <a:xfrm>
              <a:off x="6613755" y="3541793"/>
              <a:ext cx="370347" cy="229030"/>
            </a:xfrm>
            <a:custGeom>
              <a:avLst/>
              <a:gdLst>
                <a:gd name="T0" fmla="*/ 37 w 73"/>
                <a:gd name="T1" fmla="*/ 0 h 45"/>
                <a:gd name="T2" fmla="*/ 37 w 73"/>
                <a:gd name="T3" fmla="*/ 0 h 45"/>
                <a:gd name="T4" fmla="*/ 0 w 73"/>
                <a:gd name="T5" fmla="*/ 24 h 45"/>
                <a:gd name="T6" fmla="*/ 37 w 73"/>
                <a:gd name="T7" fmla="*/ 45 h 45"/>
                <a:gd name="T8" fmla="*/ 73 w 73"/>
                <a:gd name="T9" fmla="*/ 24 h 45"/>
                <a:gd name="T10" fmla="*/ 37 w 73"/>
                <a:gd name="T1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45">
                  <a:moveTo>
                    <a:pt x="37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20" y="0"/>
                    <a:pt x="6" y="10"/>
                    <a:pt x="0" y="24"/>
                  </a:cubicBezTo>
                  <a:cubicBezTo>
                    <a:pt x="7" y="36"/>
                    <a:pt x="21" y="45"/>
                    <a:pt x="37" y="45"/>
                  </a:cubicBezTo>
                  <a:cubicBezTo>
                    <a:pt x="52" y="45"/>
                    <a:pt x="66" y="36"/>
                    <a:pt x="73" y="24"/>
                  </a:cubicBezTo>
                  <a:cubicBezTo>
                    <a:pt x="67" y="10"/>
                    <a:pt x="53" y="0"/>
                    <a:pt x="37" y="0"/>
                  </a:cubicBezTo>
                  <a:close/>
                </a:path>
              </a:pathLst>
            </a:custGeom>
            <a:solidFill>
              <a:srgbClr val="F564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îṩľïḍé">
              <a:extLst>
                <a:ext uri="{FF2B5EF4-FFF2-40B4-BE49-F238E27FC236}">
                  <a16:creationId xmlns:a16="http://schemas.microsoft.com/office/drawing/2014/main" id="{47C96962-7E3D-49B8-BA1F-6A8425B5D465}"/>
                </a:ext>
              </a:extLst>
            </p:cNvPr>
            <p:cNvSpPr/>
            <p:nvPr/>
          </p:nvSpPr>
          <p:spPr bwMode="auto">
            <a:xfrm>
              <a:off x="5585555" y="4606539"/>
              <a:ext cx="806480" cy="1074494"/>
            </a:xfrm>
            <a:custGeom>
              <a:avLst/>
              <a:gdLst>
                <a:gd name="T0" fmla="*/ 159 w 159"/>
                <a:gd name="T1" fmla="*/ 161 h 212"/>
                <a:gd name="T2" fmla="*/ 137 w 159"/>
                <a:gd name="T3" fmla="*/ 145 h 212"/>
                <a:gd name="T4" fmla="*/ 108 w 159"/>
                <a:gd name="T5" fmla="*/ 153 h 212"/>
                <a:gd name="T6" fmla="*/ 59 w 159"/>
                <a:gd name="T7" fmla="*/ 141 h 212"/>
                <a:gd name="T8" fmla="*/ 0 w 159"/>
                <a:gd name="T9" fmla="*/ 0 h 212"/>
                <a:gd name="T10" fmla="*/ 56 w 159"/>
                <a:gd name="T11" fmla="*/ 178 h 212"/>
                <a:gd name="T12" fmla="*/ 99 w 159"/>
                <a:gd name="T13" fmla="*/ 212 h 212"/>
                <a:gd name="T14" fmla="*/ 103 w 159"/>
                <a:gd name="T15" fmla="*/ 212 h 212"/>
                <a:gd name="T16" fmla="*/ 147 w 159"/>
                <a:gd name="T17" fmla="*/ 185 h 212"/>
                <a:gd name="T18" fmla="*/ 159 w 159"/>
                <a:gd name="T19" fmla="*/ 161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212">
                  <a:moveTo>
                    <a:pt x="159" y="161"/>
                  </a:moveTo>
                  <a:cubicBezTo>
                    <a:pt x="137" y="145"/>
                    <a:pt x="137" y="145"/>
                    <a:pt x="137" y="145"/>
                  </a:cubicBezTo>
                  <a:cubicBezTo>
                    <a:pt x="131" y="147"/>
                    <a:pt x="121" y="151"/>
                    <a:pt x="108" y="153"/>
                  </a:cubicBezTo>
                  <a:cubicBezTo>
                    <a:pt x="85" y="158"/>
                    <a:pt x="67" y="149"/>
                    <a:pt x="59" y="141"/>
                  </a:cubicBezTo>
                  <a:cubicBezTo>
                    <a:pt x="51" y="133"/>
                    <a:pt x="0" y="0"/>
                    <a:pt x="0" y="0"/>
                  </a:cubicBezTo>
                  <a:cubicBezTo>
                    <a:pt x="56" y="178"/>
                    <a:pt x="56" y="178"/>
                    <a:pt x="56" y="178"/>
                  </a:cubicBezTo>
                  <a:cubicBezTo>
                    <a:pt x="62" y="197"/>
                    <a:pt x="79" y="211"/>
                    <a:pt x="99" y="212"/>
                  </a:cubicBezTo>
                  <a:cubicBezTo>
                    <a:pt x="100" y="212"/>
                    <a:pt x="101" y="212"/>
                    <a:pt x="103" y="212"/>
                  </a:cubicBezTo>
                  <a:cubicBezTo>
                    <a:pt x="121" y="212"/>
                    <a:pt x="139" y="202"/>
                    <a:pt x="147" y="185"/>
                  </a:cubicBezTo>
                  <a:lnTo>
                    <a:pt x="159" y="161"/>
                  </a:lnTo>
                  <a:close/>
                </a:path>
              </a:pathLst>
            </a:custGeom>
            <a:solidFill>
              <a:srgbClr val="DF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ṡ1iḓe">
              <a:extLst>
                <a:ext uri="{FF2B5EF4-FFF2-40B4-BE49-F238E27FC236}">
                  <a16:creationId xmlns:a16="http://schemas.microsoft.com/office/drawing/2014/main" id="{CE7C3BBD-B917-42B8-AD74-79AFFE121C6B}"/>
                </a:ext>
              </a:extLst>
            </p:cNvPr>
            <p:cNvSpPr/>
            <p:nvPr/>
          </p:nvSpPr>
          <p:spPr bwMode="auto">
            <a:xfrm>
              <a:off x="7395868" y="4292232"/>
              <a:ext cx="613996" cy="1230429"/>
            </a:xfrm>
            <a:custGeom>
              <a:avLst/>
              <a:gdLst>
                <a:gd name="T0" fmla="*/ 94 w 121"/>
                <a:gd name="T1" fmla="*/ 5 h 243"/>
                <a:gd name="T2" fmla="*/ 54 w 121"/>
                <a:gd name="T3" fmla="*/ 27 h 243"/>
                <a:gd name="T4" fmla="*/ 0 w 121"/>
                <a:gd name="T5" fmla="*/ 217 h 243"/>
                <a:gd name="T6" fmla="*/ 60 w 121"/>
                <a:gd name="T7" fmla="*/ 243 h 243"/>
                <a:gd name="T8" fmla="*/ 62 w 121"/>
                <a:gd name="T9" fmla="*/ 235 h 243"/>
                <a:gd name="T10" fmla="*/ 117 w 121"/>
                <a:gd name="T11" fmla="*/ 45 h 243"/>
                <a:gd name="T12" fmla="*/ 94 w 121"/>
                <a:gd name="T13" fmla="*/ 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243">
                  <a:moveTo>
                    <a:pt x="94" y="5"/>
                  </a:moveTo>
                  <a:cubicBezTo>
                    <a:pt x="77" y="0"/>
                    <a:pt x="59" y="10"/>
                    <a:pt x="54" y="2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60" y="243"/>
                    <a:pt x="60" y="243"/>
                    <a:pt x="60" y="243"/>
                  </a:cubicBezTo>
                  <a:cubicBezTo>
                    <a:pt x="61" y="240"/>
                    <a:pt x="62" y="238"/>
                    <a:pt x="62" y="235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21" y="27"/>
                    <a:pt x="111" y="9"/>
                    <a:pt x="94" y="5"/>
                  </a:cubicBez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ïśḻïďè">
              <a:extLst>
                <a:ext uri="{FF2B5EF4-FFF2-40B4-BE49-F238E27FC236}">
                  <a16:creationId xmlns:a16="http://schemas.microsoft.com/office/drawing/2014/main" id="{995D1648-A9BE-4F06-82A4-10C78E6713C7}"/>
                </a:ext>
              </a:extLst>
            </p:cNvPr>
            <p:cNvSpPr/>
            <p:nvPr/>
          </p:nvSpPr>
          <p:spPr bwMode="auto">
            <a:xfrm>
              <a:off x="5885243" y="5422765"/>
              <a:ext cx="182738" cy="248522"/>
            </a:xfrm>
            <a:custGeom>
              <a:avLst/>
              <a:gdLst>
                <a:gd name="T0" fmla="*/ 10 w 36"/>
                <a:gd name="T1" fmla="*/ 13 h 49"/>
                <a:gd name="T2" fmla="*/ 0 w 36"/>
                <a:gd name="T3" fmla="*/ 25 h 49"/>
                <a:gd name="T4" fmla="*/ 29 w 36"/>
                <a:gd name="T5" fmla="*/ 49 h 49"/>
                <a:gd name="T6" fmla="*/ 31 w 36"/>
                <a:gd name="T7" fmla="*/ 45 h 49"/>
                <a:gd name="T8" fmla="*/ 34 w 36"/>
                <a:gd name="T9" fmla="*/ 0 h 49"/>
                <a:gd name="T10" fmla="*/ 10 w 36"/>
                <a:gd name="T1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49">
                  <a:moveTo>
                    <a:pt x="10" y="13"/>
                  </a:moveTo>
                  <a:cubicBezTo>
                    <a:pt x="5" y="18"/>
                    <a:pt x="2" y="22"/>
                    <a:pt x="0" y="25"/>
                  </a:cubicBezTo>
                  <a:cubicBezTo>
                    <a:pt x="6" y="36"/>
                    <a:pt x="16" y="45"/>
                    <a:pt x="29" y="49"/>
                  </a:cubicBezTo>
                  <a:cubicBezTo>
                    <a:pt x="29" y="48"/>
                    <a:pt x="30" y="47"/>
                    <a:pt x="31" y="45"/>
                  </a:cubicBezTo>
                  <a:cubicBezTo>
                    <a:pt x="36" y="32"/>
                    <a:pt x="34" y="0"/>
                    <a:pt x="34" y="0"/>
                  </a:cubicBezTo>
                  <a:cubicBezTo>
                    <a:pt x="34" y="0"/>
                    <a:pt x="22" y="1"/>
                    <a:pt x="10" y="13"/>
                  </a:cubicBezTo>
                  <a:close/>
                </a:path>
              </a:pathLst>
            </a:custGeom>
            <a:solidFill>
              <a:srgbClr val="CF9E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$lïḓé">
              <a:extLst>
                <a:ext uri="{FF2B5EF4-FFF2-40B4-BE49-F238E27FC236}">
                  <a16:creationId xmlns:a16="http://schemas.microsoft.com/office/drawing/2014/main" id="{C27627C2-1071-422C-BDCA-99E88B3417D4}"/>
                </a:ext>
              </a:extLst>
            </p:cNvPr>
            <p:cNvSpPr/>
            <p:nvPr/>
          </p:nvSpPr>
          <p:spPr bwMode="auto">
            <a:xfrm>
              <a:off x="5941283" y="5391089"/>
              <a:ext cx="1759147" cy="421514"/>
            </a:xfrm>
            <a:custGeom>
              <a:avLst/>
              <a:gdLst>
                <a:gd name="T0" fmla="*/ 261 w 347"/>
                <a:gd name="T1" fmla="*/ 18 h 83"/>
                <a:gd name="T2" fmla="*/ 36 w 347"/>
                <a:gd name="T3" fmla="*/ 4 h 83"/>
                <a:gd name="T4" fmla="*/ 2 w 347"/>
                <a:gd name="T5" fmla="*/ 34 h 83"/>
                <a:gd name="T6" fmla="*/ 32 w 347"/>
                <a:gd name="T7" fmla="*/ 68 h 83"/>
                <a:gd name="T8" fmla="*/ 257 w 347"/>
                <a:gd name="T9" fmla="*/ 83 h 83"/>
                <a:gd name="T10" fmla="*/ 263 w 347"/>
                <a:gd name="T11" fmla="*/ 83 h 83"/>
                <a:gd name="T12" fmla="*/ 347 w 347"/>
                <a:gd name="T13" fmla="*/ 26 h 83"/>
                <a:gd name="T14" fmla="*/ 287 w 347"/>
                <a:gd name="T15" fmla="*/ 0 h 83"/>
                <a:gd name="T16" fmla="*/ 261 w 347"/>
                <a:gd name="T17" fmla="*/ 1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7" h="83">
                  <a:moveTo>
                    <a:pt x="261" y="18"/>
                  </a:moveTo>
                  <a:cubicBezTo>
                    <a:pt x="36" y="4"/>
                    <a:pt x="36" y="4"/>
                    <a:pt x="36" y="4"/>
                  </a:cubicBezTo>
                  <a:cubicBezTo>
                    <a:pt x="18" y="3"/>
                    <a:pt x="3" y="16"/>
                    <a:pt x="2" y="34"/>
                  </a:cubicBezTo>
                  <a:cubicBezTo>
                    <a:pt x="0" y="52"/>
                    <a:pt x="14" y="67"/>
                    <a:pt x="32" y="68"/>
                  </a:cubicBezTo>
                  <a:cubicBezTo>
                    <a:pt x="257" y="83"/>
                    <a:pt x="257" y="83"/>
                    <a:pt x="257" y="83"/>
                  </a:cubicBezTo>
                  <a:cubicBezTo>
                    <a:pt x="259" y="83"/>
                    <a:pt x="261" y="83"/>
                    <a:pt x="263" y="83"/>
                  </a:cubicBezTo>
                  <a:cubicBezTo>
                    <a:pt x="300" y="83"/>
                    <a:pt x="333" y="60"/>
                    <a:pt x="347" y="26"/>
                  </a:cubicBezTo>
                  <a:cubicBezTo>
                    <a:pt x="287" y="0"/>
                    <a:pt x="287" y="0"/>
                    <a:pt x="287" y="0"/>
                  </a:cubicBezTo>
                  <a:cubicBezTo>
                    <a:pt x="284" y="11"/>
                    <a:pt x="273" y="19"/>
                    <a:pt x="261" y="18"/>
                  </a:cubicBez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$ľiḍê">
              <a:extLst>
                <a:ext uri="{FF2B5EF4-FFF2-40B4-BE49-F238E27FC236}">
                  <a16:creationId xmlns:a16="http://schemas.microsoft.com/office/drawing/2014/main" id="{4FD11A1E-1D77-48AA-A202-8DC0B6A195B4}"/>
                </a:ext>
              </a:extLst>
            </p:cNvPr>
            <p:cNvSpPr/>
            <p:nvPr/>
          </p:nvSpPr>
          <p:spPr bwMode="auto">
            <a:xfrm>
              <a:off x="5941283" y="5427638"/>
              <a:ext cx="1759147" cy="384966"/>
            </a:xfrm>
            <a:custGeom>
              <a:avLst/>
              <a:gdLst>
                <a:gd name="T0" fmla="*/ 263 w 347"/>
                <a:gd name="T1" fmla="*/ 76 h 76"/>
                <a:gd name="T2" fmla="*/ 347 w 347"/>
                <a:gd name="T3" fmla="*/ 19 h 76"/>
                <a:gd name="T4" fmla="*/ 302 w 347"/>
                <a:gd name="T5" fmla="*/ 0 h 76"/>
                <a:gd name="T6" fmla="*/ 303 w 347"/>
                <a:gd name="T7" fmla="*/ 22 h 76"/>
                <a:gd name="T8" fmla="*/ 249 w 347"/>
                <a:gd name="T9" fmla="*/ 47 h 76"/>
                <a:gd name="T10" fmla="*/ 11 w 347"/>
                <a:gd name="T11" fmla="*/ 6 h 76"/>
                <a:gd name="T12" fmla="*/ 2 w 347"/>
                <a:gd name="T13" fmla="*/ 27 h 76"/>
                <a:gd name="T14" fmla="*/ 32 w 347"/>
                <a:gd name="T15" fmla="*/ 61 h 76"/>
                <a:gd name="T16" fmla="*/ 257 w 347"/>
                <a:gd name="T17" fmla="*/ 76 h 76"/>
                <a:gd name="T18" fmla="*/ 263 w 347"/>
                <a:gd name="T1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7" h="76">
                  <a:moveTo>
                    <a:pt x="263" y="76"/>
                  </a:moveTo>
                  <a:cubicBezTo>
                    <a:pt x="300" y="76"/>
                    <a:pt x="333" y="53"/>
                    <a:pt x="347" y="19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4" y="3"/>
                    <a:pt x="305" y="11"/>
                    <a:pt x="303" y="22"/>
                  </a:cubicBezTo>
                  <a:cubicBezTo>
                    <a:pt x="299" y="40"/>
                    <a:pt x="274" y="48"/>
                    <a:pt x="249" y="47"/>
                  </a:cubicBezTo>
                  <a:cubicBezTo>
                    <a:pt x="227" y="46"/>
                    <a:pt x="29" y="52"/>
                    <a:pt x="11" y="6"/>
                  </a:cubicBezTo>
                  <a:cubicBezTo>
                    <a:pt x="6" y="12"/>
                    <a:pt x="2" y="19"/>
                    <a:pt x="2" y="27"/>
                  </a:cubicBezTo>
                  <a:cubicBezTo>
                    <a:pt x="0" y="45"/>
                    <a:pt x="14" y="60"/>
                    <a:pt x="32" y="61"/>
                  </a:cubicBezTo>
                  <a:cubicBezTo>
                    <a:pt x="257" y="76"/>
                    <a:pt x="257" y="76"/>
                    <a:pt x="257" y="76"/>
                  </a:cubicBezTo>
                  <a:cubicBezTo>
                    <a:pt x="259" y="76"/>
                    <a:pt x="261" y="76"/>
                    <a:pt x="263" y="76"/>
                  </a:cubicBezTo>
                  <a:close/>
                </a:path>
              </a:pathLst>
            </a:custGeom>
            <a:solidFill>
              <a:srgbClr val="DF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ṥľídê">
              <a:extLst>
                <a:ext uri="{FF2B5EF4-FFF2-40B4-BE49-F238E27FC236}">
                  <a16:creationId xmlns:a16="http://schemas.microsoft.com/office/drawing/2014/main" id="{54E2771F-EF33-4D7F-97D1-E2BFE3B8286D}"/>
                </a:ext>
              </a:extLst>
            </p:cNvPr>
            <p:cNvSpPr/>
            <p:nvPr/>
          </p:nvSpPr>
          <p:spPr bwMode="auto">
            <a:xfrm>
              <a:off x="7334957" y="5225408"/>
              <a:ext cx="465371" cy="319181"/>
            </a:xfrm>
            <a:custGeom>
              <a:avLst/>
              <a:gdLst>
                <a:gd name="T0" fmla="*/ 17 w 92"/>
                <a:gd name="T1" fmla="*/ 1 h 63"/>
                <a:gd name="T2" fmla="*/ 88 w 92"/>
                <a:gd name="T3" fmla="*/ 30 h 63"/>
                <a:gd name="T4" fmla="*/ 91 w 92"/>
                <a:gd name="T5" fmla="*/ 37 h 63"/>
                <a:gd name="T6" fmla="*/ 83 w 92"/>
                <a:gd name="T7" fmla="*/ 59 h 63"/>
                <a:gd name="T8" fmla="*/ 76 w 92"/>
                <a:gd name="T9" fmla="*/ 62 h 63"/>
                <a:gd name="T10" fmla="*/ 4 w 92"/>
                <a:gd name="T11" fmla="*/ 31 h 63"/>
                <a:gd name="T12" fmla="*/ 1 w 92"/>
                <a:gd name="T13" fmla="*/ 24 h 63"/>
                <a:gd name="T14" fmla="*/ 10 w 92"/>
                <a:gd name="T15" fmla="*/ 4 h 63"/>
                <a:gd name="T16" fmla="*/ 17 w 92"/>
                <a:gd name="T17" fmla="*/ 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3">
                  <a:moveTo>
                    <a:pt x="17" y="1"/>
                  </a:moveTo>
                  <a:cubicBezTo>
                    <a:pt x="88" y="30"/>
                    <a:pt x="88" y="30"/>
                    <a:pt x="88" y="30"/>
                  </a:cubicBezTo>
                  <a:cubicBezTo>
                    <a:pt x="91" y="31"/>
                    <a:pt x="92" y="34"/>
                    <a:pt x="91" y="37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2" y="61"/>
                    <a:pt x="78" y="63"/>
                    <a:pt x="76" y="62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1" y="30"/>
                    <a:pt x="0" y="27"/>
                    <a:pt x="1" y="2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1"/>
                    <a:pt x="14" y="0"/>
                    <a:pt x="1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şļíde">
              <a:extLst>
                <a:ext uri="{FF2B5EF4-FFF2-40B4-BE49-F238E27FC236}">
                  <a16:creationId xmlns:a16="http://schemas.microsoft.com/office/drawing/2014/main" id="{9237708A-9E21-4A40-985E-D50334C11F4C}"/>
                </a:ext>
              </a:extLst>
            </p:cNvPr>
            <p:cNvSpPr/>
            <p:nvPr/>
          </p:nvSpPr>
          <p:spPr bwMode="auto">
            <a:xfrm>
              <a:off x="5743926" y="4202081"/>
              <a:ext cx="192484" cy="263141"/>
            </a:xfrm>
            <a:custGeom>
              <a:avLst/>
              <a:gdLst>
                <a:gd name="T0" fmla="*/ 6 w 38"/>
                <a:gd name="T1" fmla="*/ 50 h 52"/>
                <a:gd name="T2" fmla="*/ 6 w 38"/>
                <a:gd name="T3" fmla="*/ 50 h 52"/>
                <a:gd name="T4" fmla="*/ 2 w 38"/>
                <a:gd name="T5" fmla="*/ 37 h 52"/>
                <a:gd name="T6" fmla="*/ 18 w 38"/>
                <a:gd name="T7" fmla="*/ 7 h 52"/>
                <a:gd name="T8" fmla="*/ 31 w 38"/>
                <a:gd name="T9" fmla="*/ 3 h 52"/>
                <a:gd name="T10" fmla="*/ 35 w 38"/>
                <a:gd name="T11" fmla="*/ 16 h 52"/>
                <a:gd name="T12" fmla="*/ 19 w 38"/>
                <a:gd name="T13" fmla="*/ 46 h 52"/>
                <a:gd name="T14" fmla="*/ 6 w 38"/>
                <a:gd name="T15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52">
                  <a:moveTo>
                    <a:pt x="6" y="50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2" y="47"/>
                    <a:pt x="0" y="41"/>
                    <a:pt x="2" y="3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1" y="2"/>
                    <a:pt x="27" y="0"/>
                    <a:pt x="31" y="3"/>
                  </a:cubicBezTo>
                  <a:cubicBezTo>
                    <a:pt x="36" y="5"/>
                    <a:pt x="38" y="11"/>
                    <a:pt x="35" y="1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50"/>
                    <a:pt x="11" y="52"/>
                    <a:pt x="6" y="50"/>
                  </a:cubicBez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ṩḷíḍé">
              <a:extLst>
                <a:ext uri="{FF2B5EF4-FFF2-40B4-BE49-F238E27FC236}">
                  <a16:creationId xmlns:a16="http://schemas.microsoft.com/office/drawing/2014/main" id="{5C4DDA93-4C62-42C9-AE83-74C86AE31128}"/>
                </a:ext>
              </a:extLst>
            </p:cNvPr>
            <p:cNvSpPr/>
            <p:nvPr/>
          </p:nvSpPr>
          <p:spPr bwMode="auto">
            <a:xfrm>
              <a:off x="5605047" y="4019345"/>
              <a:ext cx="148627" cy="358165"/>
            </a:xfrm>
            <a:custGeom>
              <a:avLst/>
              <a:gdLst>
                <a:gd name="T0" fmla="*/ 24 w 29"/>
                <a:gd name="T1" fmla="*/ 59 h 71"/>
                <a:gd name="T2" fmla="*/ 26 w 29"/>
                <a:gd name="T3" fmla="*/ 24 h 71"/>
                <a:gd name="T4" fmla="*/ 5 w 29"/>
                <a:gd name="T5" fmla="*/ 9 h 71"/>
                <a:gd name="T6" fmla="*/ 11 w 29"/>
                <a:gd name="T7" fmla="*/ 34 h 71"/>
                <a:gd name="T8" fmla="*/ 4 w 29"/>
                <a:gd name="T9" fmla="*/ 71 h 71"/>
                <a:gd name="T10" fmla="*/ 24 w 29"/>
                <a:gd name="T11" fmla="*/ 5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71">
                  <a:moveTo>
                    <a:pt x="24" y="59"/>
                  </a:moveTo>
                  <a:cubicBezTo>
                    <a:pt x="24" y="59"/>
                    <a:pt x="29" y="37"/>
                    <a:pt x="26" y="24"/>
                  </a:cubicBezTo>
                  <a:cubicBezTo>
                    <a:pt x="24" y="10"/>
                    <a:pt x="11" y="0"/>
                    <a:pt x="5" y="9"/>
                  </a:cubicBezTo>
                  <a:cubicBezTo>
                    <a:pt x="0" y="18"/>
                    <a:pt x="10" y="21"/>
                    <a:pt x="11" y="34"/>
                  </a:cubicBezTo>
                  <a:cubicBezTo>
                    <a:pt x="11" y="46"/>
                    <a:pt x="4" y="71"/>
                    <a:pt x="4" y="71"/>
                  </a:cubicBezTo>
                  <a:lnTo>
                    <a:pt x="24" y="59"/>
                  </a:lnTo>
                  <a:close/>
                </a:path>
              </a:pathLst>
            </a:custGeom>
            <a:solidFill>
              <a:srgbClr val="ECC1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$ḷîḓé">
              <a:extLst>
                <a:ext uri="{FF2B5EF4-FFF2-40B4-BE49-F238E27FC236}">
                  <a16:creationId xmlns:a16="http://schemas.microsoft.com/office/drawing/2014/main" id="{B7D9ADE8-C450-4565-9E0B-CFA6ADFFA523}"/>
                </a:ext>
              </a:extLst>
            </p:cNvPr>
            <p:cNvSpPr/>
            <p:nvPr/>
          </p:nvSpPr>
          <p:spPr bwMode="auto">
            <a:xfrm>
              <a:off x="5059273" y="5671287"/>
              <a:ext cx="1362000" cy="151062"/>
            </a:xfrm>
            <a:custGeom>
              <a:avLst/>
              <a:gdLst>
                <a:gd name="T0" fmla="*/ 251 w 269"/>
                <a:gd name="T1" fmla="*/ 0 h 30"/>
                <a:gd name="T2" fmla="*/ 0 w 269"/>
                <a:gd name="T3" fmla="*/ 0 h 30"/>
                <a:gd name="T4" fmla="*/ 0 w 269"/>
                <a:gd name="T5" fmla="*/ 30 h 30"/>
                <a:gd name="T6" fmla="*/ 269 w 269"/>
                <a:gd name="T7" fmla="*/ 30 h 30"/>
                <a:gd name="T8" fmla="*/ 269 w 269"/>
                <a:gd name="T9" fmla="*/ 18 h 30"/>
                <a:gd name="T10" fmla="*/ 251 w 26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9" h="30">
                  <a:moveTo>
                    <a:pt x="25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69" y="30"/>
                    <a:pt x="269" y="30"/>
                    <a:pt x="269" y="30"/>
                  </a:cubicBezTo>
                  <a:cubicBezTo>
                    <a:pt x="269" y="18"/>
                    <a:pt x="269" y="18"/>
                    <a:pt x="269" y="18"/>
                  </a:cubicBezTo>
                  <a:cubicBezTo>
                    <a:pt x="269" y="8"/>
                    <a:pt x="261" y="0"/>
                    <a:pt x="251" y="0"/>
                  </a:cubicBezTo>
                  <a:close/>
                </a:path>
              </a:pathLst>
            </a:custGeom>
            <a:solidFill>
              <a:srgbClr val="888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šḷïḋe">
              <a:extLst>
                <a:ext uri="{FF2B5EF4-FFF2-40B4-BE49-F238E27FC236}">
                  <a16:creationId xmlns:a16="http://schemas.microsoft.com/office/drawing/2014/main" id="{15712913-8299-416E-9278-3A20D6614DB6}"/>
                </a:ext>
              </a:extLst>
            </p:cNvPr>
            <p:cNvSpPr/>
            <p:nvPr/>
          </p:nvSpPr>
          <p:spPr bwMode="auto">
            <a:xfrm>
              <a:off x="3248959" y="4282486"/>
              <a:ext cx="2543698" cy="1539863"/>
            </a:xfrm>
            <a:custGeom>
              <a:avLst/>
              <a:gdLst>
                <a:gd name="T0" fmla="*/ 502 w 502"/>
                <a:gd name="T1" fmla="*/ 304 h 304"/>
                <a:gd name="T2" fmla="*/ 107 w 502"/>
                <a:gd name="T3" fmla="*/ 304 h 304"/>
                <a:gd name="T4" fmla="*/ 0 w 502"/>
                <a:gd name="T5" fmla="*/ 0 h 304"/>
                <a:gd name="T6" fmla="*/ 377 w 502"/>
                <a:gd name="T7" fmla="*/ 0 h 304"/>
                <a:gd name="T8" fmla="*/ 400 w 502"/>
                <a:gd name="T9" fmla="*/ 16 h 304"/>
                <a:gd name="T10" fmla="*/ 502 w 502"/>
                <a:gd name="T11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2" h="304">
                  <a:moveTo>
                    <a:pt x="502" y="304"/>
                  </a:moveTo>
                  <a:cubicBezTo>
                    <a:pt x="107" y="304"/>
                    <a:pt x="107" y="304"/>
                    <a:pt x="107" y="30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7" y="0"/>
                    <a:pt x="377" y="0"/>
                    <a:pt x="377" y="0"/>
                  </a:cubicBezTo>
                  <a:cubicBezTo>
                    <a:pt x="387" y="0"/>
                    <a:pt x="396" y="6"/>
                    <a:pt x="400" y="16"/>
                  </a:cubicBezTo>
                  <a:lnTo>
                    <a:pt x="502" y="304"/>
                  </a:lnTo>
                  <a:close/>
                </a:path>
              </a:pathLst>
            </a:custGeom>
            <a:solidFill>
              <a:srgbClr val="888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iṡ1iďe">
              <a:extLst>
                <a:ext uri="{FF2B5EF4-FFF2-40B4-BE49-F238E27FC236}">
                  <a16:creationId xmlns:a16="http://schemas.microsoft.com/office/drawing/2014/main" id="{F0DBB3E3-164E-4BC8-8E98-E33A1CBDE12E}"/>
                </a:ext>
              </a:extLst>
            </p:cNvPr>
            <p:cNvSpPr/>
            <p:nvPr/>
          </p:nvSpPr>
          <p:spPr bwMode="auto">
            <a:xfrm>
              <a:off x="3102769" y="4282486"/>
              <a:ext cx="2519333" cy="1539863"/>
            </a:xfrm>
            <a:custGeom>
              <a:avLst/>
              <a:gdLst>
                <a:gd name="T0" fmla="*/ 497 w 497"/>
                <a:gd name="T1" fmla="*/ 304 h 304"/>
                <a:gd name="T2" fmla="*/ 103 w 497"/>
                <a:gd name="T3" fmla="*/ 304 h 304"/>
                <a:gd name="T4" fmla="*/ 5 w 497"/>
                <a:gd name="T5" fmla="*/ 27 h 304"/>
                <a:gd name="T6" fmla="*/ 24 w 497"/>
                <a:gd name="T7" fmla="*/ 0 h 304"/>
                <a:gd name="T8" fmla="*/ 372 w 497"/>
                <a:gd name="T9" fmla="*/ 0 h 304"/>
                <a:gd name="T10" fmla="*/ 396 w 497"/>
                <a:gd name="T11" fmla="*/ 16 h 304"/>
                <a:gd name="T12" fmla="*/ 497 w 497"/>
                <a:gd name="T13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7" h="304">
                  <a:moveTo>
                    <a:pt x="497" y="304"/>
                  </a:moveTo>
                  <a:cubicBezTo>
                    <a:pt x="103" y="304"/>
                    <a:pt x="103" y="304"/>
                    <a:pt x="103" y="304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0" y="14"/>
                    <a:pt x="10" y="0"/>
                    <a:pt x="24" y="0"/>
                  </a:cubicBezTo>
                  <a:cubicBezTo>
                    <a:pt x="372" y="0"/>
                    <a:pt x="372" y="0"/>
                    <a:pt x="372" y="0"/>
                  </a:cubicBezTo>
                  <a:cubicBezTo>
                    <a:pt x="383" y="0"/>
                    <a:pt x="392" y="6"/>
                    <a:pt x="396" y="16"/>
                  </a:cubicBezTo>
                  <a:lnTo>
                    <a:pt x="497" y="304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ṣ1ïḑê">
              <a:extLst>
                <a:ext uri="{FF2B5EF4-FFF2-40B4-BE49-F238E27FC236}">
                  <a16:creationId xmlns:a16="http://schemas.microsoft.com/office/drawing/2014/main" id="{89A5CA8B-9866-45DB-9C26-C2C033ED8E5D}"/>
                </a:ext>
              </a:extLst>
            </p:cNvPr>
            <p:cNvSpPr/>
            <p:nvPr/>
          </p:nvSpPr>
          <p:spPr bwMode="auto">
            <a:xfrm>
              <a:off x="7710176" y="4338525"/>
              <a:ext cx="268014" cy="238776"/>
            </a:xfrm>
            <a:custGeom>
              <a:avLst/>
              <a:gdLst>
                <a:gd name="T0" fmla="*/ 50 w 53"/>
                <a:gd name="T1" fmla="*/ 31 h 47"/>
                <a:gd name="T2" fmla="*/ 21 w 53"/>
                <a:gd name="T3" fmla="*/ 44 h 47"/>
                <a:gd name="T4" fmla="*/ 3 w 53"/>
                <a:gd name="T5" fmla="*/ 17 h 47"/>
                <a:gd name="T6" fmla="*/ 32 w 53"/>
                <a:gd name="T7" fmla="*/ 4 h 47"/>
                <a:gd name="T8" fmla="*/ 50 w 53"/>
                <a:gd name="T9" fmla="*/ 3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47">
                  <a:moveTo>
                    <a:pt x="50" y="31"/>
                  </a:moveTo>
                  <a:cubicBezTo>
                    <a:pt x="47" y="42"/>
                    <a:pt x="34" y="47"/>
                    <a:pt x="21" y="44"/>
                  </a:cubicBezTo>
                  <a:cubicBezTo>
                    <a:pt x="8" y="40"/>
                    <a:pt x="0" y="28"/>
                    <a:pt x="3" y="17"/>
                  </a:cubicBezTo>
                  <a:cubicBezTo>
                    <a:pt x="6" y="6"/>
                    <a:pt x="19" y="0"/>
                    <a:pt x="32" y="4"/>
                  </a:cubicBezTo>
                  <a:cubicBezTo>
                    <a:pt x="45" y="8"/>
                    <a:pt x="53" y="20"/>
                    <a:pt x="50" y="31"/>
                  </a:cubicBezTo>
                  <a:close/>
                </a:path>
              </a:pathLst>
            </a:custGeom>
            <a:solidFill>
              <a:srgbClr val="5D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ṣ1íḍe">
              <a:extLst>
                <a:ext uri="{FF2B5EF4-FFF2-40B4-BE49-F238E27FC236}">
                  <a16:creationId xmlns:a16="http://schemas.microsoft.com/office/drawing/2014/main" id="{194137BB-8250-41B9-BB8E-A5F7FABF93A1}"/>
                </a:ext>
              </a:extLst>
            </p:cNvPr>
            <p:cNvSpPr/>
            <p:nvPr/>
          </p:nvSpPr>
          <p:spPr bwMode="auto">
            <a:xfrm>
              <a:off x="5570936" y="4377509"/>
              <a:ext cx="243649" cy="309435"/>
            </a:xfrm>
            <a:custGeom>
              <a:avLst/>
              <a:gdLst>
                <a:gd name="T0" fmla="*/ 32 w 48"/>
                <a:gd name="T1" fmla="*/ 58 h 61"/>
                <a:gd name="T2" fmla="*/ 5 w 48"/>
                <a:gd name="T3" fmla="*/ 36 h 61"/>
                <a:gd name="T4" fmla="*/ 17 w 48"/>
                <a:gd name="T5" fmla="*/ 3 h 61"/>
                <a:gd name="T6" fmla="*/ 44 w 48"/>
                <a:gd name="T7" fmla="*/ 25 h 61"/>
                <a:gd name="T8" fmla="*/ 32 w 48"/>
                <a:gd name="T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1">
                  <a:moveTo>
                    <a:pt x="32" y="58"/>
                  </a:moveTo>
                  <a:cubicBezTo>
                    <a:pt x="21" y="61"/>
                    <a:pt x="9" y="51"/>
                    <a:pt x="5" y="36"/>
                  </a:cubicBezTo>
                  <a:cubicBezTo>
                    <a:pt x="0" y="21"/>
                    <a:pt x="6" y="7"/>
                    <a:pt x="17" y="3"/>
                  </a:cubicBezTo>
                  <a:cubicBezTo>
                    <a:pt x="28" y="0"/>
                    <a:pt x="40" y="10"/>
                    <a:pt x="44" y="25"/>
                  </a:cubicBezTo>
                  <a:cubicBezTo>
                    <a:pt x="48" y="40"/>
                    <a:pt x="43" y="55"/>
                    <a:pt x="32" y="58"/>
                  </a:cubicBezTo>
                  <a:close/>
                </a:path>
              </a:pathLst>
            </a:custGeom>
            <a:solidFill>
              <a:srgbClr val="F0D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śḷïḋe">
              <a:extLst>
                <a:ext uri="{FF2B5EF4-FFF2-40B4-BE49-F238E27FC236}">
                  <a16:creationId xmlns:a16="http://schemas.microsoft.com/office/drawing/2014/main" id="{0DE6DA48-C9FF-418A-9B46-EBBCF10667E3}"/>
                </a:ext>
              </a:extLst>
            </p:cNvPr>
            <p:cNvSpPr/>
            <p:nvPr/>
          </p:nvSpPr>
          <p:spPr bwMode="auto">
            <a:xfrm>
              <a:off x="6119146" y="5432511"/>
              <a:ext cx="596941" cy="141317"/>
            </a:xfrm>
            <a:custGeom>
              <a:avLst/>
              <a:gdLst>
                <a:gd name="T0" fmla="*/ 118 w 118"/>
                <a:gd name="T1" fmla="*/ 19 h 28"/>
                <a:gd name="T2" fmla="*/ 58 w 118"/>
                <a:gd name="T3" fmla="*/ 25 h 28"/>
                <a:gd name="T4" fmla="*/ 0 w 118"/>
                <a:gd name="T5" fmla="*/ 9 h 28"/>
                <a:gd name="T6" fmla="*/ 60 w 118"/>
                <a:gd name="T7" fmla="*/ 3 h 28"/>
                <a:gd name="T8" fmla="*/ 118 w 118"/>
                <a:gd name="T9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28">
                  <a:moveTo>
                    <a:pt x="118" y="19"/>
                  </a:moveTo>
                  <a:cubicBezTo>
                    <a:pt x="117" y="25"/>
                    <a:pt x="91" y="28"/>
                    <a:pt x="58" y="25"/>
                  </a:cubicBezTo>
                  <a:cubicBezTo>
                    <a:pt x="26" y="22"/>
                    <a:pt x="0" y="15"/>
                    <a:pt x="0" y="9"/>
                  </a:cubicBezTo>
                  <a:cubicBezTo>
                    <a:pt x="1" y="3"/>
                    <a:pt x="28" y="0"/>
                    <a:pt x="60" y="3"/>
                  </a:cubicBezTo>
                  <a:cubicBezTo>
                    <a:pt x="92" y="5"/>
                    <a:pt x="118" y="12"/>
                    <a:pt x="118" y="19"/>
                  </a:cubicBezTo>
                  <a:close/>
                </a:path>
              </a:pathLst>
            </a:custGeom>
            <a:solidFill>
              <a:srgbClr val="F0D0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ṩḻîḋè">
              <a:extLst>
                <a:ext uri="{FF2B5EF4-FFF2-40B4-BE49-F238E27FC236}">
                  <a16:creationId xmlns:a16="http://schemas.microsoft.com/office/drawing/2014/main" id="{0AF2D303-50DC-4333-BA9C-D5F72266F0EB}"/>
                </a:ext>
              </a:extLst>
            </p:cNvPr>
            <p:cNvSpPr/>
            <p:nvPr/>
          </p:nvSpPr>
          <p:spPr bwMode="auto">
            <a:xfrm>
              <a:off x="3862955" y="4377509"/>
              <a:ext cx="1089113" cy="82841"/>
            </a:xfrm>
            <a:custGeom>
              <a:avLst/>
              <a:gdLst>
                <a:gd name="T0" fmla="*/ 207 w 215"/>
                <a:gd name="T1" fmla="*/ 16 h 16"/>
                <a:gd name="T2" fmla="*/ 8 w 215"/>
                <a:gd name="T3" fmla="*/ 16 h 16"/>
                <a:gd name="T4" fmla="*/ 0 w 215"/>
                <a:gd name="T5" fmla="*/ 8 h 16"/>
                <a:gd name="T6" fmla="*/ 8 w 215"/>
                <a:gd name="T7" fmla="*/ 0 h 16"/>
                <a:gd name="T8" fmla="*/ 207 w 215"/>
                <a:gd name="T9" fmla="*/ 0 h 16"/>
                <a:gd name="T10" fmla="*/ 215 w 215"/>
                <a:gd name="T11" fmla="*/ 8 h 16"/>
                <a:gd name="T12" fmla="*/ 207 w 21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6">
                  <a:moveTo>
                    <a:pt x="207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2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12" y="0"/>
                    <a:pt x="215" y="3"/>
                    <a:pt x="215" y="8"/>
                  </a:cubicBezTo>
                  <a:cubicBezTo>
                    <a:pt x="215" y="12"/>
                    <a:pt x="212" y="16"/>
                    <a:pt x="207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ṥḷíḋé">
              <a:extLst>
                <a:ext uri="{FF2B5EF4-FFF2-40B4-BE49-F238E27FC236}">
                  <a16:creationId xmlns:a16="http://schemas.microsoft.com/office/drawing/2014/main" id="{CED3448A-3B14-4C1F-924F-9686A26BC162}"/>
                </a:ext>
              </a:extLst>
            </p:cNvPr>
            <p:cNvSpPr/>
            <p:nvPr/>
          </p:nvSpPr>
          <p:spPr bwMode="auto">
            <a:xfrm>
              <a:off x="3290380" y="4377509"/>
              <a:ext cx="470244" cy="82841"/>
            </a:xfrm>
            <a:custGeom>
              <a:avLst/>
              <a:gdLst>
                <a:gd name="T0" fmla="*/ 85 w 93"/>
                <a:gd name="T1" fmla="*/ 16 h 16"/>
                <a:gd name="T2" fmla="*/ 8 w 93"/>
                <a:gd name="T3" fmla="*/ 16 h 16"/>
                <a:gd name="T4" fmla="*/ 0 w 93"/>
                <a:gd name="T5" fmla="*/ 8 h 16"/>
                <a:gd name="T6" fmla="*/ 8 w 93"/>
                <a:gd name="T7" fmla="*/ 0 h 16"/>
                <a:gd name="T8" fmla="*/ 85 w 93"/>
                <a:gd name="T9" fmla="*/ 0 h 16"/>
                <a:gd name="T10" fmla="*/ 93 w 93"/>
                <a:gd name="T11" fmla="*/ 8 h 16"/>
                <a:gd name="T12" fmla="*/ 85 w 93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16">
                  <a:moveTo>
                    <a:pt x="85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2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9" y="0"/>
                    <a:pt x="93" y="3"/>
                    <a:pt x="93" y="8"/>
                  </a:cubicBezTo>
                  <a:cubicBezTo>
                    <a:pt x="93" y="12"/>
                    <a:pt x="89" y="16"/>
                    <a:pt x="8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ṡľîḍê">
              <a:extLst>
                <a:ext uri="{FF2B5EF4-FFF2-40B4-BE49-F238E27FC236}">
                  <a16:creationId xmlns:a16="http://schemas.microsoft.com/office/drawing/2014/main" id="{B90EB907-A262-4CF6-A066-CA97CAF70478}"/>
                </a:ext>
              </a:extLst>
            </p:cNvPr>
            <p:cNvSpPr/>
            <p:nvPr/>
          </p:nvSpPr>
          <p:spPr bwMode="auto">
            <a:xfrm>
              <a:off x="3258704" y="4789277"/>
              <a:ext cx="2363397" cy="1033073"/>
            </a:xfrm>
            <a:custGeom>
              <a:avLst/>
              <a:gdLst>
                <a:gd name="T0" fmla="*/ 444 w 466"/>
                <a:gd name="T1" fmla="*/ 141 h 204"/>
                <a:gd name="T2" fmla="*/ 183 w 466"/>
                <a:gd name="T3" fmla="*/ 117 h 204"/>
                <a:gd name="T4" fmla="*/ 0 w 466"/>
                <a:gd name="T5" fmla="*/ 0 h 204"/>
                <a:gd name="T6" fmla="*/ 72 w 466"/>
                <a:gd name="T7" fmla="*/ 204 h 204"/>
                <a:gd name="T8" fmla="*/ 466 w 466"/>
                <a:gd name="T9" fmla="*/ 204 h 204"/>
                <a:gd name="T10" fmla="*/ 444 w 466"/>
                <a:gd name="T11" fmla="*/ 14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204">
                  <a:moveTo>
                    <a:pt x="444" y="141"/>
                  </a:moveTo>
                  <a:cubicBezTo>
                    <a:pt x="444" y="141"/>
                    <a:pt x="298" y="156"/>
                    <a:pt x="183" y="117"/>
                  </a:cubicBezTo>
                  <a:cubicBezTo>
                    <a:pt x="68" y="78"/>
                    <a:pt x="0" y="0"/>
                    <a:pt x="0" y="0"/>
                  </a:cubicBezTo>
                  <a:cubicBezTo>
                    <a:pt x="72" y="204"/>
                    <a:pt x="72" y="204"/>
                    <a:pt x="72" y="204"/>
                  </a:cubicBezTo>
                  <a:cubicBezTo>
                    <a:pt x="466" y="204"/>
                    <a:pt x="466" y="204"/>
                    <a:pt x="466" y="204"/>
                  </a:cubicBezTo>
                  <a:lnTo>
                    <a:pt x="444" y="141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ṧļïďe">
              <a:extLst>
                <a:ext uri="{FF2B5EF4-FFF2-40B4-BE49-F238E27FC236}">
                  <a16:creationId xmlns:a16="http://schemas.microsoft.com/office/drawing/2014/main" id="{E67802AE-C759-4D3D-91E4-D739627BDCC3}"/>
                </a:ext>
              </a:extLst>
            </p:cNvPr>
            <p:cNvSpPr/>
            <p:nvPr/>
          </p:nvSpPr>
          <p:spPr bwMode="auto">
            <a:xfrm>
              <a:off x="3324491" y="5822349"/>
              <a:ext cx="4851057" cy="319181"/>
            </a:xfrm>
            <a:custGeom>
              <a:avLst/>
              <a:gdLst>
                <a:gd name="T0" fmla="*/ 946 w 957"/>
                <a:gd name="T1" fmla="*/ 63 h 63"/>
                <a:gd name="T2" fmla="*/ 10 w 957"/>
                <a:gd name="T3" fmla="*/ 63 h 63"/>
                <a:gd name="T4" fmla="*/ 0 w 957"/>
                <a:gd name="T5" fmla="*/ 52 h 63"/>
                <a:gd name="T6" fmla="*/ 0 w 957"/>
                <a:gd name="T7" fmla="*/ 10 h 63"/>
                <a:gd name="T8" fmla="*/ 10 w 957"/>
                <a:gd name="T9" fmla="*/ 0 h 63"/>
                <a:gd name="T10" fmla="*/ 946 w 957"/>
                <a:gd name="T11" fmla="*/ 0 h 63"/>
                <a:gd name="T12" fmla="*/ 957 w 957"/>
                <a:gd name="T13" fmla="*/ 10 h 63"/>
                <a:gd name="T14" fmla="*/ 957 w 957"/>
                <a:gd name="T15" fmla="*/ 52 h 63"/>
                <a:gd name="T16" fmla="*/ 946 w 957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7" h="63">
                  <a:moveTo>
                    <a:pt x="946" y="63"/>
                  </a:moveTo>
                  <a:cubicBezTo>
                    <a:pt x="10" y="63"/>
                    <a:pt x="10" y="63"/>
                    <a:pt x="10" y="63"/>
                  </a:cubicBezTo>
                  <a:cubicBezTo>
                    <a:pt x="4" y="63"/>
                    <a:pt x="0" y="58"/>
                    <a:pt x="0" y="5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946" y="0"/>
                    <a:pt x="946" y="0"/>
                    <a:pt x="946" y="0"/>
                  </a:cubicBezTo>
                  <a:cubicBezTo>
                    <a:pt x="952" y="0"/>
                    <a:pt x="957" y="4"/>
                    <a:pt x="957" y="10"/>
                  </a:cubicBezTo>
                  <a:cubicBezTo>
                    <a:pt x="957" y="52"/>
                    <a:pt x="957" y="52"/>
                    <a:pt x="957" y="52"/>
                  </a:cubicBezTo>
                  <a:cubicBezTo>
                    <a:pt x="957" y="58"/>
                    <a:pt x="952" y="63"/>
                    <a:pt x="946" y="63"/>
                  </a:cubicBezTo>
                  <a:close/>
                </a:path>
              </a:pathLst>
            </a:custGeom>
            <a:solidFill>
              <a:srgbClr val="A644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şļîďê">
              <a:extLst>
                <a:ext uri="{FF2B5EF4-FFF2-40B4-BE49-F238E27FC236}">
                  <a16:creationId xmlns:a16="http://schemas.microsoft.com/office/drawing/2014/main" id="{D69AB360-85FC-4C9E-BEB1-B77DFD5DF368}"/>
                </a:ext>
              </a:extLst>
            </p:cNvPr>
            <p:cNvSpPr/>
            <p:nvPr/>
          </p:nvSpPr>
          <p:spPr bwMode="auto">
            <a:xfrm>
              <a:off x="5748799" y="3658744"/>
              <a:ext cx="75532" cy="294816"/>
            </a:xfrm>
            <a:custGeom>
              <a:avLst/>
              <a:gdLst>
                <a:gd name="T0" fmla="*/ 8 w 15"/>
                <a:gd name="T1" fmla="*/ 58 h 58"/>
                <a:gd name="T2" fmla="*/ 8 w 15"/>
                <a:gd name="T3" fmla="*/ 58 h 58"/>
                <a:gd name="T4" fmla="*/ 1 w 15"/>
                <a:gd name="T5" fmla="*/ 51 h 58"/>
                <a:gd name="T6" fmla="*/ 0 w 15"/>
                <a:gd name="T7" fmla="*/ 7 h 58"/>
                <a:gd name="T8" fmla="*/ 6 w 15"/>
                <a:gd name="T9" fmla="*/ 0 h 58"/>
                <a:gd name="T10" fmla="*/ 13 w 15"/>
                <a:gd name="T11" fmla="*/ 7 h 58"/>
                <a:gd name="T12" fmla="*/ 15 w 15"/>
                <a:gd name="T13" fmla="*/ 51 h 58"/>
                <a:gd name="T14" fmla="*/ 8 w 15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8">
                  <a:moveTo>
                    <a:pt x="8" y="58"/>
                  </a:moveTo>
                  <a:cubicBezTo>
                    <a:pt x="8" y="58"/>
                    <a:pt x="8" y="58"/>
                    <a:pt x="8" y="58"/>
                  </a:cubicBezTo>
                  <a:cubicBezTo>
                    <a:pt x="4" y="58"/>
                    <a:pt x="1" y="55"/>
                    <a:pt x="1" y="5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4"/>
                    <a:pt x="12" y="58"/>
                    <a:pt x="8" y="58"/>
                  </a:cubicBezTo>
                  <a:close/>
                </a:path>
              </a:pathLst>
            </a:custGeom>
            <a:solidFill>
              <a:srgbClr val="F7E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$1ïḓé">
              <a:extLst>
                <a:ext uri="{FF2B5EF4-FFF2-40B4-BE49-F238E27FC236}">
                  <a16:creationId xmlns:a16="http://schemas.microsoft.com/office/drawing/2014/main" id="{59B7657D-0B5A-4472-ABE7-C00C6210B76B}"/>
                </a:ext>
              </a:extLst>
            </p:cNvPr>
            <p:cNvSpPr/>
            <p:nvPr/>
          </p:nvSpPr>
          <p:spPr bwMode="auto">
            <a:xfrm>
              <a:off x="5965648" y="3856100"/>
              <a:ext cx="258268" cy="209538"/>
            </a:xfrm>
            <a:custGeom>
              <a:avLst/>
              <a:gdLst>
                <a:gd name="T0" fmla="*/ 2 w 51"/>
                <a:gd name="T1" fmla="*/ 37 h 41"/>
                <a:gd name="T2" fmla="*/ 2 w 51"/>
                <a:gd name="T3" fmla="*/ 37 h 41"/>
                <a:gd name="T4" fmla="*/ 12 w 51"/>
                <a:gd name="T5" fmla="*/ 39 h 41"/>
                <a:gd name="T6" fmla="*/ 47 w 51"/>
                <a:gd name="T7" fmla="*/ 13 h 41"/>
                <a:gd name="T8" fmla="*/ 49 w 51"/>
                <a:gd name="T9" fmla="*/ 4 h 41"/>
                <a:gd name="T10" fmla="*/ 40 w 51"/>
                <a:gd name="T11" fmla="*/ 2 h 41"/>
                <a:gd name="T12" fmla="*/ 4 w 51"/>
                <a:gd name="T13" fmla="*/ 28 h 41"/>
                <a:gd name="T14" fmla="*/ 2 w 51"/>
                <a:gd name="T15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41">
                  <a:moveTo>
                    <a:pt x="2" y="37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4" y="40"/>
                    <a:pt x="9" y="41"/>
                    <a:pt x="12" y="39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50" y="11"/>
                    <a:pt x="51" y="7"/>
                    <a:pt x="49" y="4"/>
                  </a:cubicBezTo>
                  <a:cubicBezTo>
                    <a:pt x="47" y="1"/>
                    <a:pt x="43" y="0"/>
                    <a:pt x="40" y="2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30"/>
                    <a:pt x="0" y="34"/>
                    <a:pt x="2" y="37"/>
                  </a:cubicBezTo>
                  <a:close/>
                </a:path>
              </a:pathLst>
            </a:custGeom>
            <a:solidFill>
              <a:srgbClr val="F7E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sľïḓe">
              <a:extLst>
                <a:ext uri="{FF2B5EF4-FFF2-40B4-BE49-F238E27FC236}">
                  <a16:creationId xmlns:a16="http://schemas.microsoft.com/office/drawing/2014/main" id="{4AAB351E-EF10-4299-9ECE-0D4678C758A2}"/>
                </a:ext>
              </a:extLst>
            </p:cNvPr>
            <p:cNvSpPr/>
            <p:nvPr/>
          </p:nvSpPr>
          <p:spPr bwMode="auto">
            <a:xfrm>
              <a:off x="5885243" y="3680672"/>
              <a:ext cx="177865" cy="277760"/>
            </a:xfrm>
            <a:custGeom>
              <a:avLst/>
              <a:gdLst>
                <a:gd name="T0" fmla="*/ 5 w 35"/>
                <a:gd name="T1" fmla="*/ 54 h 55"/>
                <a:gd name="T2" fmla="*/ 5 w 35"/>
                <a:gd name="T3" fmla="*/ 54 h 55"/>
                <a:gd name="T4" fmla="*/ 2 w 35"/>
                <a:gd name="T5" fmla="*/ 44 h 55"/>
                <a:gd name="T6" fmla="*/ 21 w 35"/>
                <a:gd name="T7" fmla="*/ 5 h 55"/>
                <a:gd name="T8" fmla="*/ 31 w 35"/>
                <a:gd name="T9" fmla="*/ 2 h 55"/>
                <a:gd name="T10" fmla="*/ 34 w 35"/>
                <a:gd name="T11" fmla="*/ 11 h 55"/>
                <a:gd name="T12" fmla="*/ 14 w 35"/>
                <a:gd name="T13" fmla="*/ 51 h 55"/>
                <a:gd name="T14" fmla="*/ 5 w 35"/>
                <a:gd name="T15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55">
                  <a:moveTo>
                    <a:pt x="5" y="54"/>
                  </a:moveTo>
                  <a:cubicBezTo>
                    <a:pt x="5" y="54"/>
                    <a:pt x="5" y="54"/>
                    <a:pt x="5" y="54"/>
                  </a:cubicBezTo>
                  <a:cubicBezTo>
                    <a:pt x="1" y="52"/>
                    <a:pt x="0" y="48"/>
                    <a:pt x="2" y="44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3" y="2"/>
                    <a:pt x="27" y="0"/>
                    <a:pt x="31" y="2"/>
                  </a:cubicBezTo>
                  <a:cubicBezTo>
                    <a:pt x="34" y="4"/>
                    <a:pt x="35" y="8"/>
                    <a:pt x="34" y="1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2" y="54"/>
                    <a:pt x="8" y="55"/>
                    <a:pt x="5" y="54"/>
                  </a:cubicBezTo>
                  <a:close/>
                </a:path>
              </a:pathLst>
            </a:custGeom>
            <a:solidFill>
              <a:srgbClr val="F7E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ślíḋê">
              <a:extLst>
                <a:ext uri="{FF2B5EF4-FFF2-40B4-BE49-F238E27FC236}">
                  <a16:creationId xmlns:a16="http://schemas.microsoft.com/office/drawing/2014/main" id="{341E8D0F-C955-4732-AC06-6F84285171E8}"/>
                </a:ext>
              </a:extLst>
            </p:cNvPr>
            <p:cNvSpPr/>
            <p:nvPr/>
          </p:nvSpPr>
          <p:spPr bwMode="auto">
            <a:xfrm>
              <a:off x="3365910" y="2333293"/>
              <a:ext cx="1215810" cy="1220683"/>
            </a:xfrm>
            <a:prstGeom prst="ellipse">
              <a:avLst/>
            </a:prstGeom>
            <a:solidFill>
              <a:srgbClr val="F78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śḷïḑè">
              <a:extLst>
                <a:ext uri="{FF2B5EF4-FFF2-40B4-BE49-F238E27FC236}">
                  <a16:creationId xmlns:a16="http://schemas.microsoft.com/office/drawing/2014/main" id="{932D610B-2544-4F0F-97C6-B0B33E9F557F}"/>
                </a:ext>
              </a:extLst>
            </p:cNvPr>
            <p:cNvSpPr/>
            <p:nvPr/>
          </p:nvSpPr>
          <p:spPr bwMode="auto">
            <a:xfrm>
              <a:off x="4684053" y="1132102"/>
              <a:ext cx="540901" cy="536028"/>
            </a:xfrm>
            <a:prstGeom prst="ellipse">
              <a:avLst/>
            </a:prstGeom>
            <a:solidFill>
              <a:srgbClr val="F78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îṩļïḋe">
              <a:extLst>
                <a:ext uri="{FF2B5EF4-FFF2-40B4-BE49-F238E27FC236}">
                  <a16:creationId xmlns:a16="http://schemas.microsoft.com/office/drawing/2014/main" id="{230D2E73-E33E-418E-B93B-1DBB0DC0EDDC}"/>
                </a:ext>
              </a:extLst>
            </p:cNvPr>
            <p:cNvSpPr/>
            <p:nvPr/>
          </p:nvSpPr>
          <p:spPr bwMode="auto">
            <a:xfrm>
              <a:off x="4014017" y="1982438"/>
              <a:ext cx="1308397" cy="238776"/>
            </a:xfrm>
            <a:custGeom>
              <a:avLst/>
              <a:gdLst>
                <a:gd name="T0" fmla="*/ 234 w 258"/>
                <a:gd name="T1" fmla="*/ 47 h 47"/>
                <a:gd name="T2" fmla="*/ 23 w 258"/>
                <a:gd name="T3" fmla="*/ 47 h 47"/>
                <a:gd name="T4" fmla="*/ 0 w 258"/>
                <a:gd name="T5" fmla="*/ 24 h 47"/>
                <a:gd name="T6" fmla="*/ 23 w 258"/>
                <a:gd name="T7" fmla="*/ 0 h 47"/>
                <a:gd name="T8" fmla="*/ 234 w 258"/>
                <a:gd name="T9" fmla="*/ 0 h 47"/>
                <a:gd name="T10" fmla="*/ 258 w 258"/>
                <a:gd name="T11" fmla="*/ 24 h 47"/>
                <a:gd name="T12" fmla="*/ 234 w 258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" h="47">
                  <a:moveTo>
                    <a:pt x="234" y="47"/>
                  </a:moveTo>
                  <a:cubicBezTo>
                    <a:pt x="23" y="47"/>
                    <a:pt x="23" y="47"/>
                    <a:pt x="23" y="47"/>
                  </a:cubicBezTo>
                  <a:cubicBezTo>
                    <a:pt x="10" y="47"/>
                    <a:pt x="0" y="36"/>
                    <a:pt x="0" y="24"/>
                  </a:cubicBezTo>
                  <a:cubicBezTo>
                    <a:pt x="0" y="11"/>
                    <a:pt x="10" y="0"/>
                    <a:pt x="23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47" y="0"/>
                    <a:pt x="258" y="11"/>
                    <a:pt x="258" y="24"/>
                  </a:cubicBezTo>
                  <a:cubicBezTo>
                    <a:pt x="258" y="36"/>
                    <a:pt x="247" y="47"/>
                    <a:pt x="234" y="47"/>
                  </a:cubicBezTo>
                  <a:close/>
                </a:path>
              </a:pathLst>
            </a:custGeom>
            <a:solidFill>
              <a:srgbClr val="F78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ECB82F-2036-47F8-967F-811316D65A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27E58D20-F6D3-402F-8CAE-45C93DE21A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199" y="1130300"/>
            <a:ext cx="5348287" cy="5006975"/>
          </a:xfrm>
        </p:spPr>
        <p:txBody>
          <a:bodyPr>
            <a:normAutofit/>
          </a:bodyPr>
          <a:lstStyle>
            <a:lvl1pPr>
              <a:defRPr lang="en-US" altLang="zh-CN" dirty="0"/>
            </a:lvl1pPr>
            <a:lvl2pPr>
              <a:defRPr lang="en-US" altLang="zh-CN" dirty="0"/>
            </a:lvl2pPr>
            <a:lvl3pPr>
              <a:defRPr lang="en-US" altLang="zh-CN" dirty="0"/>
            </a:lvl3pPr>
            <a:lvl4pPr>
              <a:defRPr lang="en-US" altLang="zh-CN" dirty="0"/>
            </a:lvl4pPr>
            <a:lvl5pPr>
              <a:defRPr lang="en-US" altLang="zh-CN" dirty="0"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8" name="内容占位符 3">
            <a:extLst>
              <a:ext uri="{FF2B5EF4-FFF2-40B4-BE49-F238E27FC236}">
                <a16:creationId xmlns:a16="http://schemas.microsoft.com/office/drawing/2014/main" id="{10CDFBA3-1B3A-4680-B040-97746005F91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69924" y="1130300"/>
            <a:ext cx="5348287" cy="5006975"/>
          </a:xfrm>
        </p:spPr>
        <p:txBody>
          <a:bodyPr>
            <a:normAutofit/>
          </a:bodyPr>
          <a:lstStyle>
            <a:lvl1pPr>
              <a:defRPr lang="en-US" altLang="zh-CN" dirty="0"/>
            </a:lvl1pPr>
            <a:lvl2pPr>
              <a:defRPr lang="en-US" altLang="zh-CN" dirty="0"/>
            </a:lvl2pPr>
            <a:lvl3pPr>
              <a:defRPr lang="en-US" altLang="zh-CN" dirty="0"/>
            </a:lvl3pPr>
            <a:lvl4pPr>
              <a:defRPr lang="en-US" altLang="zh-CN" dirty="0"/>
            </a:lvl4pPr>
            <a:lvl5pPr>
              <a:defRPr lang="en-US" altLang="zh-CN" dirty="0"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738D1FF-F029-4867-90D4-B2A4A57D6EA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5/20</a:t>
            </a:fld>
            <a:endParaRPr lang="zh-CN" altLang="en-US" dirty="0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A4CE92EA-4D63-406A-8DB4-81454AA337B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altLang="zh-CN" dirty="0"/>
              <a:t>www.islide.cc 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69AB785F-69B1-42FD-A54D-980ECF6E7FD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24084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DB13F9A-9790-4562-8B37-BBDCA0C1B0F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65163" y="1135380"/>
            <a:ext cx="5326061" cy="448976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/>
              <a:t>Click to edit Master title style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F939CE1-2565-4BD2-B765-0FDA979C42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1514" y="1685956"/>
            <a:ext cx="5326061" cy="4503707"/>
          </a:xfrm>
        </p:spPr>
        <p:txBody>
          <a:bodyPr>
            <a:normAutofit/>
          </a:bodyPr>
          <a:lstStyle>
            <a:lvl1pPr>
              <a:defRPr lang="en-US" altLang="zh-CN" dirty="0"/>
            </a:lvl1pPr>
            <a:lvl2pPr>
              <a:defRPr lang="en-US" altLang="zh-CN" dirty="0"/>
            </a:lvl2pPr>
            <a:lvl3pPr>
              <a:defRPr lang="en-US" altLang="zh-CN" dirty="0"/>
            </a:lvl3pPr>
            <a:lvl4pPr>
              <a:defRPr lang="en-US" altLang="zh-CN" dirty="0"/>
            </a:lvl4pPr>
            <a:lvl5pPr>
              <a:defRPr lang="en-US" altLang="zh-CN" dirty="0"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37A8FE65-353E-44A9-975F-C67D0364E0E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94426" y="1135380"/>
            <a:ext cx="5326061" cy="448976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/>
              <a:t>Edit Master text styles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3E1F490D-3FF4-40C5-B1DD-918F0138111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199" y="1685956"/>
            <a:ext cx="5348287" cy="4503707"/>
          </a:xfrm>
        </p:spPr>
        <p:txBody>
          <a:bodyPr>
            <a:normAutofit/>
          </a:bodyPr>
          <a:lstStyle>
            <a:lvl1pPr>
              <a:defRPr lang="en-US" altLang="zh-CN" dirty="0"/>
            </a:lvl1pPr>
            <a:lvl2pPr>
              <a:defRPr lang="en-US" altLang="zh-CN" dirty="0"/>
            </a:lvl2pPr>
            <a:lvl3pPr>
              <a:defRPr lang="en-US" altLang="zh-CN" dirty="0"/>
            </a:lvl3pPr>
            <a:lvl4pPr>
              <a:defRPr lang="en-US" altLang="zh-CN" dirty="0"/>
            </a:lvl4pPr>
            <a:lvl5pPr>
              <a:defRPr lang="en-US" altLang="zh-CN" dirty="0"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10" name="标题 9">
            <a:extLst>
              <a:ext uri="{FF2B5EF4-FFF2-40B4-BE49-F238E27FC236}">
                <a16:creationId xmlns:a16="http://schemas.microsoft.com/office/drawing/2014/main" id="{B458B080-7577-4712-B3BC-597995F4A7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4B650616-94FA-4F8C-B49C-5CD1BB08A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5/20</a:t>
            </a:fld>
            <a:endParaRPr lang="zh-CN" altLang="en-US" dirty="0"/>
          </a:p>
        </p:txBody>
      </p:sp>
      <p:sp>
        <p:nvSpPr>
          <p:cNvPr id="11" name="页脚占位符 10">
            <a:extLst>
              <a:ext uri="{FF2B5EF4-FFF2-40B4-BE49-F238E27FC236}">
                <a16:creationId xmlns:a16="http://schemas.microsoft.com/office/drawing/2014/main" id="{E9664480-D645-43BD-896D-DC0BDBEEA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 </a:t>
            </a:r>
            <a:endParaRPr lang="zh-CN" altLang="en-US" dirty="0"/>
          </a:p>
        </p:txBody>
      </p:sp>
      <p:sp>
        <p:nvSpPr>
          <p:cNvPr id="12" name="灯片编号占位符 11">
            <a:extLst>
              <a:ext uri="{FF2B5EF4-FFF2-40B4-BE49-F238E27FC236}">
                <a16:creationId xmlns:a16="http://schemas.microsoft.com/office/drawing/2014/main" id="{846A2231-11F9-489B-9492-E00E5114D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1622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5/20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>
            <a:extLst>
              <a:ext uri="{FF2B5EF4-FFF2-40B4-BE49-F238E27FC236}">
                <a16:creationId xmlns:a16="http://schemas.microsoft.com/office/drawing/2014/main" id="{82A0A934-5CD6-45C4-85B8-F0193DB32107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183188" y="1130299"/>
            <a:ext cx="6337300" cy="500697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dirty="0"/>
              <a:t>Picture</a:t>
            </a:r>
            <a:endParaRPr lang="zh-CN" altLang="en-US" dirty="0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193FB480-9825-4C58-BCE4-FA8E8034DF6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69924" y="1138237"/>
            <a:ext cx="4282322" cy="499903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 dirty="0"/>
              <a:t>Edit Master text styles</a:t>
            </a:r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F4537028-F61E-47F3-9D71-30474CF14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950FDA25-DB83-46C5-AF0D-EDF629B295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5/20</a:t>
            </a:fld>
            <a:endParaRPr lang="zh-CN" altLang="en-US" dirty="0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2C754D97-8B61-4E79-A1E5-35140A9C49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 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B1872646-73C0-4ECC-98AD-5144CCA40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71304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F6A26850-400B-4B40-A941-1801CDFB6B60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8610599" y="1130300"/>
            <a:ext cx="2909888" cy="5006974"/>
          </a:xfrm>
        </p:spPr>
        <p:txBody>
          <a:bodyPr vert="eaVert">
            <a:normAutofit/>
          </a:bodyPr>
          <a:lstStyle>
            <a:lvl1pPr>
              <a:defRPr sz="2000"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C4CE9257-C5F8-43EE-8C8C-4FD143283D49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69925" y="1130300"/>
            <a:ext cx="7795065" cy="5006973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D225C0EF-3B42-4E42-877B-BB95B98762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5/20</a:t>
            </a:fld>
            <a:endParaRPr lang="zh-CN" altLang="en-US" dirty="0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B1EF878A-978C-4FF5-98E8-4EA308DFFC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 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71CBB6EA-5004-4A02-8AF9-9CE561A40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007495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5/2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9" r:id="rId2"/>
    <p:sldLayoutId id="2147483651" r:id="rId3"/>
    <p:sldLayoutId id="2147483664" r:id="rId4"/>
    <p:sldLayoutId id="2147483665" r:id="rId5"/>
    <p:sldLayoutId id="2147483662" r:id="rId6"/>
    <p:sldLayoutId id="2147483655" r:id="rId7"/>
    <p:sldLayoutId id="2147483666" r:id="rId8"/>
    <p:sldLayoutId id="2147483667" r:id="rId9"/>
    <p:sldLayoutId id="2147483668" r:id="rId10"/>
    <p:sldLayoutId id="2147483661" r:id="rId11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audio" Target="../media/media1.m4a"/><Relationship Id="rId7" Type="http://schemas.openxmlformats.org/officeDocument/2006/relationships/image" Target="../media/image2.png"/><Relationship Id="rId2" Type="http://schemas.microsoft.com/office/2007/relationships/media" Target="../media/media1.m4a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10.m4a"/><Relationship Id="rId1" Type="http://schemas.microsoft.com/office/2007/relationships/media" Target="../media/media10.m4a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12.m4a"/><Relationship Id="rId1" Type="http://schemas.microsoft.com/office/2007/relationships/media" Target="../media/media12.m4a"/><Relationship Id="rId5" Type="http://schemas.openxmlformats.org/officeDocument/2006/relationships/image" Target="../media/image2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audio" Target="../media/media13.m4a"/><Relationship Id="rId1" Type="http://schemas.microsoft.com/office/2007/relationships/media" Target="../media/media13.m4a"/><Relationship Id="rId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2" Type="http://schemas.openxmlformats.org/officeDocument/2006/relationships/audio" Target="../media/media14.m4a"/><Relationship Id="rId1" Type="http://schemas.microsoft.com/office/2007/relationships/media" Target="../media/media14.m4a"/><Relationship Id="rId6" Type="http://schemas.microsoft.com/office/2011/relationships/inkAction" Target="../ink/inkAction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15.m4a"/><Relationship Id="rId1" Type="http://schemas.microsoft.com/office/2007/relationships/media" Target="../media/media15.m4a"/><Relationship Id="rId4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16.m4a"/><Relationship Id="rId1" Type="http://schemas.microsoft.com/office/2007/relationships/media" Target="../media/media16.m4a"/><Relationship Id="rId4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17.m4a"/><Relationship Id="rId1" Type="http://schemas.microsoft.com/office/2007/relationships/media" Target="../media/media17.m4a"/><Relationship Id="rId6" Type="http://schemas.openxmlformats.org/officeDocument/2006/relationships/image" Target="../media/image2.png"/><Relationship Id="rId5" Type="http://schemas.openxmlformats.org/officeDocument/2006/relationships/image" Target="../media/image15.png"/><Relationship Id="rId4" Type="http://schemas.microsoft.com/office/2011/relationships/inkAction" Target="../ink/inkAction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18.m4a"/><Relationship Id="rId1" Type="http://schemas.microsoft.com/office/2007/relationships/media" Target="../media/media18.m4a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audio" Target="../media/media19.m4a"/><Relationship Id="rId1" Type="http://schemas.microsoft.com/office/2007/relationships/media" Target="../media/media19.m4a"/><Relationship Id="rId5" Type="http://schemas.openxmlformats.org/officeDocument/2006/relationships/image" Target="../media/image2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5" Type="http://schemas.openxmlformats.org/officeDocument/2006/relationships/image" Target="../media/image2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audio" Target="../media/media3.m4a"/><Relationship Id="rId2" Type="http://schemas.microsoft.com/office/2007/relationships/media" Target="../media/media3.m4a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2.png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9.m4a"/><Relationship Id="rId1" Type="http://schemas.microsoft.com/office/2007/relationships/media" Target="../media/media9.m4a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microsoft.com/office/2011/relationships/inkAction" Target="../ink/inkAction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期中汇报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zh-CN" altLang="en-US" b="0" dirty="0"/>
            </a:br>
            <a:r>
              <a:rPr lang="zh-CN" altLang="en-US" b="0" dirty="0"/>
              <a:t>网上书店数据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183403" y="4404922"/>
            <a:ext cx="3140022" cy="296271"/>
          </a:xfrm>
        </p:spPr>
        <p:txBody>
          <a:bodyPr/>
          <a:lstStyle/>
          <a:p>
            <a:r>
              <a:rPr lang="zh-CN" altLang="en-US" dirty="0"/>
              <a:t>邵彦骏</a:t>
            </a:r>
            <a:r>
              <a:rPr lang="en-US" altLang="zh-CN" dirty="0"/>
              <a:t>	</a:t>
            </a:r>
            <a:r>
              <a:rPr lang="zh-CN" altLang="en-US" dirty="0"/>
              <a:t>张涵秋</a:t>
            </a:r>
            <a:r>
              <a:rPr lang="en-US" altLang="zh-CN" dirty="0"/>
              <a:t>	</a:t>
            </a:r>
            <a:r>
              <a:rPr lang="zh-CN" altLang="en-US" dirty="0"/>
              <a:t>刘洛侃</a:t>
            </a:r>
            <a:endParaRPr lang="en-US" altLang="zh-CN" dirty="0"/>
          </a:p>
        </p:txBody>
      </p:sp>
      <p:pic>
        <p:nvPicPr>
          <p:cNvPr id="11" name="音频 10">
            <a:hlinkClick r:id="" action="ppaction://media"/>
            <a:extLst>
              <a:ext uri="{FF2B5EF4-FFF2-40B4-BE49-F238E27FC236}">
                <a16:creationId xmlns:a16="http://schemas.microsoft.com/office/drawing/2014/main" id="{0CB62399-E8D8-419F-9BC3-33B2419D7581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727"/>
    </mc:Choice>
    <mc:Fallback xmlns="">
      <p:transition spd="slow" advTm="772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2AE81A6-5044-4C66-9F1A-60104D59A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-R</a:t>
            </a:r>
            <a:r>
              <a:rPr lang="zh-CN" altLang="en-US" dirty="0"/>
              <a:t>图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C123DAE-14AC-4B78-B049-F345C87C01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C5F2254-3074-4A13-BA34-06F974D94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5" name="21086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92B1068-56C7-4756-B37B-FEF91C862F2E}"/>
              </a:ext>
            </a:extLst>
          </p:cNvPr>
          <p:cNvGrpSpPr>
            <a:grpSpLocks noChangeAspect="1"/>
          </p:cNvGrpSpPr>
          <p:nvPr/>
        </p:nvGrpSpPr>
        <p:grpSpPr>
          <a:xfrm>
            <a:off x="673099" y="1123950"/>
            <a:ext cx="10850906" cy="5019675"/>
            <a:chOff x="673099" y="1123950"/>
            <a:chExt cx="10850906" cy="5019675"/>
          </a:xfrm>
        </p:grpSpPr>
        <p:grpSp>
          <p:nvGrpSpPr>
            <p:cNvPr id="6" name="íṣlíḑê">
              <a:extLst>
                <a:ext uri="{FF2B5EF4-FFF2-40B4-BE49-F238E27FC236}">
                  <a16:creationId xmlns:a16="http://schemas.microsoft.com/office/drawing/2014/main" id="{8C9F3B18-5A47-4A29-9DF6-7463097D310B}"/>
                </a:ext>
              </a:extLst>
            </p:cNvPr>
            <p:cNvGrpSpPr/>
            <p:nvPr/>
          </p:nvGrpSpPr>
          <p:grpSpPr>
            <a:xfrm>
              <a:off x="5251864" y="1123950"/>
              <a:ext cx="1719820" cy="5019675"/>
              <a:chOff x="5251864" y="1123950"/>
              <a:chExt cx="1719820" cy="5019675"/>
            </a:xfrm>
          </p:grpSpPr>
          <p:sp>
            <p:nvSpPr>
              <p:cNvPr id="21" name="îšľïḍe">
                <a:extLst>
                  <a:ext uri="{FF2B5EF4-FFF2-40B4-BE49-F238E27FC236}">
                    <a16:creationId xmlns:a16="http://schemas.microsoft.com/office/drawing/2014/main" id="{83835B54-ED01-4869-9619-805EA37CDCC9}"/>
                  </a:ext>
                </a:extLst>
              </p:cNvPr>
              <p:cNvSpPr/>
              <p:nvPr/>
            </p:nvSpPr>
            <p:spPr bwMode="auto">
              <a:xfrm rot="16200000">
                <a:off x="5445083" y="1855937"/>
                <a:ext cx="799644" cy="556329"/>
              </a:xfrm>
              <a:custGeom>
                <a:avLst/>
                <a:gdLst>
                  <a:gd name="T0" fmla="*/ 558 w 566"/>
                  <a:gd name="T1" fmla="*/ 292 h 394"/>
                  <a:gd name="T2" fmla="*/ 346 w 566"/>
                  <a:gd name="T3" fmla="*/ 394 h 394"/>
                  <a:gd name="T4" fmla="*/ 0 w 566"/>
                  <a:gd name="T5" fmla="*/ 214 h 394"/>
                  <a:gd name="T6" fmla="*/ 0 w 566"/>
                  <a:gd name="T7" fmla="*/ 0 h 394"/>
                  <a:gd name="T8" fmla="*/ 566 w 566"/>
                  <a:gd name="T9" fmla="*/ 292 h 394"/>
                  <a:gd name="T10" fmla="*/ 558 w 566"/>
                  <a:gd name="T11" fmla="*/ 292 h 39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66" h="394">
                    <a:moveTo>
                      <a:pt x="558" y="292"/>
                    </a:moveTo>
                    <a:lnTo>
                      <a:pt x="346" y="394"/>
                    </a:lnTo>
                    <a:lnTo>
                      <a:pt x="0" y="214"/>
                    </a:lnTo>
                    <a:lnTo>
                      <a:pt x="0" y="0"/>
                    </a:lnTo>
                    <a:lnTo>
                      <a:pt x="566" y="292"/>
                    </a:lnTo>
                    <a:lnTo>
                      <a:pt x="558" y="29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" name="îş1îḋé">
                <a:extLst>
                  <a:ext uri="{FF2B5EF4-FFF2-40B4-BE49-F238E27FC236}">
                    <a16:creationId xmlns:a16="http://schemas.microsoft.com/office/drawing/2014/main" id="{B838D6E7-2520-4D32-9560-B5741AA8D264}"/>
                  </a:ext>
                </a:extLst>
              </p:cNvPr>
              <p:cNvSpPr/>
              <p:nvPr/>
            </p:nvSpPr>
            <p:spPr bwMode="auto">
              <a:xfrm rot="16200000">
                <a:off x="5445083" y="1855937"/>
                <a:ext cx="799644" cy="556329"/>
              </a:xfrm>
              <a:custGeom>
                <a:avLst/>
                <a:gdLst>
                  <a:gd name="T0" fmla="*/ 558 w 566"/>
                  <a:gd name="T1" fmla="*/ 292 h 394"/>
                  <a:gd name="T2" fmla="*/ 346 w 566"/>
                  <a:gd name="T3" fmla="*/ 394 h 394"/>
                  <a:gd name="T4" fmla="*/ 0 w 566"/>
                  <a:gd name="T5" fmla="*/ 214 h 394"/>
                  <a:gd name="T6" fmla="*/ 0 w 566"/>
                  <a:gd name="T7" fmla="*/ 0 h 394"/>
                  <a:gd name="T8" fmla="*/ 566 w 566"/>
                  <a:gd name="T9" fmla="*/ 292 h 3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66" h="394">
                    <a:moveTo>
                      <a:pt x="558" y="292"/>
                    </a:moveTo>
                    <a:lnTo>
                      <a:pt x="346" y="394"/>
                    </a:lnTo>
                    <a:lnTo>
                      <a:pt x="0" y="214"/>
                    </a:lnTo>
                    <a:lnTo>
                      <a:pt x="0" y="0"/>
                    </a:lnTo>
                    <a:lnTo>
                      <a:pt x="566" y="292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" name="îṥḷîḓê">
                <a:extLst>
                  <a:ext uri="{FF2B5EF4-FFF2-40B4-BE49-F238E27FC236}">
                    <a16:creationId xmlns:a16="http://schemas.microsoft.com/office/drawing/2014/main" id="{F6365493-16BF-41B9-919D-EF659271FE3F}"/>
                  </a:ext>
                </a:extLst>
              </p:cNvPr>
              <p:cNvSpPr/>
              <p:nvPr/>
            </p:nvSpPr>
            <p:spPr bwMode="auto">
              <a:xfrm rot="16200000">
                <a:off x="5445083" y="4855310"/>
                <a:ext cx="799644" cy="556329"/>
              </a:xfrm>
              <a:custGeom>
                <a:avLst/>
                <a:gdLst>
                  <a:gd name="T0" fmla="*/ 8 w 566"/>
                  <a:gd name="T1" fmla="*/ 292 h 394"/>
                  <a:gd name="T2" fmla="*/ 219 w 566"/>
                  <a:gd name="T3" fmla="*/ 394 h 394"/>
                  <a:gd name="T4" fmla="*/ 566 w 566"/>
                  <a:gd name="T5" fmla="*/ 214 h 394"/>
                  <a:gd name="T6" fmla="*/ 566 w 566"/>
                  <a:gd name="T7" fmla="*/ 0 h 394"/>
                  <a:gd name="T8" fmla="*/ 0 w 566"/>
                  <a:gd name="T9" fmla="*/ 292 h 394"/>
                  <a:gd name="T10" fmla="*/ 8 w 566"/>
                  <a:gd name="T11" fmla="*/ 292 h 39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66" h="394">
                    <a:moveTo>
                      <a:pt x="8" y="292"/>
                    </a:moveTo>
                    <a:lnTo>
                      <a:pt x="219" y="394"/>
                    </a:lnTo>
                    <a:lnTo>
                      <a:pt x="566" y="214"/>
                    </a:lnTo>
                    <a:lnTo>
                      <a:pt x="566" y="0"/>
                    </a:lnTo>
                    <a:lnTo>
                      <a:pt x="0" y="292"/>
                    </a:lnTo>
                    <a:lnTo>
                      <a:pt x="8" y="292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4" name="íṡlíḑê">
                <a:extLst>
                  <a:ext uri="{FF2B5EF4-FFF2-40B4-BE49-F238E27FC236}">
                    <a16:creationId xmlns:a16="http://schemas.microsoft.com/office/drawing/2014/main" id="{70C300AA-CEFF-4C00-84F6-42C9EF4B9D43}"/>
                  </a:ext>
                </a:extLst>
              </p:cNvPr>
              <p:cNvSpPr/>
              <p:nvPr/>
            </p:nvSpPr>
            <p:spPr bwMode="auto">
              <a:xfrm rot="16200000">
                <a:off x="5445083" y="4855310"/>
                <a:ext cx="799644" cy="556329"/>
              </a:xfrm>
              <a:custGeom>
                <a:avLst/>
                <a:gdLst>
                  <a:gd name="T0" fmla="*/ 8 w 566"/>
                  <a:gd name="T1" fmla="*/ 292 h 394"/>
                  <a:gd name="T2" fmla="*/ 219 w 566"/>
                  <a:gd name="T3" fmla="*/ 394 h 394"/>
                  <a:gd name="T4" fmla="*/ 566 w 566"/>
                  <a:gd name="T5" fmla="*/ 214 h 394"/>
                  <a:gd name="T6" fmla="*/ 566 w 566"/>
                  <a:gd name="T7" fmla="*/ 0 h 394"/>
                  <a:gd name="T8" fmla="*/ 0 w 566"/>
                  <a:gd name="T9" fmla="*/ 292 h 3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66" h="394">
                    <a:moveTo>
                      <a:pt x="8" y="292"/>
                    </a:moveTo>
                    <a:lnTo>
                      <a:pt x="219" y="394"/>
                    </a:lnTo>
                    <a:lnTo>
                      <a:pt x="566" y="214"/>
                    </a:lnTo>
                    <a:lnTo>
                      <a:pt x="566" y="0"/>
                    </a:lnTo>
                    <a:lnTo>
                      <a:pt x="0" y="292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" name="ïṣḷîḑe">
                <a:extLst>
                  <a:ext uri="{FF2B5EF4-FFF2-40B4-BE49-F238E27FC236}">
                    <a16:creationId xmlns:a16="http://schemas.microsoft.com/office/drawing/2014/main" id="{EFF960FD-44A2-48BD-A759-7E346A5A0313}"/>
                  </a:ext>
                </a:extLst>
              </p:cNvPr>
              <p:cNvSpPr/>
              <p:nvPr/>
            </p:nvSpPr>
            <p:spPr bwMode="auto">
              <a:xfrm rot="16200000">
                <a:off x="3450146" y="2925668"/>
                <a:ext cx="5019675" cy="1416240"/>
              </a:xfrm>
              <a:custGeom>
                <a:avLst/>
                <a:gdLst>
                  <a:gd name="T0" fmla="*/ 1776 w 3553"/>
                  <a:gd name="T1" fmla="*/ 395 h 1003"/>
                  <a:gd name="T2" fmla="*/ 1007 w 3553"/>
                  <a:gd name="T3" fmla="*/ 9 h 1003"/>
                  <a:gd name="T4" fmla="*/ 0 w 3553"/>
                  <a:gd name="T5" fmla="*/ 506 h 1003"/>
                  <a:gd name="T6" fmla="*/ 990 w 3553"/>
                  <a:gd name="T7" fmla="*/ 1003 h 1003"/>
                  <a:gd name="T8" fmla="*/ 2555 w 3553"/>
                  <a:gd name="T9" fmla="*/ 232 h 1003"/>
                  <a:gd name="T10" fmla="*/ 3113 w 3553"/>
                  <a:gd name="T11" fmla="*/ 515 h 1003"/>
                  <a:gd name="T12" fmla="*/ 2555 w 3553"/>
                  <a:gd name="T13" fmla="*/ 780 h 1003"/>
                  <a:gd name="T14" fmla="*/ 2208 w 3553"/>
                  <a:gd name="T15" fmla="*/ 609 h 1003"/>
                  <a:gd name="T16" fmla="*/ 1979 w 3553"/>
                  <a:gd name="T17" fmla="*/ 720 h 1003"/>
                  <a:gd name="T18" fmla="*/ 2538 w 3553"/>
                  <a:gd name="T19" fmla="*/ 1003 h 1003"/>
                  <a:gd name="T20" fmla="*/ 3553 w 3553"/>
                  <a:gd name="T21" fmla="*/ 497 h 1003"/>
                  <a:gd name="T22" fmla="*/ 2563 w 3553"/>
                  <a:gd name="T23" fmla="*/ 0 h 1003"/>
                  <a:gd name="T24" fmla="*/ 1015 w 3553"/>
                  <a:gd name="T25" fmla="*/ 780 h 1003"/>
                  <a:gd name="T26" fmla="*/ 440 w 3553"/>
                  <a:gd name="T27" fmla="*/ 515 h 1003"/>
                  <a:gd name="T28" fmla="*/ 998 w 3553"/>
                  <a:gd name="T29" fmla="*/ 223 h 1003"/>
                  <a:gd name="T30" fmla="*/ 1565 w 3553"/>
                  <a:gd name="T31" fmla="*/ 506 h 1003"/>
                  <a:gd name="T32" fmla="*/ 1776 w 3553"/>
                  <a:gd name="T33" fmla="*/ 395 h 100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553" h="1003">
                    <a:moveTo>
                      <a:pt x="1776" y="395"/>
                    </a:moveTo>
                    <a:lnTo>
                      <a:pt x="1007" y="9"/>
                    </a:lnTo>
                    <a:lnTo>
                      <a:pt x="0" y="506"/>
                    </a:lnTo>
                    <a:lnTo>
                      <a:pt x="990" y="1003"/>
                    </a:lnTo>
                    <a:lnTo>
                      <a:pt x="2555" y="232"/>
                    </a:lnTo>
                    <a:lnTo>
                      <a:pt x="3113" y="515"/>
                    </a:lnTo>
                    <a:lnTo>
                      <a:pt x="2555" y="780"/>
                    </a:lnTo>
                    <a:lnTo>
                      <a:pt x="2208" y="609"/>
                    </a:lnTo>
                    <a:lnTo>
                      <a:pt x="1979" y="720"/>
                    </a:lnTo>
                    <a:lnTo>
                      <a:pt x="2538" y="1003"/>
                    </a:lnTo>
                    <a:lnTo>
                      <a:pt x="3553" y="497"/>
                    </a:lnTo>
                    <a:lnTo>
                      <a:pt x="2563" y="0"/>
                    </a:lnTo>
                    <a:lnTo>
                      <a:pt x="1015" y="780"/>
                    </a:lnTo>
                    <a:lnTo>
                      <a:pt x="440" y="515"/>
                    </a:lnTo>
                    <a:lnTo>
                      <a:pt x="998" y="223"/>
                    </a:lnTo>
                    <a:lnTo>
                      <a:pt x="1565" y="506"/>
                    </a:lnTo>
                    <a:lnTo>
                      <a:pt x="1776" y="3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" name="îş1ïďê">
                <a:extLst>
                  <a:ext uri="{FF2B5EF4-FFF2-40B4-BE49-F238E27FC236}">
                    <a16:creationId xmlns:a16="http://schemas.microsoft.com/office/drawing/2014/main" id="{53E8438D-846F-41C6-A279-14F955DA15B1}"/>
                  </a:ext>
                </a:extLst>
              </p:cNvPr>
              <p:cNvSpPr/>
              <p:nvPr/>
            </p:nvSpPr>
            <p:spPr bwMode="auto">
              <a:xfrm rot="16200000">
                <a:off x="3450146" y="2925668"/>
                <a:ext cx="5019675" cy="1416240"/>
              </a:xfrm>
              <a:custGeom>
                <a:avLst/>
                <a:gdLst>
                  <a:gd name="T0" fmla="*/ 1776 w 3553"/>
                  <a:gd name="T1" fmla="*/ 395 h 1003"/>
                  <a:gd name="T2" fmla="*/ 1007 w 3553"/>
                  <a:gd name="T3" fmla="*/ 9 h 1003"/>
                  <a:gd name="T4" fmla="*/ 0 w 3553"/>
                  <a:gd name="T5" fmla="*/ 506 h 1003"/>
                  <a:gd name="T6" fmla="*/ 990 w 3553"/>
                  <a:gd name="T7" fmla="*/ 1003 h 1003"/>
                  <a:gd name="T8" fmla="*/ 2555 w 3553"/>
                  <a:gd name="T9" fmla="*/ 232 h 1003"/>
                  <a:gd name="T10" fmla="*/ 3113 w 3553"/>
                  <a:gd name="T11" fmla="*/ 515 h 1003"/>
                  <a:gd name="T12" fmla="*/ 2555 w 3553"/>
                  <a:gd name="T13" fmla="*/ 780 h 1003"/>
                  <a:gd name="T14" fmla="*/ 2208 w 3553"/>
                  <a:gd name="T15" fmla="*/ 609 h 1003"/>
                  <a:gd name="T16" fmla="*/ 1979 w 3553"/>
                  <a:gd name="T17" fmla="*/ 720 h 1003"/>
                  <a:gd name="T18" fmla="*/ 2538 w 3553"/>
                  <a:gd name="T19" fmla="*/ 1003 h 1003"/>
                  <a:gd name="T20" fmla="*/ 3553 w 3553"/>
                  <a:gd name="T21" fmla="*/ 497 h 1003"/>
                  <a:gd name="T22" fmla="*/ 2563 w 3553"/>
                  <a:gd name="T23" fmla="*/ 0 h 1003"/>
                  <a:gd name="T24" fmla="*/ 1015 w 3553"/>
                  <a:gd name="T25" fmla="*/ 780 h 1003"/>
                  <a:gd name="T26" fmla="*/ 440 w 3553"/>
                  <a:gd name="T27" fmla="*/ 515 h 1003"/>
                  <a:gd name="T28" fmla="*/ 998 w 3553"/>
                  <a:gd name="T29" fmla="*/ 223 h 1003"/>
                  <a:gd name="T30" fmla="*/ 1565 w 3553"/>
                  <a:gd name="T31" fmla="*/ 506 h 1003"/>
                  <a:gd name="T32" fmla="*/ 1776 w 3553"/>
                  <a:gd name="T33" fmla="*/ 395 h 100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553" h="1003">
                    <a:moveTo>
                      <a:pt x="1776" y="395"/>
                    </a:moveTo>
                    <a:lnTo>
                      <a:pt x="1007" y="9"/>
                    </a:lnTo>
                    <a:lnTo>
                      <a:pt x="0" y="506"/>
                    </a:lnTo>
                    <a:lnTo>
                      <a:pt x="990" y="1003"/>
                    </a:lnTo>
                    <a:lnTo>
                      <a:pt x="2555" y="232"/>
                    </a:lnTo>
                    <a:lnTo>
                      <a:pt x="3113" y="515"/>
                    </a:lnTo>
                    <a:lnTo>
                      <a:pt x="2555" y="780"/>
                    </a:lnTo>
                    <a:lnTo>
                      <a:pt x="2208" y="609"/>
                    </a:lnTo>
                    <a:lnTo>
                      <a:pt x="1979" y="720"/>
                    </a:lnTo>
                    <a:lnTo>
                      <a:pt x="2538" y="1003"/>
                    </a:lnTo>
                    <a:lnTo>
                      <a:pt x="3553" y="497"/>
                    </a:lnTo>
                    <a:lnTo>
                      <a:pt x="2563" y="0"/>
                    </a:lnTo>
                    <a:lnTo>
                      <a:pt x="1015" y="780"/>
                    </a:lnTo>
                    <a:lnTo>
                      <a:pt x="440" y="515"/>
                    </a:lnTo>
                    <a:lnTo>
                      <a:pt x="998" y="223"/>
                    </a:lnTo>
                    <a:lnTo>
                      <a:pt x="1565" y="506"/>
                    </a:lnTo>
                    <a:lnTo>
                      <a:pt x="1776" y="395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" name="ïśľîďè">
                <a:extLst>
                  <a:ext uri="{FF2B5EF4-FFF2-40B4-BE49-F238E27FC236}">
                    <a16:creationId xmlns:a16="http://schemas.microsoft.com/office/drawing/2014/main" id="{0BC0E66C-710C-45B8-AB9B-90DEEF022EDE}"/>
                  </a:ext>
                </a:extLst>
              </p:cNvPr>
              <p:cNvSpPr/>
              <p:nvPr/>
            </p:nvSpPr>
            <p:spPr bwMode="auto">
              <a:xfrm rot="16200000">
                <a:off x="5444377" y="4054959"/>
                <a:ext cx="801057" cy="556329"/>
              </a:xfrm>
              <a:custGeom>
                <a:avLst/>
                <a:gdLst>
                  <a:gd name="T0" fmla="*/ 567 w 567"/>
                  <a:gd name="T1" fmla="*/ 283 h 394"/>
                  <a:gd name="T2" fmla="*/ 0 w 567"/>
                  <a:gd name="T3" fmla="*/ 0 h 394"/>
                  <a:gd name="T4" fmla="*/ 0 w 567"/>
                  <a:gd name="T5" fmla="*/ 214 h 394"/>
                  <a:gd name="T6" fmla="*/ 347 w 567"/>
                  <a:gd name="T7" fmla="*/ 394 h 394"/>
                  <a:gd name="T8" fmla="*/ 567 w 567"/>
                  <a:gd name="T9" fmla="*/ 283 h 3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67" h="394">
                    <a:moveTo>
                      <a:pt x="567" y="283"/>
                    </a:moveTo>
                    <a:lnTo>
                      <a:pt x="0" y="0"/>
                    </a:lnTo>
                    <a:lnTo>
                      <a:pt x="0" y="214"/>
                    </a:lnTo>
                    <a:lnTo>
                      <a:pt x="347" y="394"/>
                    </a:lnTo>
                    <a:lnTo>
                      <a:pt x="567" y="283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8" name="ïṡḷíḓe">
                <a:extLst>
                  <a:ext uri="{FF2B5EF4-FFF2-40B4-BE49-F238E27FC236}">
                    <a16:creationId xmlns:a16="http://schemas.microsoft.com/office/drawing/2014/main" id="{FC6A0993-A671-4B03-A2D5-7E94ABD2AD83}"/>
                  </a:ext>
                </a:extLst>
              </p:cNvPr>
              <p:cNvSpPr/>
              <p:nvPr/>
            </p:nvSpPr>
            <p:spPr bwMode="auto">
              <a:xfrm rot="16200000">
                <a:off x="5444377" y="4054959"/>
                <a:ext cx="801057" cy="556329"/>
              </a:xfrm>
              <a:custGeom>
                <a:avLst/>
                <a:gdLst>
                  <a:gd name="T0" fmla="*/ 567 w 567"/>
                  <a:gd name="T1" fmla="*/ 283 h 394"/>
                  <a:gd name="T2" fmla="*/ 0 w 567"/>
                  <a:gd name="T3" fmla="*/ 0 h 394"/>
                  <a:gd name="T4" fmla="*/ 0 w 567"/>
                  <a:gd name="T5" fmla="*/ 214 h 394"/>
                  <a:gd name="T6" fmla="*/ 347 w 567"/>
                  <a:gd name="T7" fmla="*/ 394 h 394"/>
                  <a:gd name="T8" fmla="*/ 567 w 567"/>
                  <a:gd name="T9" fmla="*/ 283 h 3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67" h="394">
                    <a:moveTo>
                      <a:pt x="567" y="283"/>
                    </a:moveTo>
                    <a:lnTo>
                      <a:pt x="0" y="0"/>
                    </a:lnTo>
                    <a:lnTo>
                      <a:pt x="0" y="214"/>
                    </a:lnTo>
                    <a:lnTo>
                      <a:pt x="347" y="394"/>
                    </a:lnTo>
                    <a:lnTo>
                      <a:pt x="567" y="283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" name="íṧ1îḍé">
                <a:extLst>
                  <a:ext uri="{FF2B5EF4-FFF2-40B4-BE49-F238E27FC236}">
                    <a16:creationId xmlns:a16="http://schemas.microsoft.com/office/drawing/2014/main" id="{A579D511-5B8F-4B1F-9F99-BB5AF5709BA0}"/>
                  </a:ext>
                </a:extLst>
              </p:cNvPr>
              <p:cNvSpPr/>
              <p:nvPr/>
            </p:nvSpPr>
            <p:spPr bwMode="auto">
              <a:xfrm rot="16200000">
                <a:off x="6076167" y="2750281"/>
                <a:ext cx="1087855" cy="703178"/>
              </a:xfrm>
              <a:custGeom>
                <a:avLst/>
                <a:gdLst>
                  <a:gd name="T0" fmla="*/ 770 w 770"/>
                  <a:gd name="T1" fmla="*/ 283 h 498"/>
                  <a:gd name="T2" fmla="*/ 770 w 770"/>
                  <a:gd name="T3" fmla="*/ 498 h 498"/>
                  <a:gd name="T4" fmla="*/ 0 w 770"/>
                  <a:gd name="T5" fmla="*/ 103 h 498"/>
                  <a:gd name="T6" fmla="*/ 211 w 770"/>
                  <a:gd name="T7" fmla="*/ 0 h 498"/>
                  <a:gd name="T8" fmla="*/ 770 w 770"/>
                  <a:gd name="T9" fmla="*/ 283 h 49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70" h="498">
                    <a:moveTo>
                      <a:pt x="770" y="283"/>
                    </a:moveTo>
                    <a:lnTo>
                      <a:pt x="770" y="498"/>
                    </a:lnTo>
                    <a:lnTo>
                      <a:pt x="0" y="103"/>
                    </a:lnTo>
                    <a:lnTo>
                      <a:pt x="211" y="0"/>
                    </a:lnTo>
                    <a:lnTo>
                      <a:pt x="770" y="283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" name="i$ľîdê">
                <a:extLst>
                  <a:ext uri="{FF2B5EF4-FFF2-40B4-BE49-F238E27FC236}">
                    <a16:creationId xmlns:a16="http://schemas.microsoft.com/office/drawing/2014/main" id="{9C8CF8F3-EE51-4A59-AAD9-576754470800}"/>
                  </a:ext>
                </a:extLst>
              </p:cNvPr>
              <p:cNvSpPr/>
              <p:nvPr/>
            </p:nvSpPr>
            <p:spPr bwMode="auto">
              <a:xfrm rot="16200000">
                <a:off x="6076167" y="2750281"/>
                <a:ext cx="1087855" cy="703178"/>
              </a:xfrm>
              <a:custGeom>
                <a:avLst/>
                <a:gdLst>
                  <a:gd name="T0" fmla="*/ 770 w 770"/>
                  <a:gd name="T1" fmla="*/ 283 h 498"/>
                  <a:gd name="T2" fmla="*/ 770 w 770"/>
                  <a:gd name="T3" fmla="*/ 498 h 498"/>
                  <a:gd name="T4" fmla="*/ 0 w 770"/>
                  <a:gd name="T5" fmla="*/ 103 h 498"/>
                  <a:gd name="T6" fmla="*/ 211 w 770"/>
                  <a:gd name="T7" fmla="*/ 0 h 498"/>
                  <a:gd name="T8" fmla="*/ 770 w 770"/>
                  <a:gd name="T9" fmla="*/ 283 h 49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70" h="498">
                    <a:moveTo>
                      <a:pt x="770" y="283"/>
                    </a:moveTo>
                    <a:lnTo>
                      <a:pt x="770" y="498"/>
                    </a:lnTo>
                    <a:lnTo>
                      <a:pt x="0" y="103"/>
                    </a:lnTo>
                    <a:lnTo>
                      <a:pt x="211" y="0"/>
                    </a:lnTo>
                    <a:lnTo>
                      <a:pt x="770" y="283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" name="išlïdè">
                <a:extLst>
                  <a:ext uri="{FF2B5EF4-FFF2-40B4-BE49-F238E27FC236}">
                    <a16:creationId xmlns:a16="http://schemas.microsoft.com/office/drawing/2014/main" id="{9EE595D8-C83F-4250-B82A-7BE149DD198C}"/>
                  </a:ext>
                </a:extLst>
              </p:cNvPr>
              <p:cNvSpPr/>
              <p:nvPr/>
            </p:nvSpPr>
            <p:spPr bwMode="auto">
              <a:xfrm rot="16200000">
                <a:off x="5739307" y="1338273"/>
                <a:ext cx="1433991" cy="1005346"/>
              </a:xfrm>
              <a:custGeom>
                <a:avLst/>
                <a:gdLst>
                  <a:gd name="T0" fmla="*/ 0 w 1015"/>
                  <a:gd name="T1" fmla="*/ 506 h 712"/>
                  <a:gd name="T2" fmla="*/ 0 w 1015"/>
                  <a:gd name="T3" fmla="*/ 712 h 712"/>
                  <a:gd name="T4" fmla="*/ 1015 w 1015"/>
                  <a:gd name="T5" fmla="*/ 215 h 712"/>
                  <a:gd name="T6" fmla="*/ 1015 w 1015"/>
                  <a:gd name="T7" fmla="*/ 0 h 712"/>
                  <a:gd name="T8" fmla="*/ 0 w 1015"/>
                  <a:gd name="T9" fmla="*/ 506 h 7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5" h="712">
                    <a:moveTo>
                      <a:pt x="0" y="506"/>
                    </a:moveTo>
                    <a:lnTo>
                      <a:pt x="0" y="712"/>
                    </a:lnTo>
                    <a:lnTo>
                      <a:pt x="1015" y="215"/>
                    </a:lnTo>
                    <a:lnTo>
                      <a:pt x="1015" y="0"/>
                    </a:lnTo>
                    <a:lnTo>
                      <a:pt x="0" y="50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" name="íŝļïḑè">
                <a:extLst>
                  <a:ext uri="{FF2B5EF4-FFF2-40B4-BE49-F238E27FC236}">
                    <a16:creationId xmlns:a16="http://schemas.microsoft.com/office/drawing/2014/main" id="{09404E20-FF95-46B9-BDE4-65964AED7C28}"/>
                  </a:ext>
                </a:extLst>
              </p:cNvPr>
              <p:cNvSpPr/>
              <p:nvPr/>
            </p:nvSpPr>
            <p:spPr bwMode="auto">
              <a:xfrm rot="16200000">
                <a:off x="5739307" y="1338273"/>
                <a:ext cx="1433991" cy="1005346"/>
              </a:xfrm>
              <a:custGeom>
                <a:avLst/>
                <a:gdLst>
                  <a:gd name="T0" fmla="*/ 0 w 1015"/>
                  <a:gd name="T1" fmla="*/ 506 h 712"/>
                  <a:gd name="T2" fmla="*/ 0 w 1015"/>
                  <a:gd name="T3" fmla="*/ 712 h 712"/>
                  <a:gd name="T4" fmla="*/ 1015 w 1015"/>
                  <a:gd name="T5" fmla="*/ 215 h 712"/>
                  <a:gd name="T6" fmla="*/ 1015 w 1015"/>
                  <a:gd name="T7" fmla="*/ 0 h 712"/>
                  <a:gd name="T8" fmla="*/ 0 w 1015"/>
                  <a:gd name="T9" fmla="*/ 506 h 7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5" h="712">
                    <a:moveTo>
                      <a:pt x="0" y="506"/>
                    </a:moveTo>
                    <a:lnTo>
                      <a:pt x="0" y="712"/>
                    </a:lnTo>
                    <a:lnTo>
                      <a:pt x="1015" y="215"/>
                    </a:lnTo>
                    <a:lnTo>
                      <a:pt x="1015" y="0"/>
                    </a:lnTo>
                    <a:lnTo>
                      <a:pt x="0" y="506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3" name="îŝľïḍe">
                <a:extLst>
                  <a:ext uri="{FF2B5EF4-FFF2-40B4-BE49-F238E27FC236}">
                    <a16:creationId xmlns:a16="http://schemas.microsoft.com/office/drawing/2014/main" id="{42FCEDE3-8B16-418E-9390-D70E247E59D4}"/>
                  </a:ext>
                </a:extLst>
              </p:cNvPr>
              <p:cNvSpPr/>
              <p:nvPr/>
            </p:nvSpPr>
            <p:spPr bwMode="auto">
              <a:xfrm rot="16200000">
                <a:off x="5751316" y="4935966"/>
                <a:ext cx="1409973" cy="1005346"/>
              </a:xfrm>
              <a:custGeom>
                <a:avLst/>
                <a:gdLst>
                  <a:gd name="T0" fmla="*/ 998 w 998"/>
                  <a:gd name="T1" fmla="*/ 506 h 712"/>
                  <a:gd name="T2" fmla="*/ 0 w 998"/>
                  <a:gd name="T3" fmla="*/ 0 h 712"/>
                  <a:gd name="T4" fmla="*/ 0 w 998"/>
                  <a:gd name="T5" fmla="*/ 215 h 712"/>
                  <a:gd name="T6" fmla="*/ 998 w 998"/>
                  <a:gd name="T7" fmla="*/ 712 h 712"/>
                  <a:gd name="T8" fmla="*/ 998 w 998"/>
                  <a:gd name="T9" fmla="*/ 506 h 7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98" h="712">
                    <a:moveTo>
                      <a:pt x="998" y="506"/>
                    </a:moveTo>
                    <a:lnTo>
                      <a:pt x="0" y="0"/>
                    </a:lnTo>
                    <a:lnTo>
                      <a:pt x="0" y="215"/>
                    </a:lnTo>
                    <a:lnTo>
                      <a:pt x="998" y="712"/>
                    </a:lnTo>
                    <a:lnTo>
                      <a:pt x="998" y="50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4" name="iṥḻîḋê">
                <a:extLst>
                  <a:ext uri="{FF2B5EF4-FFF2-40B4-BE49-F238E27FC236}">
                    <a16:creationId xmlns:a16="http://schemas.microsoft.com/office/drawing/2014/main" id="{A0368D85-2EA8-4834-8500-AA7D49F3AD10}"/>
                  </a:ext>
                </a:extLst>
              </p:cNvPr>
              <p:cNvSpPr/>
              <p:nvPr/>
            </p:nvSpPr>
            <p:spPr bwMode="auto">
              <a:xfrm rot="16200000">
                <a:off x="5751316" y="4935966"/>
                <a:ext cx="1409973" cy="1005346"/>
              </a:xfrm>
              <a:custGeom>
                <a:avLst/>
                <a:gdLst>
                  <a:gd name="T0" fmla="*/ 998 w 998"/>
                  <a:gd name="T1" fmla="*/ 506 h 712"/>
                  <a:gd name="T2" fmla="*/ 0 w 998"/>
                  <a:gd name="T3" fmla="*/ 0 h 712"/>
                  <a:gd name="T4" fmla="*/ 0 w 998"/>
                  <a:gd name="T5" fmla="*/ 215 h 712"/>
                  <a:gd name="T6" fmla="*/ 998 w 998"/>
                  <a:gd name="T7" fmla="*/ 712 h 712"/>
                  <a:gd name="T8" fmla="*/ 998 w 998"/>
                  <a:gd name="T9" fmla="*/ 506 h 7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98" h="712">
                    <a:moveTo>
                      <a:pt x="998" y="506"/>
                    </a:moveTo>
                    <a:lnTo>
                      <a:pt x="0" y="0"/>
                    </a:lnTo>
                    <a:lnTo>
                      <a:pt x="0" y="215"/>
                    </a:lnTo>
                    <a:lnTo>
                      <a:pt x="998" y="712"/>
                    </a:lnTo>
                    <a:lnTo>
                      <a:pt x="998" y="506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5" name="isļîḓé">
                <a:extLst>
                  <a:ext uri="{FF2B5EF4-FFF2-40B4-BE49-F238E27FC236}">
                    <a16:creationId xmlns:a16="http://schemas.microsoft.com/office/drawing/2014/main" id="{D226D2C9-AC37-4DA6-B404-6195F45E8A0B}"/>
                  </a:ext>
                </a:extLst>
              </p:cNvPr>
              <p:cNvSpPr/>
              <p:nvPr/>
            </p:nvSpPr>
            <p:spPr bwMode="auto">
              <a:xfrm rot="16200000">
                <a:off x="5169348" y="2944024"/>
                <a:ext cx="2199728" cy="1379528"/>
              </a:xfrm>
              <a:custGeom>
                <a:avLst/>
                <a:gdLst>
                  <a:gd name="T0" fmla="*/ 1557 w 1557"/>
                  <a:gd name="T1" fmla="*/ 0 h 977"/>
                  <a:gd name="T2" fmla="*/ 0 w 1557"/>
                  <a:gd name="T3" fmla="*/ 763 h 977"/>
                  <a:gd name="T4" fmla="*/ 0 w 1557"/>
                  <a:gd name="T5" fmla="*/ 977 h 977"/>
                  <a:gd name="T6" fmla="*/ 1557 w 1557"/>
                  <a:gd name="T7" fmla="*/ 205 h 977"/>
                  <a:gd name="T8" fmla="*/ 1557 w 1557"/>
                  <a:gd name="T9" fmla="*/ 0 h 97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57" h="977">
                    <a:moveTo>
                      <a:pt x="1557" y="0"/>
                    </a:moveTo>
                    <a:lnTo>
                      <a:pt x="0" y="763"/>
                    </a:lnTo>
                    <a:lnTo>
                      <a:pt x="0" y="977"/>
                    </a:lnTo>
                    <a:lnTo>
                      <a:pt x="1557" y="205"/>
                    </a:lnTo>
                    <a:lnTo>
                      <a:pt x="1557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" name="îṡlîḍe">
                <a:extLst>
                  <a:ext uri="{FF2B5EF4-FFF2-40B4-BE49-F238E27FC236}">
                    <a16:creationId xmlns:a16="http://schemas.microsoft.com/office/drawing/2014/main" id="{45082C78-12B9-4D93-BA35-02B3770DAA61}"/>
                  </a:ext>
                </a:extLst>
              </p:cNvPr>
              <p:cNvSpPr/>
              <p:nvPr/>
            </p:nvSpPr>
            <p:spPr bwMode="auto">
              <a:xfrm rot="16200000">
                <a:off x="5169348" y="2944024"/>
                <a:ext cx="2199728" cy="1379528"/>
              </a:xfrm>
              <a:custGeom>
                <a:avLst/>
                <a:gdLst>
                  <a:gd name="T0" fmla="*/ 1557 w 1557"/>
                  <a:gd name="T1" fmla="*/ 0 h 977"/>
                  <a:gd name="T2" fmla="*/ 0 w 1557"/>
                  <a:gd name="T3" fmla="*/ 763 h 977"/>
                  <a:gd name="T4" fmla="*/ 0 w 1557"/>
                  <a:gd name="T5" fmla="*/ 977 h 977"/>
                  <a:gd name="T6" fmla="*/ 1557 w 1557"/>
                  <a:gd name="T7" fmla="*/ 205 h 977"/>
                  <a:gd name="T8" fmla="*/ 1557 w 1557"/>
                  <a:gd name="T9" fmla="*/ 0 h 97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57" h="977">
                    <a:moveTo>
                      <a:pt x="1557" y="0"/>
                    </a:moveTo>
                    <a:lnTo>
                      <a:pt x="0" y="763"/>
                    </a:lnTo>
                    <a:lnTo>
                      <a:pt x="0" y="977"/>
                    </a:lnTo>
                    <a:lnTo>
                      <a:pt x="1557" y="205"/>
                    </a:lnTo>
                    <a:lnTo>
                      <a:pt x="1557" y="0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7" name="iSľíḓe">
              <a:extLst>
                <a:ext uri="{FF2B5EF4-FFF2-40B4-BE49-F238E27FC236}">
                  <a16:creationId xmlns:a16="http://schemas.microsoft.com/office/drawing/2014/main" id="{9A7A8A48-4A43-4541-B7BD-B022F2C26584}"/>
                </a:ext>
              </a:extLst>
            </p:cNvPr>
            <p:cNvSpPr txBox="1"/>
            <p:nvPr/>
          </p:nvSpPr>
          <p:spPr>
            <a:xfrm>
              <a:off x="673099" y="3204150"/>
              <a:ext cx="4287892" cy="44970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01.</a:t>
              </a:r>
              <a:r>
                <a:rPr lang="zh-CN" altLang="en-US" b="1" dirty="0"/>
                <a:t>会员信息</a:t>
              </a:r>
            </a:p>
          </p:txBody>
        </p:sp>
        <p:sp>
          <p:nvSpPr>
            <p:cNvPr id="8" name="îŝlîďé">
              <a:extLst>
                <a:ext uri="{FF2B5EF4-FFF2-40B4-BE49-F238E27FC236}">
                  <a16:creationId xmlns:a16="http://schemas.microsoft.com/office/drawing/2014/main" id="{E47EA340-1E6D-43AF-AA3B-5D519697BA8E}"/>
                </a:ext>
              </a:extLst>
            </p:cNvPr>
            <p:cNvSpPr txBox="1"/>
            <p:nvPr/>
          </p:nvSpPr>
          <p:spPr>
            <a:xfrm>
              <a:off x="673101" y="3653850"/>
              <a:ext cx="4287890" cy="68003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endParaRPr lang="en-US" altLang="zh-CN" sz="1100" dirty="0"/>
            </a:p>
          </p:txBody>
        </p: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03F1AFF3-9C56-440A-9CBA-DDAD58C7DCCD}"/>
                </a:ext>
              </a:extLst>
            </p:cNvPr>
            <p:cNvCxnSpPr>
              <a:stCxn id="26" idx="0"/>
            </p:cNvCxnSpPr>
            <p:nvPr/>
          </p:nvCxnSpPr>
          <p:spPr>
            <a:xfrm flipH="1">
              <a:off x="673099" y="3634495"/>
              <a:ext cx="5136507" cy="11303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íśḻiḑé">
              <a:extLst>
                <a:ext uri="{FF2B5EF4-FFF2-40B4-BE49-F238E27FC236}">
                  <a16:creationId xmlns:a16="http://schemas.microsoft.com/office/drawing/2014/main" id="{0ACCD0C8-73AE-493F-9826-02B39C054043}"/>
                </a:ext>
              </a:extLst>
            </p:cNvPr>
            <p:cNvSpPr/>
            <p:nvPr/>
          </p:nvSpPr>
          <p:spPr bwMode="auto">
            <a:xfrm>
              <a:off x="4858857" y="3287038"/>
              <a:ext cx="335444" cy="304374"/>
            </a:xfrm>
            <a:custGeom>
              <a:avLst/>
              <a:gdLst>
                <a:gd name="connsiteX0" fmla="*/ 116112 w 607919"/>
                <a:gd name="connsiteY0" fmla="*/ 473652 h 551610"/>
                <a:gd name="connsiteX1" fmla="*/ 118901 w 607919"/>
                <a:gd name="connsiteY1" fmla="*/ 480423 h 551610"/>
                <a:gd name="connsiteX2" fmla="*/ 118901 w 607919"/>
                <a:gd name="connsiteY2" fmla="*/ 551610 h 551610"/>
                <a:gd name="connsiteX3" fmla="*/ 55604 w 607919"/>
                <a:gd name="connsiteY3" fmla="*/ 551610 h 551610"/>
                <a:gd name="connsiteX4" fmla="*/ 55604 w 607919"/>
                <a:gd name="connsiteY4" fmla="*/ 540851 h 551610"/>
                <a:gd name="connsiteX5" fmla="*/ 65255 w 607919"/>
                <a:gd name="connsiteY5" fmla="*/ 520583 h 551610"/>
                <a:gd name="connsiteX6" fmla="*/ 83555 w 607919"/>
                <a:gd name="connsiteY6" fmla="*/ 502317 h 551610"/>
                <a:gd name="connsiteX7" fmla="*/ 109375 w 607919"/>
                <a:gd name="connsiteY7" fmla="*/ 476545 h 551610"/>
                <a:gd name="connsiteX8" fmla="*/ 116112 w 607919"/>
                <a:gd name="connsiteY8" fmla="*/ 473652 h 551610"/>
                <a:gd name="connsiteX9" fmla="*/ 199155 w 607919"/>
                <a:gd name="connsiteY9" fmla="*/ 390799 h 551610"/>
                <a:gd name="connsiteX10" fmla="*/ 201956 w 607919"/>
                <a:gd name="connsiteY10" fmla="*/ 397632 h 551610"/>
                <a:gd name="connsiteX11" fmla="*/ 201956 w 607919"/>
                <a:gd name="connsiteY11" fmla="*/ 551610 h 551610"/>
                <a:gd name="connsiteX12" fmla="*/ 145363 w 607919"/>
                <a:gd name="connsiteY12" fmla="*/ 551610 h 551610"/>
                <a:gd name="connsiteX13" fmla="*/ 145363 w 607919"/>
                <a:gd name="connsiteY13" fmla="*/ 454170 h 551610"/>
                <a:gd name="connsiteX14" fmla="*/ 154879 w 607919"/>
                <a:gd name="connsiteY14" fmla="*/ 431030 h 551610"/>
                <a:gd name="connsiteX15" fmla="*/ 192315 w 607919"/>
                <a:gd name="connsiteY15" fmla="*/ 393630 h 551610"/>
                <a:gd name="connsiteX16" fmla="*/ 199155 w 607919"/>
                <a:gd name="connsiteY16" fmla="*/ 390799 h 551610"/>
                <a:gd name="connsiteX17" fmla="*/ 231082 w 607919"/>
                <a:gd name="connsiteY17" fmla="*/ 388245 h 551610"/>
                <a:gd name="connsiteX18" fmla="*/ 237930 w 607919"/>
                <a:gd name="connsiteY18" fmla="*/ 391091 h 551610"/>
                <a:gd name="connsiteX19" fmla="*/ 266763 w 607919"/>
                <a:gd name="connsiteY19" fmla="*/ 419867 h 551610"/>
                <a:gd name="connsiteX20" fmla="*/ 275915 w 607919"/>
                <a:gd name="connsiteY20" fmla="*/ 428875 h 551610"/>
                <a:gd name="connsiteX21" fmla="*/ 284941 w 607919"/>
                <a:gd name="connsiteY21" fmla="*/ 451520 h 551610"/>
                <a:gd name="connsiteX22" fmla="*/ 284941 w 607919"/>
                <a:gd name="connsiteY22" fmla="*/ 551610 h 551610"/>
                <a:gd name="connsiteX23" fmla="*/ 228277 w 607919"/>
                <a:gd name="connsiteY23" fmla="*/ 551610 h 551610"/>
                <a:gd name="connsiteX24" fmla="*/ 228277 w 607919"/>
                <a:gd name="connsiteY24" fmla="*/ 394969 h 551610"/>
                <a:gd name="connsiteX25" fmla="*/ 231082 w 607919"/>
                <a:gd name="connsiteY25" fmla="*/ 388245 h 551610"/>
                <a:gd name="connsiteX26" fmla="*/ 365148 w 607919"/>
                <a:gd name="connsiteY26" fmla="*/ 381336 h 551610"/>
                <a:gd name="connsiteX27" fmla="*/ 367997 w 607919"/>
                <a:gd name="connsiteY27" fmla="*/ 388122 h 551610"/>
                <a:gd name="connsiteX28" fmla="*/ 367997 w 607919"/>
                <a:gd name="connsiteY28" fmla="*/ 551610 h 551610"/>
                <a:gd name="connsiteX29" fmla="*/ 311262 w 607919"/>
                <a:gd name="connsiteY29" fmla="*/ 551610 h 551610"/>
                <a:gd name="connsiteX30" fmla="*/ 311262 w 607919"/>
                <a:gd name="connsiteY30" fmla="*/ 444661 h 551610"/>
                <a:gd name="connsiteX31" fmla="*/ 316898 w 607919"/>
                <a:gd name="connsiteY31" fmla="*/ 425523 h 551610"/>
                <a:gd name="connsiteX32" fmla="*/ 322534 w 607919"/>
                <a:gd name="connsiteY32" fmla="*/ 419894 h 551610"/>
                <a:gd name="connsiteX33" fmla="*/ 358353 w 607919"/>
                <a:gd name="connsiteY33" fmla="*/ 384120 h 551610"/>
                <a:gd name="connsiteX34" fmla="*/ 365148 w 607919"/>
                <a:gd name="connsiteY34" fmla="*/ 381336 h 551610"/>
                <a:gd name="connsiteX35" fmla="*/ 448177 w 607919"/>
                <a:gd name="connsiteY35" fmla="*/ 298352 h 551610"/>
                <a:gd name="connsiteX36" fmla="*/ 450982 w 607919"/>
                <a:gd name="connsiteY36" fmla="*/ 305139 h 551610"/>
                <a:gd name="connsiteX37" fmla="*/ 450982 w 607919"/>
                <a:gd name="connsiteY37" fmla="*/ 551610 h 551610"/>
                <a:gd name="connsiteX38" fmla="*/ 394318 w 607919"/>
                <a:gd name="connsiteY38" fmla="*/ 551610 h 551610"/>
                <a:gd name="connsiteX39" fmla="*/ 394318 w 607919"/>
                <a:gd name="connsiteY39" fmla="*/ 361815 h 551610"/>
                <a:gd name="connsiteX40" fmla="*/ 403846 w 607919"/>
                <a:gd name="connsiteY40" fmla="*/ 338669 h 551610"/>
                <a:gd name="connsiteX41" fmla="*/ 441329 w 607919"/>
                <a:gd name="connsiteY41" fmla="*/ 301136 h 551610"/>
                <a:gd name="connsiteX42" fmla="*/ 448177 w 607919"/>
                <a:gd name="connsiteY42" fmla="*/ 298352 h 551610"/>
                <a:gd name="connsiteX43" fmla="*/ 527085 w 607919"/>
                <a:gd name="connsiteY43" fmla="*/ 219452 h 551610"/>
                <a:gd name="connsiteX44" fmla="*/ 529874 w 607919"/>
                <a:gd name="connsiteY44" fmla="*/ 226177 h 551610"/>
                <a:gd name="connsiteX45" fmla="*/ 529874 w 607919"/>
                <a:gd name="connsiteY45" fmla="*/ 551610 h 551610"/>
                <a:gd name="connsiteX46" fmla="*/ 477232 w 607919"/>
                <a:gd name="connsiteY46" fmla="*/ 551610 h 551610"/>
                <a:gd name="connsiteX47" fmla="*/ 477232 w 607919"/>
                <a:gd name="connsiteY47" fmla="*/ 278727 h 551610"/>
                <a:gd name="connsiteX48" fmla="*/ 486883 w 607919"/>
                <a:gd name="connsiteY48" fmla="*/ 255580 h 551610"/>
                <a:gd name="connsiteX49" fmla="*/ 520348 w 607919"/>
                <a:gd name="connsiteY49" fmla="*/ 222298 h 551610"/>
                <a:gd name="connsiteX50" fmla="*/ 527085 w 607919"/>
                <a:gd name="connsiteY50" fmla="*/ 219452 h 551610"/>
                <a:gd name="connsiteX51" fmla="*/ 387769 w 607919"/>
                <a:gd name="connsiteY51" fmla="*/ 0 h 551610"/>
                <a:gd name="connsiteX52" fmla="*/ 580729 w 607919"/>
                <a:gd name="connsiteY52" fmla="*/ 0 h 551610"/>
                <a:gd name="connsiteX53" fmla="*/ 607919 w 607919"/>
                <a:gd name="connsiteY53" fmla="*/ 26022 h 551610"/>
                <a:gd name="connsiteX54" fmla="*/ 607919 w 607919"/>
                <a:gd name="connsiteY54" fmla="*/ 219812 h 551610"/>
                <a:gd name="connsiteX55" fmla="*/ 598271 w 607919"/>
                <a:gd name="connsiteY55" fmla="*/ 223815 h 551610"/>
                <a:gd name="connsiteX56" fmla="*/ 530610 w 607919"/>
                <a:gd name="connsiteY56" fmla="*/ 156258 h 551610"/>
                <a:gd name="connsiteX57" fmla="*/ 304320 w 607919"/>
                <a:gd name="connsiteY57" fmla="*/ 382325 h 551610"/>
                <a:gd name="connsiteX58" fmla="*/ 285024 w 607919"/>
                <a:gd name="connsiteY58" fmla="*/ 382325 h 551610"/>
                <a:gd name="connsiteX59" fmla="*/ 216360 w 607919"/>
                <a:gd name="connsiteY59" fmla="*/ 313767 h 551610"/>
                <a:gd name="connsiteX60" fmla="*/ 94068 w 607919"/>
                <a:gd name="connsiteY60" fmla="*/ 435996 h 551610"/>
                <a:gd name="connsiteX61" fmla="*/ 17260 w 607919"/>
                <a:gd name="connsiteY61" fmla="*/ 435996 h 551610"/>
                <a:gd name="connsiteX62" fmla="*/ 15882 w 607919"/>
                <a:gd name="connsiteY62" fmla="*/ 434745 h 551610"/>
                <a:gd name="connsiteX63" fmla="*/ 15882 w 607919"/>
                <a:gd name="connsiteY63" fmla="*/ 358055 h 551610"/>
                <a:gd name="connsiteX64" fmla="*/ 206837 w 607919"/>
                <a:gd name="connsiteY64" fmla="*/ 167267 h 551610"/>
                <a:gd name="connsiteX65" fmla="*/ 226008 w 607919"/>
                <a:gd name="connsiteY65" fmla="*/ 167267 h 551610"/>
                <a:gd name="connsiteX66" fmla="*/ 294672 w 607919"/>
                <a:gd name="connsiteY66" fmla="*/ 235701 h 551610"/>
                <a:gd name="connsiteX67" fmla="*/ 424481 w 607919"/>
                <a:gd name="connsiteY67" fmla="*/ 105965 h 551610"/>
                <a:gd name="connsiteX68" fmla="*/ 452423 w 607919"/>
                <a:gd name="connsiteY68" fmla="*/ 78192 h 551610"/>
                <a:gd name="connsiteX69" fmla="*/ 383885 w 607919"/>
                <a:gd name="connsiteY69" fmla="*/ 9633 h 551610"/>
                <a:gd name="connsiteX70" fmla="*/ 387769 w 607919"/>
                <a:gd name="connsiteY70" fmla="*/ 0 h 551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607919" h="551610">
                  <a:moveTo>
                    <a:pt x="116112" y="473652"/>
                  </a:moveTo>
                  <a:cubicBezTo>
                    <a:pt x="117836" y="474356"/>
                    <a:pt x="118901" y="476670"/>
                    <a:pt x="118901" y="480423"/>
                  </a:cubicBezTo>
                  <a:lnTo>
                    <a:pt x="118901" y="551610"/>
                  </a:lnTo>
                  <a:lnTo>
                    <a:pt x="55604" y="551610"/>
                  </a:lnTo>
                  <a:lnTo>
                    <a:pt x="55604" y="540851"/>
                  </a:lnTo>
                  <a:cubicBezTo>
                    <a:pt x="55604" y="534971"/>
                    <a:pt x="59991" y="525838"/>
                    <a:pt x="65255" y="520583"/>
                  </a:cubicBezTo>
                  <a:lnTo>
                    <a:pt x="83555" y="502317"/>
                  </a:lnTo>
                  <a:lnTo>
                    <a:pt x="109375" y="476545"/>
                  </a:lnTo>
                  <a:cubicBezTo>
                    <a:pt x="112007" y="473855"/>
                    <a:pt x="114389" y="472948"/>
                    <a:pt x="116112" y="473652"/>
                  </a:cubicBezTo>
                  <a:close/>
                  <a:moveTo>
                    <a:pt x="199155" y="390799"/>
                  </a:moveTo>
                  <a:cubicBezTo>
                    <a:pt x="200892" y="391534"/>
                    <a:pt x="201956" y="393880"/>
                    <a:pt x="201956" y="397632"/>
                  </a:cubicBezTo>
                  <a:lnTo>
                    <a:pt x="201956" y="551610"/>
                  </a:lnTo>
                  <a:lnTo>
                    <a:pt x="145363" y="551610"/>
                  </a:lnTo>
                  <a:lnTo>
                    <a:pt x="145363" y="454170"/>
                  </a:lnTo>
                  <a:cubicBezTo>
                    <a:pt x="145363" y="446665"/>
                    <a:pt x="149620" y="436283"/>
                    <a:pt x="154879" y="431030"/>
                  </a:cubicBezTo>
                  <a:lnTo>
                    <a:pt x="192315" y="393630"/>
                  </a:lnTo>
                  <a:cubicBezTo>
                    <a:pt x="195007" y="390941"/>
                    <a:pt x="197417" y="390065"/>
                    <a:pt x="199155" y="390799"/>
                  </a:cubicBezTo>
                  <a:close/>
                  <a:moveTo>
                    <a:pt x="231082" y="388245"/>
                  </a:moveTo>
                  <a:cubicBezTo>
                    <a:pt x="232822" y="387525"/>
                    <a:pt x="235235" y="388401"/>
                    <a:pt x="237930" y="391091"/>
                  </a:cubicBezTo>
                  <a:lnTo>
                    <a:pt x="266763" y="419867"/>
                  </a:lnTo>
                  <a:lnTo>
                    <a:pt x="275915" y="428875"/>
                  </a:lnTo>
                  <a:cubicBezTo>
                    <a:pt x="280929" y="433879"/>
                    <a:pt x="284941" y="444013"/>
                    <a:pt x="284941" y="451520"/>
                  </a:cubicBezTo>
                  <a:lnTo>
                    <a:pt x="284941" y="551610"/>
                  </a:lnTo>
                  <a:lnTo>
                    <a:pt x="228277" y="551610"/>
                  </a:lnTo>
                  <a:lnTo>
                    <a:pt x="228277" y="394969"/>
                  </a:lnTo>
                  <a:cubicBezTo>
                    <a:pt x="228277" y="391278"/>
                    <a:pt x="229343" y="388964"/>
                    <a:pt x="231082" y="388245"/>
                  </a:cubicBezTo>
                  <a:close/>
                  <a:moveTo>
                    <a:pt x="365148" y="381336"/>
                  </a:moveTo>
                  <a:cubicBezTo>
                    <a:pt x="366901" y="382055"/>
                    <a:pt x="367997" y="384370"/>
                    <a:pt x="367997" y="388122"/>
                  </a:cubicBezTo>
                  <a:lnTo>
                    <a:pt x="367997" y="551610"/>
                  </a:lnTo>
                  <a:lnTo>
                    <a:pt x="311262" y="551610"/>
                  </a:lnTo>
                  <a:lnTo>
                    <a:pt x="311262" y="444661"/>
                  </a:lnTo>
                  <a:cubicBezTo>
                    <a:pt x="311262" y="437156"/>
                    <a:pt x="313767" y="428650"/>
                    <a:pt x="316898" y="425523"/>
                  </a:cubicBezTo>
                  <a:cubicBezTo>
                    <a:pt x="320029" y="422396"/>
                    <a:pt x="322534" y="419894"/>
                    <a:pt x="322534" y="419894"/>
                  </a:cubicBezTo>
                  <a:lnTo>
                    <a:pt x="358353" y="384120"/>
                  </a:lnTo>
                  <a:cubicBezTo>
                    <a:pt x="360983" y="381493"/>
                    <a:pt x="363394" y="380617"/>
                    <a:pt x="365148" y="381336"/>
                  </a:cubicBezTo>
                  <a:close/>
                  <a:moveTo>
                    <a:pt x="448177" y="298352"/>
                  </a:moveTo>
                  <a:cubicBezTo>
                    <a:pt x="449916" y="299071"/>
                    <a:pt x="450982" y="301386"/>
                    <a:pt x="450982" y="305139"/>
                  </a:cubicBezTo>
                  <a:lnTo>
                    <a:pt x="450982" y="551610"/>
                  </a:lnTo>
                  <a:lnTo>
                    <a:pt x="394318" y="551610"/>
                  </a:lnTo>
                  <a:lnTo>
                    <a:pt x="394318" y="361815"/>
                  </a:lnTo>
                  <a:cubicBezTo>
                    <a:pt x="394318" y="354308"/>
                    <a:pt x="398580" y="343924"/>
                    <a:pt x="403846" y="338669"/>
                  </a:cubicBezTo>
                  <a:lnTo>
                    <a:pt x="441329" y="301136"/>
                  </a:lnTo>
                  <a:cubicBezTo>
                    <a:pt x="444024" y="298508"/>
                    <a:pt x="446438" y="297633"/>
                    <a:pt x="448177" y="298352"/>
                  </a:cubicBezTo>
                  <a:close/>
                  <a:moveTo>
                    <a:pt x="527085" y="219452"/>
                  </a:moveTo>
                  <a:cubicBezTo>
                    <a:pt x="528809" y="220171"/>
                    <a:pt x="529874" y="222486"/>
                    <a:pt x="529874" y="226177"/>
                  </a:cubicBezTo>
                  <a:lnTo>
                    <a:pt x="529874" y="551610"/>
                  </a:lnTo>
                  <a:lnTo>
                    <a:pt x="477232" y="551610"/>
                  </a:lnTo>
                  <a:lnTo>
                    <a:pt x="477232" y="278727"/>
                  </a:lnTo>
                  <a:cubicBezTo>
                    <a:pt x="477232" y="271345"/>
                    <a:pt x="481494" y="260960"/>
                    <a:pt x="486883" y="255580"/>
                  </a:cubicBezTo>
                  <a:lnTo>
                    <a:pt x="520348" y="222298"/>
                  </a:lnTo>
                  <a:cubicBezTo>
                    <a:pt x="522980" y="219608"/>
                    <a:pt x="525362" y="218732"/>
                    <a:pt x="527085" y="219452"/>
                  </a:cubicBezTo>
                  <a:close/>
                  <a:moveTo>
                    <a:pt x="387769" y="0"/>
                  </a:moveTo>
                  <a:lnTo>
                    <a:pt x="580729" y="0"/>
                  </a:lnTo>
                  <a:cubicBezTo>
                    <a:pt x="594512" y="0"/>
                    <a:pt x="607919" y="12135"/>
                    <a:pt x="607919" y="26022"/>
                  </a:cubicBezTo>
                  <a:lnTo>
                    <a:pt x="607919" y="219812"/>
                  </a:lnTo>
                  <a:cubicBezTo>
                    <a:pt x="607919" y="227318"/>
                    <a:pt x="603534" y="229070"/>
                    <a:pt x="598271" y="223815"/>
                  </a:cubicBezTo>
                  <a:lnTo>
                    <a:pt x="530610" y="156258"/>
                  </a:lnTo>
                  <a:lnTo>
                    <a:pt x="304320" y="382325"/>
                  </a:lnTo>
                  <a:cubicBezTo>
                    <a:pt x="298932" y="387580"/>
                    <a:pt x="290412" y="387580"/>
                    <a:pt x="285024" y="382325"/>
                  </a:cubicBezTo>
                  <a:lnTo>
                    <a:pt x="216360" y="313767"/>
                  </a:lnTo>
                  <a:lnTo>
                    <a:pt x="94068" y="435996"/>
                  </a:lnTo>
                  <a:cubicBezTo>
                    <a:pt x="72767" y="457264"/>
                    <a:pt x="38435" y="457264"/>
                    <a:pt x="17260" y="435996"/>
                  </a:cubicBezTo>
                  <a:lnTo>
                    <a:pt x="15882" y="434745"/>
                  </a:lnTo>
                  <a:cubicBezTo>
                    <a:pt x="-5294" y="413477"/>
                    <a:pt x="-5294" y="379198"/>
                    <a:pt x="15882" y="358055"/>
                  </a:cubicBezTo>
                  <a:lnTo>
                    <a:pt x="206837" y="167267"/>
                  </a:lnTo>
                  <a:cubicBezTo>
                    <a:pt x="212100" y="161888"/>
                    <a:pt x="220745" y="161888"/>
                    <a:pt x="226008" y="167267"/>
                  </a:cubicBezTo>
                  <a:lnTo>
                    <a:pt x="294672" y="235701"/>
                  </a:lnTo>
                  <a:lnTo>
                    <a:pt x="424481" y="105965"/>
                  </a:lnTo>
                  <a:lnTo>
                    <a:pt x="452423" y="78192"/>
                  </a:lnTo>
                  <a:lnTo>
                    <a:pt x="383885" y="9633"/>
                  </a:lnTo>
                  <a:cubicBezTo>
                    <a:pt x="378497" y="4379"/>
                    <a:pt x="380376" y="0"/>
                    <a:pt x="38776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1" name="iṣļiḍê">
              <a:extLst>
                <a:ext uri="{FF2B5EF4-FFF2-40B4-BE49-F238E27FC236}">
                  <a16:creationId xmlns:a16="http://schemas.microsoft.com/office/drawing/2014/main" id="{57F24ED1-8374-49F9-A099-BD58D9192296}"/>
                </a:ext>
              </a:extLst>
            </p:cNvPr>
            <p:cNvGrpSpPr/>
            <p:nvPr/>
          </p:nvGrpSpPr>
          <p:grpSpPr>
            <a:xfrm>
              <a:off x="6958976" y="2109623"/>
              <a:ext cx="4565029" cy="1129738"/>
              <a:chOff x="6958976" y="2109623"/>
              <a:chExt cx="4565029" cy="1129738"/>
            </a:xfrm>
          </p:grpSpPr>
          <p:sp>
            <p:nvSpPr>
              <p:cNvPr id="17" name="ïṥḷíḓê">
                <a:extLst>
                  <a:ext uri="{FF2B5EF4-FFF2-40B4-BE49-F238E27FC236}">
                    <a16:creationId xmlns:a16="http://schemas.microsoft.com/office/drawing/2014/main" id="{1EA21F58-96AD-42ED-9B92-9A6089EF09CB}"/>
                  </a:ext>
                </a:extLst>
              </p:cNvPr>
              <p:cNvSpPr txBox="1"/>
              <p:nvPr/>
            </p:nvSpPr>
            <p:spPr>
              <a:xfrm>
                <a:off x="7236113" y="2109623"/>
                <a:ext cx="4287892" cy="44970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/>
                <a:r>
                  <a:rPr lang="en-US" altLang="zh-CN" b="1" dirty="0"/>
                  <a:t>02.</a:t>
                </a:r>
                <a:r>
                  <a:rPr lang="zh-CN" altLang="zh-CN" b="1" dirty="0"/>
                  <a:t>图书信息</a:t>
                </a:r>
              </a:p>
              <a:p>
                <a:pPr algn="r"/>
                <a:endParaRPr lang="zh-CN" altLang="en-US" b="1" dirty="0"/>
              </a:p>
            </p:txBody>
          </p:sp>
          <p:sp>
            <p:nvSpPr>
              <p:cNvPr id="18" name="îşḻïde">
                <a:extLst>
                  <a:ext uri="{FF2B5EF4-FFF2-40B4-BE49-F238E27FC236}">
                    <a16:creationId xmlns:a16="http://schemas.microsoft.com/office/drawing/2014/main" id="{6FD1B4CC-7324-4A2E-97F8-B053734FF44C}"/>
                  </a:ext>
                </a:extLst>
              </p:cNvPr>
              <p:cNvSpPr txBox="1"/>
              <p:nvPr/>
            </p:nvSpPr>
            <p:spPr>
              <a:xfrm>
                <a:off x="7236115" y="2559323"/>
                <a:ext cx="4287890" cy="68003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cxnSp>
            <p:nvCxnSpPr>
              <p:cNvPr id="19" name="直接连接符 18">
                <a:extLst>
                  <a:ext uri="{FF2B5EF4-FFF2-40B4-BE49-F238E27FC236}">
                    <a16:creationId xmlns:a16="http://schemas.microsoft.com/office/drawing/2014/main" id="{671CD472-F7F9-417B-9409-5343BF2D7C81}"/>
                  </a:ext>
                </a:extLst>
              </p:cNvPr>
              <p:cNvCxnSpPr>
                <a:stCxn id="32" idx="1"/>
              </p:cNvCxnSpPr>
              <p:nvPr/>
            </p:nvCxnSpPr>
            <p:spPr>
              <a:xfrm flipV="1">
                <a:off x="6958976" y="2533923"/>
                <a:ext cx="4561512" cy="24019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iSlíďè">
                <a:extLst>
                  <a:ext uri="{FF2B5EF4-FFF2-40B4-BE49-F238E27FC236}">
                    <a16:creationId xmlns:a16="http://schemas.microsoft.com/office/drawing/2014/main" id="{E476CBA7-423D-495E-B215-7D7D02DC9C76}"/>
                  </a:ext>
                </a:extLst>
              </p:cNvPr>
              <p:cNvSpPr/>
              <p:nvPr/>
            </p:nvSpPr>
            <p:spPr bwMode="auto">
              <a:xfrm>
                <a:off x="7054826" y="2206668"/>
                <a:ext cx="335444" cy="323796"/>
              </a:xfrm>
              <a:custGeom>
                <a:avLst/>
                <a:gdLst>
                  <a:gd name="connsiteX0" fmla="*/ 147225 w 603618"/>
                  <a:gd name="connsiteY0" fmla="*/ 418175 h 582659"/>
                  <a:gd name="connsiteX1" fmla="*/ 129666 w 603618"/>
                  <a:gd name="connsiteY1" fmla="*/ 424618 h 582659"/>
                  <a:gd name="connsiteX2" fmla="*/ 159231 w 603618"/>
                  <a:gd name="connsiteY2" fmla="*/ 444246 h 582659"/>
                  <a:gd name="connsiteX3" fmla="*/ 147225 w 603618"/>
                  <a:gd name="connsiteY3" fmla="*/ 418175 h 582659"/>
                  <a:gd name="connsiteX4" fmla="*/ 235619 w 603618"/>
                  <a:gd name="connsiteY4" fmla="*/ 400345 h 582659"/>
                  <a:gd name="connsiteX5" fmla="*/ 196149 w 603618"/>
                  <a:gd name="connsiteY5" fmla="*/ 405440 h 582659"/>
                  <a:gd name="connsiteX6" fmla="*/ 235619 w 603618"/>
                  <a:gd name="connsiteY6" fmla="*/ 461476 h 582659"/>
                  <a:gd name="connsiteX7" fmla="*/ 453241 w 603618"/>
                  <a:gd name="connsiteY7" fmla="*/ 335186 h 582659"/>
                  <a:gd name="connsiteX8" fmla="*/ 453241 w 603618"/>
                  <a:gd name="connsiteY8" fmla="*/ 501720 h 582659"/>
                  <a:gd name="connsiteX9" fmla="*/ 410469 w 603618"/>
                  <a:gd name="connsiteY9" fmla="*/ 458889 h 582659"/>
                  <a:gd name="connsiteX10" fmla="*/ 379853 w 603618"/>
                  <a:gd name="connsiteY10" fmla="*/ 363192 h 582659"/>
                  <a:gd name="connsiteX11" fmla="*/ 453242 w 603618"/>
                  <a:gd name="connsiteY11" fmla="*/ 304902 h 582659"/>
                  <a:gd name="connsiteX12" fmla="*/ 444688 w 603618"/>
                  <a:gd name="connsiteY12" fmla="*/ 306400 h 582659"/>
                  <a:gd name="connsiteX13" fmla="*/ 364853 w 603618"/>
                  <a:gd name="connsiteY13" fmla="*/ 336813 h 582659"/>
                  <a:gd name="connsiteX14" fmla="*/ 349547 w 603618"/>
                  <a:gd name="connsiteY14" fmla="*/ 361682 h 582659"/>
                  <a:gd name="connsiteX15" fmla="*/ 453242 w 603618"/>
                  <a:gd name="connsiteY15" fmla="*/ 531722 h 582659"/>
                  <a:gd name="connsiteX16" fmla="*/ 556936 w 603618"/>
                  <a:gd name="connsiteY16" fmla="*/ 361682 h 582659"/>
                  <a:gd name="connsiteX17" fmla="*/ 541630 w 603618"/>
                  <a:gd name="connsiteY17" fmla="*/ 336813 h 582659"/>
                  <a:gd name="connsiteX18" fmla="*/ 461795 w 603618"/>
                  <a:gd name="connsiteY18" fmla="*/ 306400 h 582659"/>
                  <a:gd name="connsiteX19" fmla="*/ 453242 w 603618"/>
                  <a:gd name="connsiteY19" fmla="*/ 304902 h 582659"/>
                  <a:gd name="connsiteX20" fmla="*/ 170186 w 603618"/>
                  <a:gd name="connsiteY20" fmla="*/ 285126 h 582659"/>
                  <a:gd name="connsiteX21" fmla="*/ 180542 w 603618"/>
                  <a:gd name="connsiteY21" fmla="*/ 357794 h 582659"/>
                  <a:gd name="connsiteX22" fmla="*/ 235619 w 603618"/>
                  <a:gd name="connsiteY22" fmla="*/ 350452 h 582659"/>
                  <a:gd name="connsiteX23" fmla="*/ 235619 w 603618"/>
                  <a:gd name="connsiteY23" fmla="*/ 285126 h 582659"/>
                  <a:gd name="connsiteX24" fmla="*/ 51476 w 603618"/>
                  <a:gd name="connsiteY24" fmla="*/ 285126 h 582659"/>
                  <a:gd name="connsiteX25" fmla="*/ 92297 w 603618"/>
                  <a:gd name="connsiteY25" fmla="*/ 386261 h 582659"/>
                  <a:gd name="connsiteX26" fmla="*/ 132217 w 603618"/>
                  <a:gd name="connsiteY26" fmla="*/ 370679 h 582659"/>
                  <a:gd name="connsiteX27" fmla="*/ 120211 w 603618"/>
                  <a:gd name="connsiteY27" fmla="*/ 285126 h 582659"/>
                  <a:gd name="connsiteX28" fmla="*/ 453242 w 603618"/>
                  <a:gd name="connsiteY28" fmla="*/ 253965 h 582659"/>
                  <a:gd name="connsiteX29" fmla="*/ 465697 w 603618"/>
                  <a:gd name="connsiteY29" fmla="*/ 256362 h 582659"/>
                  <a:gd name="connsiteX30" fmla="*/ 581247 w 603618"/>
                  <a:gd name="connsiteY30" fmla="*/ 300407 h 582659"/>
                  <a:gd name="connsiteX31" fmla="*/ 603456 w 603618"/>
                  <a:gd name="connsiteY31" fmla="*/ 336363 h 582659"/>
                  <a:gd name="connsiteX32" fmla="*/ 453242 w 603618"/>
                  <a:gd name="connsiteY32" fmla="*/ 582659 h 582659"/>
                  <a:gd name="connsiteX33" fmla="*/ 303027 w 603618"/>
                  <a:gd name="connsiteY33" fmla="*/ 336363 h 582659"/>
                  <a:gd name="connsiteX34" fmla="*/ 325236 w 603618"/>
                  <a:gd name="connsiteY34" fmla="*/ 300407 h 582659"/>
                  <a:gd name="connsiteX35" fmla="*/ 440786 w 603618"/>
                  <a:gd name="connsiteY35" fmla="*/ 256362 h 582659"/>
                  <a:gd name="connsiteX36" fmla="*/ 453242 w 603618"/>
                  <a:gd name="connsiteY36" fmla="*/ 253965 h 582659"/>
                  <a:gd name="connsiteX37" fmla="*/ 338422 w 603618"/>
                  <a:gd name="connsiteY37" fmla="*/ 162865 h 582659"/>
                  <a:gd name="connsiteX38" fmla="*/ 285595 w 603618"/>
                  <a:gd name="connsiteY38" fmla="*/ 169607 h 582659"/>
                  <a:gd name="connsiteX39" fmla="*/ 285595 w 603618"/>
                  <a:gd name="connsiteY39" fmla="*/ 235083 h 582659"/>
                  <a:gd name="connsiteX40" fmla="*/ 348627 w 603618"/>
                  <a:gd name="connsiteY40" fmla="*/ 235083 h 582659"/>
                  <a:gd name="connsiteX41" fmla="*/ 338422 w 603618"/>
                  <a:gd name="connsiteY41" fmla="*/ 162865 h 582659"/>
                  <a:gd name="connsiteX42" fmla="*/ 180542 w 603618"/>
                  <a:gd name="connsiteY42" fmla="*/ 162415 h 582659"/>
                  <a:gd name="connsiteX43" fmla="*/ 170186 w 603618"/>
                  <a:gd name="connsiteY43" fmla="*/ 235083 h 582659"/>
                  <a:gd name="connsiteX44" fmla="*/ 235619 w 603618"/>
                  <a:gd name="connsiteY44" fmla="*/ 235083 h 582659"/>
                  <a:gd name="connsiteX45" fmla="*/ 235619 w 603618"/>
                  <a:gd name="connsiteY45" fmla="*/ 169607 h 582659"/>
                  <a:gd name="connsiteX46" fmla="*/ 180542 w 603618"/>
                  <a:gd name="connsiteY46" fmla="*/ 162415 h 582659"/>
                  <a:gd name="connsiteX47" fmla="*/ 92297 w 603618"/>
                  <a:gd name="connsiteY47" fmla="*/ 133948 h 582659"/>
                  <a:gd name="connsiteX48" fmla="*/ 51476 w 603618"/>
                  <a:gd name="connsiteY48" fmla="*/ 235083 h 582659"/>
                  <a:gd name="connsiteX49" fmla="*/ 120211 w 603618"/>
                  <a:gd name="connsiteY49" fmla="*/ 235083 h 582659"/>
                  <a:gd name="connsiteX50" fmla="*/ 132217 w 603618"/>
                  <a:gd name="connsiteY50" fmla="*/ 149530 h 582659"/>
                  <a:gd name="connsiteX51" fmla="*/ 92297 w 603618"/>
                  <a:gd name="connsiteY51" fmla="*/ 133948 h 582659"/>
                  <a:gd name="connsiteX52" fmla="*/ 159231 w 603618"/>
                  <a:gd name="connsiteY52" fmla="*/ 75814 h 582659"/>
                  <a:gd name="connsiteX53" fmla="*/ 129666 w 603618"/>
                  <a:gd name="connsiteY53" fmla="*/ 95591 h 582659"/>
                  <a:gd name="connsiteX54" fmla="*/ 147225 w 603618"/>
                  <a:gd name="connsiteY54" fmla="*/ 102034 h 582659"/>
                  <a:gd name="connsiteX55" fmla="*/ 159231 w 603618"/>
                  <a:gd name="connsiteY55" fmla="*/ 75814 h 582659"/>
                  <a:gd name="connsiteX56" fmla="*/ 358682 w 603618"/>
                  <a:gd name="connsiteY56" fmla="*/ 74165 h 582659"/>
                  <a:gd name="connsiteX57" fmla="*/ 371888 w 603618"/>
                  <a:gd name="connsiteY57" fmla="*/ 102783 h 582659"/>
                  <a:gd name="connsiteX58" fmla="*/ 391548 w 603618"/>
                  <a:gd name="connsiteY58" fmla="*/ 95591 h 582659"/>
                  <a:gd name="connsiteX59" fmla="*/ 358682 w 603618"/>
                  <a:gd name="connsiteY59" fmla="*/ 74165 h 582659"/>
                  <a:gd name="connsiteX60" fmla="*/ 285595 w 603618"/>
                  <a:gd name="connsiteY60" fmla="*/ 60381 h 582659"/>
                  <a:gd name="connsiteX61" fmla="*/ 285595 w 603618"/>
                  <a:gd name="connsiteY61" fmla="*/ 119864 h 582659"/>
                  <a:gd name="connsiteX62" fmla="*/ 322964 w 603618"/>
                  <a:gd name="connsiteY62" fmla="*/ 115219 h 582659"/>
                  <a:gd name="connsiteX63" fmla="*/ 285595 w 603618"/>
                  <a:gd name="connsiteY63" fmla="*/ 60381 h 582659"/>
                  <a:gd name="connsiteX64" fmla="*/ 235619 w 603618"/>
                  <a:gd name="connsiteY64" fmla="*/ 58583 h 582659"/>
                  <a:gd name="connsiteX65" fmla="*/ 196149 w 603618"/>
                  <a:gd name="connsiteY65" fmla="*/ 114769 h 582659"/>
                  <a:gd name="connsiteX66" fmla="*/ 235619 w 603618"/>
                  <a:gd name="connsiteY66" fmla="*/ 119864 h 582659"/>
                  <a:gd name="connsiteX67" fmla="*/ 259482 w 603618"/>
                  <a:gd name="connsiteY67" fmla="*/ 0 h 582659"/>
                  <a:gd name="connsiteX68" fmla="*/ 260532 w 603618"/>
                  <a:gd name="connsiteY68" fmla="*/ 0 h 582659"/>
                  <a:gd name="connsiteX69" fmla="*/ 520914 w 603618"/>
                  <a:gd name="connsiteY69" fmla="*/ 247369 h 582659"/>
                  <a:gd name="connsiteX70" fmla="*/ 475741 w 603618"/>
                  <a:gd name="connsiteY70" fmla="*/ 230138 h 582659"/>
                  <a:gd name="connsiteX71" fmla="*/ 468688 w 603618"/>
                  <a:gd name="connsiteY71" fmla="*/ 228041 h 582659"/>
                  <a:gd name="connsiteX72" fmla="*/ 428917 w 603618"/>
                  <a:gd name="connsiteY72" fmla="*/ 133948 h 582659"/>
                  <a:gd name="connsiteX73" fmla="*/ 386746 w 603618"/>
                  <a:gd name="connsiteY73" fmla="*/ 150279 h 582659"/>
                  <a:gd name="connsiteX74" fmla="*/ 398752 w 603618"/>
                  <a:gd name="connsiteY74" fmla="*/ 235083 h 582659"/>
                  <a:gd name="connsiteX75" fmla="*/ 417812 w 603618"/>
                  <a:gd name="connsiteY75" fmla="*/ 235083 h 582659"/>
                  <a:gd name="connsiteX76" fmla="*/ 315310 w 603618"/>
                  <a:gd name="connsiteY76" fmla="*/ 274188 h 582659"/>
                  <a:gd name="connsiteX77" fmla="*/ 297001 w 603618"/>
                  <a:gd name="connsiteY77" fmla="*/ 285126 h 582659"/>
                  <a:gd name="connsiteX78" fmla="*/ 285595 w 603618"/>
                  <a:gd name="connsiteY78" fmla="*/ 285126 h 582659"/>
                  <a:gd name="connsiteX79" fmla="*/ 285595 w 603618"/>
                  <a:gd name="connsiteY79" fmla="*/ 297861 h 582659"/>
                  <a:gd name="connsiteX80" fmla="*/ 275089 w 603618"/>
                  <a:gd name="connsiteY80" fmla="*/ 339065 h 582659"/>
                  <a:gd name="connsiteX81" fmla="*/ 285895 w 603618"/>
                  <a:gd name="connsiteY81" fmla="*/ 400345 h 582659"/>
                  <a:gd name="connsiteX82" fmla="*/ 285595 w 603618"/>
                  <a:gd name="connsiteY82" fmla="*/ 400345 h 582659"/>
                  <a:gd name="connsiteX83" fmla="*/ 285595 w 603618"/>
                  <a:gd name="connsiteY83" fmla="*/ 459828 h 582659"/>
                  <a:gd name="connsiteX84" fmla="*/ 299552 w 603618"/>
                  <a:gd name="connsiteY84" fmla="*/ 445594 h 582659"/>
                  <a:gd name="connsiteX85" fmla="*/ 328516 w 603618"/>
                  <a:gd name="connsiteY85" fmla="*/ 511219 h 582659"/>
                  <a:gd name="connsiteX86" fmla="*/ 259482 w 603618"/>
                  <a:gd name="connsiteY86" fmla="*/ 520209 h 582659"/>
                  <a:gd name="connsiteX87" fmla="*/ 0 w 603618"/>
                  <a:gd name="connsiteY87" fmla="*/ 260104 h 582659"/>
                  <a:gd name="connsiteX88" fmla="*/ 259482 w 603618"/>
                  <a:gd name="connsiteY88" fmla="*/ 0 h 582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603618" h="582659">
                    <a:moveTo>
                      <a:pt x="147225" y="418175"/>
                    </a:moveTo>
                    <a:cubicBezTo>
                      <a:pt x="141372" y="420123"/>
                      <a:pt x="135519" y="422221"/>
                      <a:pt x="129666" y="424618"/>
                    </a:cubicBezTo>
                    <a:cubicBezTo>
                      <a:pt x="138970" y="431959"/>
                      <a:pt x="148875" y="438552"/>
                      <a:pt x="159231" y="444246"/>
                    </a:cubicBezTo>
                    <a:cubicBezTo>
                      <a:pt x="155179" y="436604"/>
                      <a:pt x="151277" y="428364"/>
                      <a:pt x="147225" y="418175"/>
                    </a:cubicBezTo>
                    <a:close/>
                    <a:moveTo>
                      <a:pt x="235619" y="400345"/>
                    </a:moveTo>
                    <a:cubicBezTo>
                      <a:pt x="222413" y="401244"/>
                      <a:pt x="209206" y="402893"/>
                      <a:pt x="196149" y="405440"/>
                    </a:cubicBezTo>
                    <a:cubicBezTo>
                      <a:pt x="204704" y="425367"/>
                      <a:pt x="217910" y="448740"/>
                      <a:pt x="235619" y="461476"/>
                    </a:cubicBezTo>
                    <a:close/>
                    <a:moveTo>
                      <a:pt x="453241" y="335186"/>
                    </a:moveTo>
                    <a:lnTo>
                      <a:pt x="453241" y="501720"/>
                    </a:lnTo>
                    <a:cubicBezTo>
                      <a:pt x="444386" y="501720"/>
                      <a:pt x="427728" y="490488"/>
                      <a:pt x="410469" y="458889"/>
                    </a:cubicBezTo>
                    <a:cubicBezTo>
                      <a:pt x="395161" y="431033"/>
                      <a:pt x="383605" y="394791"/>
                      <a:pt x="379853" y="363192"/>
                    </a:cubicBezTo>
                    <a:close/>
                    <a:moveTo>
                      <a:pt x="453242" y="304902"/>
                    </a:moveTo>
                    <a:cubicBezTo>
                      <a:pt x="450390" y="304902"/>
                      <a:pt x="447389" y="305351"/>
                      <a:pt x="444688" y="306400"/>
                    </a:cubicBezTo>
                    <a:lnTo>
                      <a:pt x="364853" y="336813"/>
                    </a:lnTo>
                    <a:cubicBezTo>
                      <a:pt x="354799" y="340708"/>
                      <a:pt x="348496" y="350896"/>
                      <a:pt x="349547" y="361682"/>
                    </a:cubicBezTo>
                    <a:cubicBezTo>
                      <a:pt x="356450" y="432395"/>
                      <a:pt x="400119" y="531722"/>
                      <a:pt x="453242" y="531722"/>
                    </a:cubicBezTo>
                    <a:cubicBezTo>
                      <a:pt x="506364" y="531722"/>
                      <a:pt x="550033" y="432395"/>
                      <a:pt x="556936" y="361682"/>
                    </a:cubicBezTo>
                    <a:cubicBezTo>
                      <a:pt x="558137" y="350896"/>
                      <a:pt x="551834" y="340708"/>
                      <a:pt x="541630" y="336813"/>
                    </a:cubicBezTo>
                    <a:lnTo>
                      <a:pt x="461795" y="306400"/>
                    </a:lnTo>
                    <a:cubicBezTo>
                      <a:pt x="459094" y="305351"/>
                      <a:pt x="456093" y="304902"/>
                      <a:pt x="453242" y="304902"/>
                    </a:cubicBezTo>
                    <a:close/>
                    <a:moveTo>
                      <a:pt x="170186" y="285126"/>
                    </a:moveTo>
                    <a:cubicBezTo>
                      <a:pt x="171687" y="310597"/>
                      <a:pt x="175139" y="335169"/>
                      <a:pt x="180542" y="357794"/>
                    </a:cubicBezTo>
                    <a:cubicBezTo>
                      <a:pt x="198701" y="354048"/>
                      <a:pt x="217160" y="351651"/>
                      <a:pt x="235619" y="350452"/>
                    </a:cubicBezTo>
                    <a:lnTo>
                      <a:pt x="235619" y="285126"/>
                    </a:lnTo>
                    <a:close/>
                    <a:moveTo>
                      <a:pt x="51476" y="285126"/>
                    </a:moveTo>
                    <a:cubicBezTo>
                      <a:pt x="55978" y="322733"/>
                      <a:pt x="70536" y="357344"/>
                      <a:pt x="92297" y="386261"/>
                    </a:cubicBezTo>
                    <a:cubicBezTo>
                      <a:pt x="105353" y="380268"/>
                      <a:pt x="118560" y="375174"/>
                      <a:pt x="132217" y="370679"/>
                    </a:cubicBezTo>
                    <a:cubicBezTo>
                      <a:pt x="125764" y="343860"/>
                      <a:pt x="121562" y="314942"/>
                      <a:pt x="120211" y="285126"/>
                    </a:cubicBezTo>
                    <a:close/>
                    <a:moveTo>
                      <a:pt x="453242" y="253965"/>
                    </a:moveTo>
                    <a:cubicBezTo>
                      <a:pt x="457443" y="253965"/>
                      <a:pt x="461645" y="254714"/>
                      <a:pt x="465697" y="256362"/>
                    </a:cubicBezTo>
                    <a:lnTo>
                      <a:pt x="581247" y="300407"/>
                    </a:lnTo>
                    <a:cubicBezTo>
                      <a:pt x="595953" y="305951"/>
                      <a:pt x="604957" y="320782"/>
                      <a:pt x="603456" y="336363"/>
                    </a:cubicBezTo>
                    <a:cubicBezTo>
                      <a:pt x="593402" y="438687"/>
                      <a:pt x="530075" y="582659"/>
                      <a:pt x="453242" y="582659"/>
                    </a:cubicBezTo>
                    <a:cubicBezTo>
                      <a:pt x="376408" y="582659"/>
                      <a:pt x="313081" y="438687"/>
                      <a:pt x="303027" y="336363"/>
                    </a:cubicBezTo>
                    <a:cubicBezTo>
                      <a:pt x="301526" y="320782"/>
                      <a:pt x="310530" y="305951"/>
                      <a:pt x="325236" y="300407"/>
                    </a:cubicBezTo>
                    <a:lnTo>
                      <a:pt x="440786" y="256362"/>
                    </a:lnTo>
                    <a:cubicBezTo>
                      <a:pt x="444838" y="254714"/>
                      <a:pt x="449040" y="253965"/>
                      <a:pt x="453242" y="253965"/>
                    </a:cubicBezTo>
                    <a:close/>
                    <a:moveTo>
                      <a:pt x="338422" y="162865"/>
                    </a:moveTo>
                    <a:cubicBezTo>
                      <a:pt x="321013" y="166311"/>
                      <a:pt x="303304" y="168558"/>
                      <a:pt x="285595" y="169607"/>
                    </a:cubicBezTo>
                    <a:lnTo>
                      <a:pt x="285595" y="235083"/>
                    </a:lnTo>
                    <a:lnTo>
                      <a:pt x="348627" y="235083"/>
                    </a:lnTo>
                    <a:cubicBezTo>
                      <a:pt x="347276" y="209761"/>
                      <a:pt x="343824" y="185339"/>
                      <a:pt x="338422" y="162865"/>
                    </a:cubicBezTo>
                    <a:close/>
                    <a:moveTo>
                      <a:pt x="180542" y="162415"/>
                    </a:moveTo>
                    <a:cubicBezTo>
                      <a:pt x="175139" y="185040"/>
                      <a:pt x="171687" y="209612"/>
                      <a:pt x="170186" y="235083"/>
                    </a:cubicBezTo>
                    <a:lnTo>
                      <a:pt x="235619" y="235083"/>
                    </a:lnTo>
                    <a:lnTo>
                      <a:pt x="235619" y="169607"/>
                    </a:lnTo>
                    <a:cubicBezTo>
                      <a:pt x="217160" y="168558"/>
                      <a:pt x="198701" y="166161"/>
                      <a:pt x="180542" y="162415"/>
                    </a:cubicBezTo>
                    <a:close/>
                    <a:moveTo>
                      <a:pt x="92297" y="133948"/>
                    </a:moveTo>
                    <a:cubicBezTo>
                      <a:pt x="70536" y="162865"/>
                      <a:pt x="55978" y="197475"/>
                      <a:pt x="51476" y="235083"/>
                    </a:cubicBezTo>
                    <a:lnTo>
                      <a:pt x="120211" y="235083"/>
                    </a:lnTo>
                    <a:cubicBezTo>
                      <a:pt x="121562" y="205117"/>
                      <a:pt x="125764" y="176349"/>
                      <a:pt x="132217" y="149530"/>
                    </a:cubicBezTo>
                    <a:cubicBezTo>
                      <a:pt x="118560" y="145035"/>
                      <a:pt x="105353" y="139791"/>
                      <a:pt x="92297" y="133948"/>
                    </a:cubicBezTo>
                    <a:close/>
                    <a:moveTo>
                      <a:pt x="159231" y="75814"/>
                    </a:moveTo>
                    <a:cubicBezTo>
                      <a:pt x="148875" y="81657"/>
                      <a:pt x="138970" y="88249"/>
                      <a:pt x="129666" y="95591"/>
                    </a:cubicBezTo>
                    <a:cubicBezTo>
                      <a:pt x="135519" y="97839"/>
                      <a:pt x="141372" y="100086"/>
                      <a:pt x="147225" y="102034"/>
                    </a:cubicBezTo>
                    <a:cubicBezTo>
                      <a:pt x="151277" y="91845"/>
                      <a:pt x="155179" y="83605"/>
                      <a:pt x="159231" y="75814"/>
                    </a:cubicBezTo>
                    <a:close/>
                    <a:moveTo>
                      <a:pt x="358682" y="74165"/>
                    </a:moveTo>
                    <a:cubicBezTo>
                      <a:pt x="363184" y="82556"/>
                      <a:pt x="367386" y="91546"/>
                      <a:pt x="371888" y="102783"/>
                    </a:cubicBezTo>
                    <a:cubicBezTo>
                      <a:pt x="378492" y="100536"/>
                      <a:pt x="385095" y="98138"/>
                      <a:pt x="391548" y="95591"/>
                    </a:cubicBezTo>
                    <a:cubicBezTo>
                      <a:pt x="381343" y="87500"/>
                      <a:pt x="370238" y="80309"/>
                      <a:pt x="358682" y="74165"/>
                    </a:cubicBezTo>
                    <a:close/>
                    <a:moveTo>
                      <a:pt x="285595" y="60381"/>
                    </a:moveTo>
                    <a:lnTo>
                      <a:pt x="285595" y="119864"/>
                    </a:lnTo>
                    <a:cubicBezTo>
                      <a:pt x="298051" y="118965"/>
                      <a:pt x="310507" y="117466"/>
                      <a:pt x="322964" y="115219"/>
                    </a:cubicBezTo>
                    <a:cubicBezTo>
                      <a:pt x="314559" y="95741"/>
                      <a:pt x="302253" y="73566"/>
                      <a:pt x="285595" y="60381"/>
                    </a:cubicBezTo>
                    <a:close/>
                    <a:moveTo>
                      <a:pt x="235619" y="58583"/>
                    </a:moveTo>
                    <a:cubicBezTo>
                      <a:pt x="217910" y="71469"/>
                      <a:pt x="204704" y="94692"/>
                      <a:pt x="196149" y="114769"/>
                    </a:cubicBezTo>
                    <a:cubicBezTo>
                      <a:pt x="209206" y="117167"/>
                      <a:pt x="222413" y="118965"/>
                      <a:pt x="235619" y="119864"/>
                    </a:cubicBezTo>
                    <a:close/>
                    <a:moveTo>
                      <a:pt x="259482" y="0"/>
                    </a:moveTo>
                    <a:lnTo>
                      <a:pt x="260532" y="0"/>
                    </a:lnTo>
                    <a:cubicBezTo>
                      <a:pt x="399953" y="0"/>
                      <a:pt x="514161" y="109825"/>
                      <a:pt x="520914" y="247369"/>
                    </a:cubicBezTo>
                    <a:lnTo>
                      <a:pt x="475741" y="230138"/>
                    </a:lnTo>
                    <a:cubicBezTo>
                      <a:pt x="473340" y="229239"/>
                      <a:pt x="471089" y="228640"/>
                      <a:pt x="468688" y="228041"/>
                    </a:cubicBezTo>
                    <a:cubicBezTo>
                      <a:pt x="463285" y="193130"/>
                      <a:pt x="449328" y="160917"/>
                      <a:pt x="428917" y="133948"/>
                    </a:cubicBezTo>
                    <a:cubicBezTo>
                      <a:pt x="415260" y="140240"/>
                      <a:pt x="401153" y="145634"/>
                      <a:pt x="386746" y="150279"/>
                    </a:cubicBezTo>
                    <a:cubicBezTo>
                      <a:pt x="393199" y="176799"/>
                      <a:pt x="397251" y="205416"/>
                      <a:pt x="398752" y="235083"/>
                    </a:cubicBezTo>
                    <a:lnTo>
                      <a:pt x="417812" y="235083"/>
                    </a:lnTo>
                    <a:lnTo>
                      <a:pt x="315310" y="274188"/>
                    </a:lnTo>
                    <a:cubicBezTo>
                      <a:pt x="308556" y="276885"/>
                      <a:pt x="302403" y="280481"/>
                      <a:pt x="297001" y="285126"/>
                    </a:cubicBezTo>
                    <a:lnTo>
                      <a:pt x="285595" y="285126"/>
                    </a:lnTo>
                    <a:lnTo>
                      <a:pt x="285595" y="297861"/>
                    </a:lnTo>
                    <a:cubicBezTo>
                      <a:pt x="277641" y="309698"/>
                      <a:pt x="273589" y="324231"/>
                      <a:pt x="275089" y="339065"/>
                    </a:cubicBezTo>
                    <a:cubicBezTo>
                      <a:pt x="277040" y="358992"/>
                      <a:pt x="280792" y="379669"/>
                      <a:pt x="285895" y="400345"/>
                    </a:cubicBezTo>
                    <a:cubicBezTo>
                      <a:pt x="285745" y="400345"/>
                      <a:pt x="285745" y="400345"/>
                      <a:pt x="285595" y="400345"/>
                    </a:cubicBezTo>
                    <a:lnTo>
                      <a:pt x="285595" y="459828"/>
                    </a:lnTo>
                    <a:cubicBezTo>
                      <a:pt x="290397" y="456082"/>
                      <a:pt x="295050" y="451288"/>
                      <a:pt x="299552" y="445594"/>
                    </a:cubicBezTo>
                    <a:cubicBezTo>
                      <a:pt x="307656" y="468818"/>
                      <a:pt x="317411" y="491142"/>
                      <a:pt x="328516" y="511219"/>
                    </a:cubicBezTo>
                    <a:cubicBezTo>
                      <a:pt x="305405" y="517512"/>
                      <a:pt x="282893" y="520209"/>
                      <a:pt x="259482" y="520209"/>
                    </a:cubicBezTo>
                    <a:cubicBezTo>
                      <a:pt x="118260" y="520209"/>
                      <a:pt x="0" y="404541"/>
                      <a:pt x="0" y="260104"/>
                    </a:cubicBezTo>
                    <a:cubicBezTo>
                      <a:pt x="0" y="115519"/>
                      <a:pt x="118560" y="0"/>
                      <a:pt x="25948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2" name="íšľîḋê">
              <a:extLst>
                <a:ext uri="{FF2B5EF4-FFF2-40B4-BE49-F238E27FC236}">
                  <a16:creationId xmlns:a16="http://schemas.microsoft.com/office/drawing/2014/main" id="{3A4E46BE-4315-435A-80EB-2A6863731157}"/>
                </a:ext>
              </a:extLst>
            </p:cNvPr>
            <p:cNvGrpSpPr/>
            <p:nvPr/>
          </p:nvGrpSpPr>
          <p:grpSpPr>
            <a:xfrm>
              <a:off x="6958975" y="4317879"/>
              <a:ext cx="4565029" cy="1129738"/>
              <a:chOff x="6958976" y="2109623"/>
              <a:chExt cx="4565029" cy="1129738"/>
            </a:xfrm>
          </p:grpSpPr>
          <p:sp>
            <p:nvSpPr>
              <p:cNvPr id="13" name="ïŝḷîdé">
                <a:extLst>
                  <a:ext uri="{FF2B5EF4-FFF2-40B4-BE49-F238E27FC236}">
                    <a16:creationId xmlns:a16="http://schemas.microsoft.com/office/drawing/2014/main" id="{B766481A-DCCB-4CB0-9471-EE35C28490DB}"/>
                  </a:ext>
                </a:extLst>
              </p:cNvPr>
              <p:cNvSpPr txBox="1"/>
              <p:nvPr/>
            </p:nvSpPr>
            <p:spPr>
              <a:xfrm>
                <a:off x="7236113" y="2109623"/>
                <a:ext cx="4287892" cy="44970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/>
                <a:r>
                  <a:rPr lang="en-US" altLang="zh-CN" b="1" dirty="0"/>
                  <a:t>02.Text here</a:t>
                </a:r>
                <a:endParaRPr lang="zh-CN" altLang="en-US" b="1" dirty="0"/>
              </a:p>
            </p:txBody>
          </p:sp>
          <p:sp>
            <p:nvSpPr>
              <p:cNvPr id="14" name="îṡlïḋé">
                <a:extLst>
                  <a:ext uri="{FF2B5EF4-FFF2-40B4-BE49-F238E27FC236}">
                    <a16:creationId xmlns:a16="http://schemas.microsoft.com/office/drawing/2014/main" id="{62915FE5-EEB1-4FEC-953E-950B8B93123E}"/>
                  </a:ext>
                </a:extLst>
              </p:cNvPr>
              <p:cNvSpPr txBox="1"/>
              <p:nvPr/>
            </p:nvSpPr>
            <p:spPr>
              <a:xfrm>
                <a:off x="7236115" y="2559323"/>
                <a:ext cx="4287890" cy="68003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cxnSp>
            <p:nvCxnSpPr>
              <p:cNvPr id="15" name="直接连接符 14">
                <a:extLst>
                  <a:ext uri="{FF2B5EF4-FFF2-40B4-BE49-F238E27FC236}">
                    <a16:creationId xmlns:a16="http://schemas.microsoft.com/office/drawing/2014/main" id="{80F366D4-693D-4B20-AB53-927E354D332D}"/>
                  </a:ext>
                </a:extLst>
              </p:cNvPr>
              <p:cNvCxnSpPr/>
              <p:nvPr/>
            </p:nvCxnSpPr>
            <p:spPr>
              <a:xfrm>
                <a:off x="6958976" y="2525397"/>
                <a:ext cx="4561512" cy="8527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ïṥḻîḑê">
                <a:extLst>
                  <a:ext uri="{FF2B5EF4-FFF2-40B4-BE49-F238E27FC236}">
                    <a16:creationId xmlns:a16="http://schemas.microsoft.com/office/drawing/2014/main" id="{3D0D8C41-0382-42F5-B2B0-266753C22E77}"/>
                  </a:ext>
                </a:extLst>
              </p:cNvPr>
              <p:cNvSpPr/>
              <p:nvPr/>
            </p:nvSpPr>
            <p:spPr bwMode="auto">
              <a:xfrm>
                <a:off x="7054826" y="2212854"/>
                <a:ext cx="335444" cy="311423"/>
              </a:xfrm>
              <a:custGeom>
                <a:avLst/>
                <a:gdLst>
                  <a:gd name="connsiteX0" fmla="*/ 252689 w 607875"/>
                  <a:gd name="connsiteY0" fmla="*/ 396825 h 564347"/>
                  <a:gd name="connsiteX1" fmla="*/ 280371 w 607875"/>
                  <a:gd name="connsiteY1" fmla="*/ 484228 h 564347"/>
                  <a:gd name="connsiteX2" fmla="*/ 296643 w 607875"/>
                  <a:gd name="connsiteY2" fmla="*/ 438472 h 564347"/>
                  <a:gd name="connsiteX3" fmla="*/ 303937 w 607875"/>
                  <a:gd name="connsiteY3" fmla="*/ 396825 h 564347"/>
                  <a:gd name="connsiteX4" fmla="*/ 304124 w 607875"/>
                  <a:gd name="connsiteY4" fmla="*/ 396825 h 564347"/>
                  <a:gd name="connsiteX5" fmla="*/ 304218 w 607875"/>
                  <a:gd name="connsiteY5" fmla="*/ 396825 h 564347"/>
                  <a:gd name="connsiteX6" fmla="*/ 311606 w 607875"/>
                  <a:gd name="connsiteY6" fmla="*/ 438472 h 564347"/>
                  <a:gd name="connsiteX7" fmla="*/ 327785 w 607875"/>
                  <a:gd name="connsiteY7" fmla="*/ 484228 h 564347"/>
                  <a:gd name="connsiteX8" fmla="*/ 355467 w 607875"/>
                  <a:gd name="connsiteY8" fmla="*/ 396825 h 564347"/>
                  <a:gd name="connsiteX9" fmla="*/ 421304 w 607875"/>
                  <a:gd name="connsiteY9" fmla="*/ 433243 h 564347"/>
                  <a:gd name="connsiteX10" fmla="*/ 430002 w 607875"/>
                  <a:gd name="connsiteY10" fmla="*/ 439406 h 564347"/>
                  <a:gd name="connsiteX11" fmla="*/ 449266 w 607875"/>
                  <a:gd name="connsiteY11" fmla="*/ 429601 h 564347"/>
                  <a:gd name="connsiteX12" fmla="*/ 471431 w 607875"/>
                  <a:gd name="connsiteY12" fmla="*/ 499822 h 564347"/>
                  <a:gd name="connsiteX13" fmla="*/ 484430 w 607875"/>
                  <a:gd name="connsiteY13" fmla="*/ 462937 h 564347"/>
                  <a:gd name="connsiteX14" fmla="*/ 490415 w 607875"/>
                  <a:gd name="connsiteY14" fmla="*/ 429601 h 564347"/>
                  <a:gd name="connsiteX15" fmla="*/ 490508 w 607875"/>
                  <a:gd name="connsiteY15" fmla="*/ 429601 h 564347"/>
                  <a:gd name="connsiteX16" fmla="*/ 490602 w 607875"/>
                  <a:gd name="connsiteY16" fmla="*/ 429601 h 564347"/>
                  <a:gd name="connsiteX17" fmla="*/ 496587 w 607875"/>
                  <a:gd name="connsiteY17" fmla="*/ 462937 h 564347"/>
                  <a:gd name="connsiteX18" fmla="*/ 509586 w 607875"/>
                  <a:gd name="connsiteY18" fmla="*/ 499822 h 564347"/>
                  <a:gd name="connsiteX19" fmla="*/ 531937 w 607875"/>
                  <a:gd name="connsiteY19" fmla="*/ 429321 h 564347"/>
                  <a:gd name="connsiteX20" fmla="*/ 584869 w 607875"/>
                  <a:gd name="connsiteY20" fmla="*/ 458642 h 564347"/>
                  <a:gd name="connsiteX21" fmla="*/ 607875 w 607875"/>
                  <a:gd name="connsiteY21" fmla="*/ 501690 h 564347"/>
                  <a:gd name="connsiteX22" fmla="*/ 607875 w 607875"/>
                  <a:gd name="connsiteY22" fmla="*/ 501970 h 564347"/>
                  <a:gd name="connsiteX23" fmla="*/ 607875 w 607875"/>
                  <a:gd name="connsiteY23" fmla="*/ 503277 h 564347"/>
                  <a:gd name="connsiteX24" fmla="*/ 607688 w 607875"/>
                  <a:gd name="connsiteY24" fmla="*/ 514856 h 564347"/>
                  <a:gd name="connsiteX25" fmla="*/ 607688 w 607875"/>
                  <a:gd name="connsiteY25" fmla="*/ 564347 h 564347"/>
                  <a:gd name="connsiteX26" fmla="*/ 490415 w 607875"/>
                  <a:gd name="connsiteY26" fmla="*/ 564347 h 564347"/>
                  <a:gd name="connsiteX27" fmla="*/ 449828 w 607875"/>
                  <a:gd name="connsiteY27" fmla="*/ 564347 h 564347"/>
                  <a:gd name="connsiteX28" fmla="*/ 373329 w 607875"/>
                  <a:gd name="connsiteY28" fmla="*/ 564347 h 564347"/>
                  <a:gd name="connsiteX29" fmla="*/ 303844 w 607875"/>
                  <a:gd name="connsiteY29" fmla="*/ 564347 h 564347"/>
                  <a:gd name="connsiteX30" fmla="*/ 234359 w 607875"/>
                  <a:gd name="connsiteY30" fmla="*/ 564347 h 564347"/>
                  <a:gd name="connsiteX31" fmla="*/ 158234 w 607875"/>
                  <a:gd name="connsiteY31" fmla="*/ 564347 h 564347"/>
                  <a:gd name="connsiteX32" fmla="*/ 117273 w 607875"/>
                  <a:gd name="connsiteY32" fmla="*/ 564347 h 564347"/>
                  <a:gd name="connsiteX33" fmla="*/ 0 w 607875"/>
                  <a:gd name="connsiteY33" fmla="*/ 564347 h 564347"/>
                  <a:gd name="connsiteX34" fmla="*/ 0 w 607875"/>
                  <a:gd name="connsiteY34" fmla="*/ 514856 h 564347"/>
                  <a:gd name="connsiteX35" fmla="*/ 0 w 607875"/>
                  <a:gd name="connsiteY35" fmla="*/ 513549 h 564347"/>
                  <a:gd name="connsiteX36" fmla="*/ 0 w 607875"/>
                  <a:gd name="connsiteY36" fmla="*/ 503557 h 564347"/>
                  <a:gd name="connsiteX37" fmla="*/ 0 w 607875"/>
                  <a:gd name="connsiteY37" fmla="*/ 502157 h 564347"/>
                  <a:gd name="connsiteX38" fmla="*/ 0 w 607875"/>
                  <a:gd name="connsiteY38" fmla="*/ 501970 h 564347"/>
                  <a:gd name="connsiteX39" fmla="*/ 22912 w 607875"/>
                  <a:gd name="connsiteY39" fmla="*/ 458829 h 564347"/>
                  <a:gd name="connsiteX40" fmla="*/ 75938 w 607875"/>
                  <a:gd name="connsiteY40" fmla="*/ 429601 h 564347"/>
                  <a:gd name="connsiteX41" fmla="*/ 98102 w 607875"/>
                  <a:gd name="connsiteY41" fmla="*/ 499822 h 564347"/>
                  <a:gd name="connsiteX42" fmla="*/ 111194 w 607875"/>
                  <a:gd name="connsiteY42" fmla="*/ 462937 h 564347"/>
                  <a:gd name="connsiteX43" fmla="*/ 117180 w 607875"/>
                  <a:gd name="connsiteY43" fmla="*/ 429601 h 564347"/>
                  <a:gd name="connsiteX44" fmla="*/ 117273 w 607875"/>
                  <a:gd name="connsiteY44" fmla="*/ 429601 h 564347"/>
                  <a:gd name="connsiteX45" fmla="*/ 117460 w 607875"/>
                  <a:gd name="connsiteY45" fmla="*/ 429601 h 564347"/>
                  <a:gd name="connsiteX46" fmla="*/ 123445 w 607875"/>
                  <a:gd name="connsiteY46" fmla="*/ 462937 h 564347"/>
                  <a:gd name="connsiteX47" fmla="*/ 136351 w 607875"/>
                  <a:gd name="connsiteY47" fmla="*/ 499822 h 564347"/>
                  <a:gd name="connsiteX48" fmla="*/ 158609 w 607875"/>
                  <a:gd name="connsiteY48" fmla="*/ 429601 h 564347"/>
                  <a:gd name="connsiteX49" fmla="*/ 178061 w 607875"/>
                  <a:gd name="connsiteY49" fmla="*/ 439593 h 564347"/>
                  <a:gd name="connsiteX50" fmla="*/ 186851 w 607875"/>
                  <a:gd name="connsiteY50" fmla="*/ 433243 h 564347"/>
                  <a:gd name="connsiteX51" fmla="*/ 252689 w 607875"/>
                  <a:gd name="connsiteY51" fmla="*/ 396825 h 564347"/>
                  <a:gd name="connsiteX52" fmla="*/ 490513 w 607875"/>
                  <a:gd name="connsiteY52" fmla="*/ 272600 h 564347"/>
                  <a:gd name="connsiteX53" fmla="*/ 545786 w 607875"/>
                  <a:gd name="connsiteY53" fmla="*/ 329003 h 564347"/>
                  <a:gd name="connsiteX54" fmla="*/ 490887 w 607875"/>
                  <a:gd name="connsiteY54" fmla="*/ 415101 h 564347"/>
                  <a:gd name="connsiteX55" fmla="*/ 490513 w 607875"/>
                  <a:gd name="connsiteY55" fmla="*/ 415101 h 564347"/>
                  <a:gd name="connsiteX56" fmla="*/ 490138 w 607875"/>
                  <a:gd name="connsiteY56" fmla="*/ 415101 h 564347"/>
                  <a:gd name="connsiteX57" fmla="*/ 435240 w 607875"/>
                  <a:gd name="connsiteY57" fmla="*/ 329003 h 564347"/>
                  <a:gd name="connsiteX58" fmla="*/ 490513 w 607875"/>
                  <a:gd name="connsiteY58" fmla="*/ 272600 h 564347"/>
                  <a:gd name="connsiteX59" fmla="*/ 117163 w 607875"/>
                  <a:gd name="connsiteY59" fmla="*/ 272600 h 564347"/>
                  <a:gd name="connsiteX60" fmla="*/ 172425 w 607875"/>
                  <a:gd name="connsiteY60" fmla="*/ 329003 h 564347"/>
                  <a:gd name="connsiteX61" fmla="*/ 117537 w 607875"/>
                  <a:gd name="connsiteY61" fmla="*/ 415101 h 564347"/>
                  <a:gd name="connsiteX62" fmla="*/ 117163 w 607875"/>
                  <a:gd name="connsiteY62" fmla="*/ 415101 h 564347"/>
                  <a:gd name="connsiteX63" fmla="*/ 116789 w 607875"/>
                  <a:gd name="connsiteY63" fmla="*/ 415101 h 564347"/>
                  <a:gd name="connsiteX64" fmla="*/ 61901 w 607875"/>
                  <a:gd name="connsiteY64" fmla="*/ 329003 h 564347"/>
                  <a:gd name="connsiteX65" fmla="*/ 117163 w 607875"/>
                  <a:gd name="connsiteY65" fmla="*/ 272600 h 564347"/>
                  <a:gd name="connsiteX66" fmla="*/ 304208 w 607875"/>
                  <a:gd name="connsiteY66" fmla="*/ 201351 h 564347"/>
                  <a:gd name="connsiteX67" fmla="*/ 372752 w 607875"/>
                  <a:gd name="connsiteY67" fmla="*/ 271567 h 564347"/>
                  <a:gd name="connsiteX68" fmla="*/ 304582 w 607875"/>
                  <a:gd name="connsiteY68" fmla="*/ 378759 h 564347"/>
                  <a:gd name="connsiteX69" fmla="*/ 304114 w 607875"/>
                  <a:gd name="connsiteY69" fmla="*/ 378759 h 564347"/>
                  <a:gd name="connsiteX70" fmla="*/ 303553 w 607875"/>
                  <a:gd name="connsiteY70" fmla="*/ 378759 h 564347"/>
                  <a:gd name="connsiteX71" fmla="*/ 235664 w 607875"/>
                  <a:gd name="connsiteY71" fmla="*/ 271567 h 564347"/>
                  <a:gd name="connsiteX72" fmla="*/ 304208 w 607875"/>
                  <a:gd name="connsiteY72" fmla="*/ 201351 h 564347"/>
                  <a:gd name="connsiteX73" fmla="*/ 494205 w 607875"/>
                  <a:gd name="connsiteY73" fmla="*/ 39916 h 564347"/>
                  <a:gd name="connsiteX74" fmla="*/ 489342 w 607875"/>
                  <a:gd name="connsiteY74" fmla="*/ 44865 h 564347"/>
                  <a:gd name="connsiteX75" fmla="*/ 489342 w 607875"/>
                  <a:gd name="connsiteY75" fmla="*/ 50374 h 564347"/>
                  <a:gd name="connsiteX76" fmla="*/ 484104 w 607875"/>
                  <a:gd name="connsiteY76" fmla="*/ 57563 h 564347"/>
                  <a:gd name="connsiteX77" fmla="*/ 462779 w 607875"/>
                  <a:gd name="connsiteY77" fmla="*/ 84548 h 564347"/>
                  <a:gd name="connsiteX78" fmla="*/ 478492 w 607875"/>
                  <a:gd name="connsiteY78" fmla="*/ 111065 h 564347"/>
                  <a:gd name="connsiteX79" fmla="*/ 498040 w 607875"/>
                  <a:gd name="connsiteY79" fmla="*/ 119935 h 564347"/>
                  <a:gd name="connsiteX80" fmla="*/ 505148 w 607875"/>
                  <a:gd name="connsiteY80" fmla="*/ 124137 h 564347"/>
                  <a:gd name="connsiteX81" fmla="*/ 502810 w 607875"/>
                  <a:gd name="connsiteY81" fmla="*/ 141224 h 564347"/>
                  <a:gd name="connsiteX82" fmla="*/ 490184 w 607875"/>
                  <a:gd name="connsiteY82" fmla="*/ 142811 h 564347"/>
                  <a:gd name="connsiteX83" fmla="*/ 471010 w 607875"/>
                  <a:gd name="connsiteY83" fmla="*/ 137116 h 564347"/>
                  <a:gd name="connsiteX84" fmla="*/ 465305 w 607875"/>
                  <a:gd name="connsiteY84" fmla="*/ 139637 h 564347"/>
                  <a:gd name="connsiteX85" fmla="*/ 462405 w 607875"/>
                  <a:gd name="connsiteY85" fmla="*/ 149534 h 564347"/>
                  <a:gd name="connsiteX86" fmla="*/ 466146 w 607875"/>
                  <a:gd name="connsiteY86" fmla="*/ 157004 h 564347"/>
                  <a:gd name="connsiteX87" fmla="*/ 483356 w 607875"/>
                  <a:gd name="connsiteY87" fmla="*/ 162046 h 564347"/>
                  <a:gd name="connsiteX88" fmla="*/ 488219 w 607875"/>
                  <a:gd name="connsiteY88" fmla="*/ 167741 h 564347"/>
                  <a:gd name="connsiteX89" fmla="*/ 488219 w 607875"/>
                  <a:gd name="connsiteY89" fmla="*/ 174371 h 564347"/>
                  <a:gd name="connsiteX90" fmla="*/ 492428 w 607875"/>
                  <a:gd name="connsiteY90" fmla="*/ 178666 h 564347"/>
                  <a:gd name="connsiteX91" fmla="*/ 502155 w 607875"/>
                  <a:gd name="connsiteY91" fmla="*/ 178666 h 564347"/>
                  <a:gd name="connsiteX92" fmla="*/ 506177 w 607875"/>
                  <a:gd name="connsiteY92" fmla="*/ 174464 h 564347"/>
                  <a:gd name="connsiteX93" fmla="*/ 506177 w 607875"/>
                  <a:gd name="connsiteY93" fmla="*/ 165501 h 564347"/>
                  <a:gd name="connsiteX94" fmla="*/ 510292 w 607875"/>
                  <a:gd name="connsiteY94" fmla="*/ 160178 h 564347"/>
                  <a:gd name="connsiteX95" fmla="*/ 527221 w 607875"/>
                  <a:gd name="connsiteY95" fmla="*/ 149347 h 564347"/>
                  <a:gd name="connsiteX96" fmla="*/ 517401 w 607875"/>
                  <a:gd name="connsiteY96" fmla="*/ 102848 h 564347"/>
                  <a:gd name="connsiteX97" fmla="*/ 500285 w 607875"/>
                  <a:gd name="connsiteY97" fmla="*/ 95192 h 564347"/>
                  <a:gd name="connsiteX98" fmla="*/ 490932 w 607875"/>
                  <a:gd name="connsiteY98" fmla="*/ 89963 h 564347"/>
                  <a:gd name="connsiteX99" fmla="*/ 492989 w 607875"/>
                  <a:gd name="connsiteY99" fmla="*/ 75491 h 564347"/>
                  <a:gd name="connsiteX100" fmla="*/ 498695 w 607875"/>
                  <a:gd name="connsiteY100" fmla="*/ 74370 h 564347"/>
                  <a:gd name="connsiteX101" fmla="*/ 520300 w 607875"/>
                  <a:gd name="connsiteY101" fmla="*/ 78572 h 564347"/>
                  <a:gd name="connsiteX102" fmla="*/ 525912 w 607875"/>
                  <a:gd name="connsiteY102" fmla="*/ 76238 h 564347"/>
                  <a:gd name="connsiteX103" fmla="*/ 529279 w 607875"/>
                  <a:gd name="connsiteY103" fmla="*/ 64940 h 564347"/>
                  <a:gd name="connsiteX104" fmla="*/ 526660 w 607875"/>
                  <a:gd name="connsiteY104" fmla="*/ 59711 h 564347"/>
                  <a:gd name="connsiteX105" fmla="*/ 513005 w 607875"/>
                  <a:gd name="connsiteY105" fmla="*/ 55696 h 564347"/>
                  <a:gd name="connsiteX106" fmla="*/ 506832 w 607875"/>
                  <a:gd name="connsiteY106" fmla="*/ 48600 h 564347"/>
                  <a:gd name="connsiteX107" fmla="*/ 498040 w 607875"/>
                  <a:gd name="connsiteY107" fmla="*/ 39916 h 564347"/>
                  <a:gd name="connsiteX108" fmla="*/ 497993 w 607875"/>
                  <a:gd name="connsiteY108" fmla="*/ 0 h 564347"/>
                  <a:gd name="connsiteX109" fmla="*/ 575483 w 607875"/>
                  <a:gd name="connsiteY109" fmla="*/ 32073 h 564347"/>
                  <a:gd name="connsiteX110" fmla="*/ 575483 w 607875"/>
                  <a:gd name="connsiteY110" fmla="*/ 186789 h 564347"/>
                  <a:gd name="connsiteX111" fmla="*/ 442577 w 607875"/>
                  <a:gd name="connsiteY111" fmla="*/ 203876 h 564347"/>
                  <a:gd name="connsiteX112" fmla="*/ 442296 w 607875"/>
                  <a:gd name="connsiteY112" fmla="*/ 203596 h 564347"/>
                  <a:gd name="connsiteX113" fmla="*/ 395719 w 607875"/>
                  <a:gd name="connsiteY113" fmla="*/ 216294 h 564347"/>
                  <a:gd name="connsiteX114" fmla="*/ 394409 w 607875"/>
                  <a:gd name="connsiteY114" fmla="*/ 208358 h 564347"/>
                  <a:gd name="connsiteX115" fmla="*/ 417043 w 607875"/>
                  <a:gd name="connsiteY115" fmla="*/ 182774 h 564347"/>
                  <a:gd name="connsiteX116" fmla="*/ 415921 w 607875"/>
                  <a:gd name="connsiteY116" fmla="*/ 181840 h 564347"/>
                  <a:gd name="connsiteX117" fmla="*/ 420504 w 607875"/>
                  <a:gd name="connsiteY117" fmla="*/ 32073 h 564347"/>
                  <a:gd name="connsiteX118" fmla="*/ 497993 w 607875"/>
                  <a:gd name="connsiteY118" fmla="*/ 0 h 564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607875" h="564347">
                    <a:moveTo>
                      <a:pt x="252689" y="396825"/>
                    </a:moveTo>
                    <a:lnTo>
                      <a:pt x="280371" y="484228"/>
                    </a:lnTo>
                    <a:lnTo>
                      <a:pt x="296643" y="438472"/>
                    </a:lnTo>
                    <a:cubicBezTo>
                      <a:pt x="268213" y="398879"/>
                      <a:pt x="298607" y="396825"/>
                      <a:pt x="303937" y="396825"/>
                    </a:cubicBezTo>
                    <a:lnTo>
                      <a:pt x="304124" y="396825"/>
                    </a:lnTo>
                    <a:lnTo>
                      <a:pt x="304218" y="396825"/>
                    </a:lnTo>
                    <a:cubicBezTo>
                      <a:pt x="309549" y="397012"/>
                      <a:pt x="340036" y="398879"/>
                      <a:pt x="311606" y="438472"/>
                    </a:cubicBezTo>
                    <a:lnTo>
                      <a:pt x="327785" y="484228"/>
                    </a:lnTo>
                    <a:lnTo>
                      <a:pt x="355467" y="396825"/>
                    </a:lnTo>
                    <a:cubicBezTo>
                      <a:pt x="355467" y="396825"/>
                      <a:pt x="390256" y="413633"/>
                      <a:pt x="421304" y="433243"/>
                    </a:cubicBezTo>
                    <a:cubicBezTo>
                      <a:pt x="424577" y="435204"/>
                      <a:pt x="427383" y="437352"/>
                      <a:pt x="430002" y="439406"/>
                    </a:cubicBezTo>
                    <a:cubicBezTo>
                      <a:pt x="441224" y="433430"/>
                      <a:pt x="449266" y="429601"/>
                      <a:pt x="449266" y="429601"/>
                    </a:cubicBezTo>
                    <a:lnTo>
                      <a:pt x="471431" y="499822"/>
                    </a:lnTo>
                    <a:lnTo>
                      <a:pt x="484430" y="462937"/>
                    </a:lnTo>
                    <a:cubicBezTo>
                      <a:pt x="461611" y="431189"/>
                      <a:pt x="486020" y="429601"/>
                      <a:pt x="490415" y="429601"/>
                    </a:cubicBezTo>
                    <a:lnTo>
                      <a:pt x="490508" y="429601"/>
                    </a:lnTo>
                    <a:lnTo>
                      <a:pt x="490602" y="429601"/>
                    </a:lnTo>
                    <a:cubicBezTo>
                      <a:pt x="494997" y="429601"/>
                      <a:pt x="519406" y="431189"/>
                      <a:pt x="496587" y="462937"/>
                    </a:cubicBezTo>
                    <a:lnTo>
                      <a:pt x="509586" y="499822"/>
                    </a:lnTo>
                    <a:lnTo>
                      <a:pt x="531937" y="429321"/>
                    </a:lnTo>
                    <a:cubicBezTo>
                      <a:pt x="531937" y="429321"/>
                      <a:pt x="559806" y="442954"/>
                      <a:pt x="584869" y="458642"/>
                    </a:cubicBezTo>
                    <a:cubicBezTo>
                      <a:pt x="603854" y="470408"/>
                      <a:pt x="607314" y="483294"/>
                      <a:pt x="607875" y="501690"/>
                    </a:cubicBezTo>
                    <a:lnTo>
                      <a:pt x="607875" y="501970"/>
                    </a:lnTo>
                    <a:lnTo>
                      <a:pt x="607875" y="503277"/>
                    </a:lnTo>
                    <a:cubicBezTo>
                      <a:pt x="607875" y="506919"/>
                      <a:pt x="607875" y="510654"/>
                      <a:pt x="607688" y="514856"/>
                    </a:cubicBezTo>
                    <a:lnTo>
                      <a:pt x="607688" y="564347"/>
                    </a:lnTo>
                    <a:lnTo>
                      <a:pt x="490415" y="564347"/>
                    </a:lnTo>
                    <a:lnTo>
                      <a:pt x="449828" y="564347"/>
                    </a:lnTo>
                    <a:lnTo>
                      <a:pt x="373329" y="564347"/>
                    </a:lnTo>
                    <a:lnTo>
                      <a:pt x="303844" y="564347"/>
                    </a:lnTo>
                    <a:lnTo>
                      <a:pt x="234359" y="564347"/>
                    </a:lnTo>
                    <a:lnTo>
                      <a:pt x="158234" y="564347"/>
                    </a:lnTo>
                    <a:lnTo>
                      <a:pt x="117273" y="564347"/>
                    </a:lnTo>
                    <a:lnTo>
                      <a:pt x="0" y="564347"/>
                    </a:lnTo>
                    <a:lnTo>
                      <a:pt x="0" y="514856"/>
                    </a:lnTo>
                    <a:lnTo>
                      <a:pt x="0" y="513549"/>
                    </a:lnTo>
                    <a:lnTo>
                      <a:pt x="0" y="503557"/>
                    </a:lnTo>
                    <a:lnTo>
                      <a:pt x="0" y="502157"/>
                    </a:lnTo>
                    <a:lnTo>
                      <a:pt x="0" y="501970"/>
                    </a:lnTo>
                    <a:cubicBezTo>
                      <a:pt x="561" y="483387"/>
                      <a:pt x="4115" y="470688"/>
                      <a:pt x="22912" y="458829"/>
                    </a:cubicBezTo>
                    <a:cubicBezTo>
                      <a:pt x="47975" y="443141"/>
                      <a:pt x="75938" y="429601"/>
                      <a:pt x="75938" y="429601"/>
                    </a:cubicBezTo>
                    <a:lnTo>
                      <a:pt x="98102" y="499822"/>
                    </a:lnTo>
                    <a:lnTo>
                      <a:pt x="111194" y="462937"/>
                    </a:lnTo>
                    <a:cubicBezTo>
                      <a:pt x="88376" y="431189"/>
                      <a:pt x="112784" y="429601"/>
                      <a:pt x="117180" y="429601"/>
                    </a:cubicBezTo>
                    <a:lnTo>
                      <a:pt x="117273" y="429601"/>
                    </a:lnTo>
                    <a:lnTo>
                      <a:pt x="117460" y="429601"/>
                    </a:lnTo>
                    <a:cubicBezTo>
                      <a:pt x="121762" y="429601"/>
                      <a:pt x="146264" y="431189"/>
                      <a:pt x="123445" y="462937"/>
                    </a:cubicBezTo>
                    <a:lnTo>
                      <a:pt x="136351" y="499822"/>
                    </a:lnTo>
                    <a:lnTo>
                      <a:pt x="158609" y="429601"/>
                    </a:lnTo>
                    <a:cubicBezTo>
                      <a:pt x="158609" y="429601"/>
                      <a:pt x="166651" y="433430"/>
                      <a:pt x="178061" y="439593"/>
                    </a:cubicBezTo>
                    <a:cubicBezTo>
                      <a:pt x="180679" y="437445"/>
                      <a:pt x="183485" y="435297"/>
                      <a:pt x="186851" y="433243"/>
                    </a:cubicBezTo>
                    <a:cubicBezTo>
                      <a:pt x="217900" y="413633"/>
                      <a:pt x="252689" y="396825"/>
                      <a:pt x="252689" y="396825"/>
                    </a:cubicBezTo>
                    <a:close/>
                    <a:moveTo>
                      <a:pt x="490513" y="272600"/>
                    </a:moveTo>
                    <a:cubicBezTo>
                      <a:pt x="495282" y="272320"/>
                      <a:pt x="543167" y="271853"/>
                      <a:pt x="545786" y="329003"/>
                    </a:cubicBezTo>
                    <a:cubicBezTo>
                      <a:pt x="545786" y="329003"/>
                      <a:pt x="554951" y="414541"/>
                      <a:pt x="490887" y="415101"/>
                    </a:cubicBezTo>
                    <a:lnTo>
                      <a:pt x="490513" y="415101"/>
                    </a:lnTo>
                    <a:lnTo>
                      <a:pt x="490138" y="415101"/>
                    </a:lnTo>
                    <a:cubicBezTo>
                      <a:pt x="425887" y="414541"/>
                      <a:pt x="435240" y="329003"/>
                      <a:pt x="435240" y="329003"/>
                    </a:cubicBezTo>
                    <a:cubicBezTo>
                      <a:pt x="437858" y="271946"/>
                      <a:pt x="485743" y="272320"/>
                      <a:pt x="490513" y="272600"/>
                    </a:cubicBezTo>
                    <a:close/>
                    <a:moveTo>
                      <a:pt x="117163" y="272600"/>
                    </a:moveTo>
                    <a:cubicBezTo>
                      <a:pt x="121932" y="272320"/>
                      <a:pt x="169807" y="271853"/>
                      <a:pt x="172425" y="329003"/>
                    </a:cubicBezTo>
                    <a:cubicBezTo>
                      <a:pt x="172425" y="329003"/>
                      <a:pt x="181589" y="414541"/>
                      <a:pt x="117537" y="415101"/>
                    </a:cubicBezTo>
                    <a:lnTo>
                      <a:pt x="117163" y="415101"/>
                    </a:lnTo>
                    <a:lnTo>
                      <a:pt x="116789" y="415101"/>
                    </a:lnTo>
                    <a:cubicBezTo>
                      <a:pt x="52737" y="414354"/>
                      <a:pt x="61901" y="329003"/>
                      <a:pt x="61901" y="329003"/>
                    </a:cubicBezTo>
                    <a:cubicBezTo>
                      <a:pt x="64519" y="271946"/>
                      <a:pt x="112394" y="272320"/>
                      <a:pt x="117163" y="272600"/>
                    </a:cubicBezTo>
                    <a:close/>
                    <a:moveTo>
                      <a:pt x="304208" y="201351"/>
                    </a:moveTo>
                    <a:cubicBezTo>
                      <a:pt x="310099" y="201071"/>
                      <a:pt x="369573" y="200604"/>
                      <a:pt x="372752" y="271567"/>
                    </a:cubicBezTo>
                    <a:cubicBezTo>
                      <a:pt x="372752" y="271567"/>
                      <a:pt x="384254" y="377919"/>
                      <a:pt x="304582" y="378759"/>
                    </a:cubicBezTo>
                    <a:lnTo>
                      <a:pt x="304114" y="378759"/>
                    </a:lnTo>
                    <a:lnTo>
                      <a:pt x="303553" y="378759"/>
                    </a:lnTo>
                    <a:cubicBezTo>
                      <a:pt x="223788" y="378012"/>
                      <a:pt x="235383" y="271661"/>
                      <a:pt x="235664" y="271567"/>
                    </a:cubicBezTo>
                    <a:cubicBezTo>
                      <a:pt x="238843" y="200511"/>
                      <a:pt x="298317" y="201071"/>
                      <a:pt x="304208" y="201351"/>
                    </a:cubicBezTo>
                    <a:close/>
                    <a:moveTo>
                      <a:pt x="494205" y="39916"/>
                    </a:moveTo>
                    <a:cubicBezTo>
                      <a:pt x="490090" y="40010"/>
                      <a:pt x="489435" y="40757"/>
                      <a:pt x="489342" y="44865"/>
                    </a:cubicBezTo>
                    <a:lnTo>
                      <a:pt x="489342" y="50374"/>
                    </a:lnTo>
                    <a:cubicBezTo>
                      <a:pt x="489342" y="55696"/>
                      <a:pt x="489342" y="55696"/>
                      <a:pt x="484104" y="57563"/>
                    </a:cubicBezTo>
                    <a:cubicBezTo>
                      <a:pt x="471384" y="62139"/>
                      <a:pt x="463621" y="70729"/>
                      <a:pt x="462779" y="84548"/>
                    </a:cubicBezTo>
                    <a:cubicBezTo>
                      <a:pt x="462031" y="96873"/>
                      <a:pt x="468391" y="105089"/>
                      <a:pt x="478492" y="111065"/>
                    </a:cubicBezTo>
                    <a:cubicBezTo>
                      <a:pt x="484759" y="114800"/>
                      <a:pt x="491493" y="117041"/>
                      <a:pt x="498040" y="119935"/>
                    </a:cubicBezTo>
                    <a:cubicBezTo>
                      <a:pt x="500565" y="121056"/>
                      <a:pt x="503091" y="122456"/>
                      <a:pt x="505148" y="124137"/>
                    </a:cubicBezTo>
                    <a:cubicBezTo>
                      <a:pt x="511415" y="129272"/>
                      <a:pt x="510292" y="137956"/>
                      <a:pt x="502810" y="141224"/>
                    </a:cubicBezTo>
                    <a:cubicBezTo>
                      <a:pt x="498788" y="142998"/>
                      <a:pt x="494579" y="143372"/>
                      <a:pt x="490184" y="142811"/>
                    </a:cubicBezTo>
                    <a:cubicBezTo>
                      <a:pt x="483449" y="141971"/>
                      <a:pt x="476996" y="140197"/>
                      <a:pt x="471010" y="137116"/>
                    </a:cubicBezTo>
                    <a:cubicBezTo>
                      <a:pt x="467549" y="135248"/>
                      <a:pt x="466521" y="135715"/>
                      <a:pt x="465305" y="139637"/>
                    </a:cubicBezTo>
                    <a:cubicBezTo>
                      <a:pt x="464276" y="142811"/>
                      <a:pt x="463247" y="146173"/>
                      <a:pt x="462405" y="149534"/>
                    </a:cubicBezTo>
                    <a:cubicBezTo>
                      <a:pt x="461283" y="154203"/>
                      <a:pt x="461657" y="155136"/>
                      <a:pt x="466146" y="157004"/>
                    </a:cubicBezTo>
                    <a:cubicBezTo>
                      <a:pt x="471478" y="159805"/>
                      <a:pt x="477370" y="161019"/>
                      <a:pt x="483356" y="162046"/>
                    </a:cubicBezTo>
                    <a:cubicBezTo>
                      <a:pt x="487939" y="162793"/>
                      <a:pt x="488219" y="162886"/>
                      <a:pt x="488219" y="167741"/>
                    </a:cubicBezTo>
                    <a:lnTo>
                      <a:pt x="488219" y="174371"/>
                    </a:lnTo>
                    <a:cubicBezTo>
                      <a:pt x="488313" y="177079"/>
                      <a:pt x="489622" y="178666"/>
                      <a:pt x="492428" y="178666"/>
                    </a:cubicBezTo>
                    <a:cubicBezTo>
                      <a:pt x="495702" y="178853"/>
                      <a:pt x="498975" y="178853"/>
                      <a:pt x="502155" y="178666"/>
                    </a:cubicBezTo>
                    <a:cubicBezTo>
                      <a:pt x="504774" y="178572"/>
                      <a:pt x="506177" y="177172"/>
                      <a:pt x="506177" y="174464"/>
                    </a:cubicBezTo>
                    <a:cubicBezTo>
                      <a:pt x="506177" y="171476"/>
                      <a:pt x="506271" y="168488"/>
                      <a:pt x="506177" y="165501"/>
                    </a:cubicBezTo>
                    <a:cubicBezTo>
                      <a:pt x="506084" y="162513"/>
                      <a:pt x="507299" y="160925"/>
                      <a:pt x="510292" y="160178"/>
                    </a:cubicBezTo>
                    <a:cubicBezTo>
                      <a:pt x="517027" y="158311"/>
                      <a:pt x="522732" y="154669"/>
                      <a:pt x="527221" y="149347"/>
                    </a:cubicBezTo>
                    <a:cubicBezTo>
                      <a:pt x="539567" y="134408"/>
                      <a:pt x="534891" y="112466"/>
                      <a:pt x="517401" y="102848"/>
                    </a:cubicBezTo>
                    <a:cubicBezTo>
                      <a:pt x="511882" y="99861"/>
                      <a:pt x="506084" y="97526"/>
                      <a:pt x="500285" y="95192"/>
                    </a:cubicBezTo>
                    <a:cubicBezTo>
                      <a:pt x="496918" y="93791"/>
                      <a:pt x="493738" y="92204"/>
                      <a:pt x="490932" y="89963"/>
                    </a:cubicBezTo>
                    <a:cubicBezTo>
                      <a:pt x="485320" y="85481"/>
                      <a:pt x="486442" y="78385"/>
                      <a:pt x="492989" y="75491"/>
                    </a:cubicBezTo>
                    <a:cubicBezTo>
                      <a:pt x="494860" y="74744"/>
                      <a:pt x="496731" y="74464"/>
                      <a:pt x="498695" y="74370"/>
                    </a:cubicBezTo>
                    <a:cubicBezTo>
                      <a:pt x="506271" y="73997"/>
                      <a:pt x="513379" y="75397"/>
                      <a:pt x="520300" y="78572"/>
                    </a:cubicBezTo>
                    <a:cubicBezTo>
                      <a:pt x="523667" y="80253"/>
                      <a:pt x="524790" y="79692"/>
                      <a:pt x="525912" y="76238"/>
                    </a:cubicBezTo>
                    <a:cubicBezTo>
                      <a:pt x="527128" y="72503"/>
                      <a:pt x="528157" y="68675"/>
                      <a:pt x="529279" y="64940"/>
                    </a:cubicBezTo>
                    <a:cubicBezTo>
                      <a:pt x="530027" y="62419"/>
                      <a:pt x="528998" y="60831"/>
                      <a:pt x="526660" y="59711"/>
                    </a:cubicBezTo>
                    <a:cubicBezTo>
                      <a:pt x="522264" y="57844"/>
                      <a:pt x="517775" y="56443"/>
                      <a:pt x="513005" y="55696"/>
                    </a:cubicBezTo>
                    <a:cubicBezTo>
                      <a:pt x="506832" y="54856"/>
                      <a:pt x="506832" y="54856"/>
                      <a:pt x="506832" y="48600"/>
                    </a:cubicBezTo>
                    <a:cubicBezTo>
                      <a:pt x="506832" y="39916"/>
                      <a:pt x="506832" y="39916"/>
                      <a:pt x="498040" y="39916"/>
                    </a:cubicBezTo>
                    <a:close/>
                    <a:moveTo>
                      <a:pt x="497993" y="0"/>
                    </a:moveTo>
                    <a:cubicBezTo>
                      <a:pt x="526052" y="0"/>
                      <a:pt x="554111" y="10691"/>
                      <a:pt x="575483" y="32073"/>
                    </a:cubicBezTo>
                    <a:cubicBezTo>
                      <a:pt x="618319" y="74744"/>
                      <a:pt x="618319" y="144119"/>
                      <a:pt x="575483" y="186789"/>
                    </a:cubicBezTo>
                    <a:cubicBezTo>
                      <a:pt x="539474" y="222924"/>
                      <a:pt x="484572" y="228526"/>
                      <a:pt x="442577" y="203876"/>
                    </a:cubicBezTo>
                    <a:lnTo>
                      <a:pt x="442296" y="203596"/>
                    </a:lnTo>
                    <a:cubicBezTo>
                      <a:pt x="425742" y="216014"/>
                      <a:pt x="408065" y="218162"/>
                      <a:pt x="395719" y="216294"/>
                    </a:cubicBezTo>
                    <a:cubicBezTo>
                      <a:pt x="391603" y="215641"/>
                      <a:pt x="390668" y="210225"/>
                      <a:pt x="394409" y="208358"/>
                    </a:cubicBezTo>
                    <a:cubicBezTo>
                      <a:pt x="405820" y="202756"/>
                      <a:pt x="412928" y="191738"/>
                      <a:pt x="417043" y="182774"/>
                    </a:cubicBezTo>
                    <a:lnTo>
                      <a:pt x="415921" y="181840"/>
                    </a:lnTo>
                    <a:cubicBezTo>
                      <a:pt x="377761" y="138890"/>
                      <a:pt x="379351" y="73156"/>
                      <a:pt x="420504" y="32073"/>
                    </a:cubicBezTo>
                    <a:cubicBezTo>
                      <a:pt x="441876" y="10691"/>
                      <a:pt x="469934" y="0"/>
                      <a:pt x="49799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</p:grpSp>
      <p:pic>
        <p:nvPicPr>
          <p:cNvPr id="37" name="图片 36" descr="图示&#10;&#10;描述已自动生成">
            <a:extLst>
              <a:ext uri="{FF2B5EF4-FFF2-40B4-BE49-F238E27FC236}">
                <a16:creationId xmlns:a16="http://schemas.microsoft.com/office/drawing/2014/main" id="{A8789BCF-D8A8-4EE1-AD29-48BE894DDA7E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13088" y="3665930"/>
            <a:ext cx="4287892" cy="2780914"/>
          </a:xfrm>
          <a:prstGeom prst="rect">
            <a:avLst/>
          </a:prstGeom>
        </p:spPr>
      </p:pic>
      <p:pic>
        <p:nvPicPr>
          <p:cNvPr id="38" name="图片 37" descr="图示&#10;&#10;描述已自动生成">
            <a:extLst>
              <a:ext uri="{FF2B5EF4-FFF2-40B4-BE49-F238E27FC236}">
                <a16:creationId xmlns:a16="http://schemas.microsoft.com/office/drawing/2014/main" id="{CC27F046-54E7-4A1E-897C-8AD706E9F258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6958975" y="2607365"/>
            <a:ext cx="5126162" cy="2925931"/>
          </a:xfrm>
          <a:prstGeom prst="rect">
            <a:avLst/>
          </a:prstGeom>
        </p:spPr>
      </p:pic>
      <p:pic>
        <p:nvPicPr>
          <p:cNvPr id="41" name="音频 40">
            <a:hlinkClick r:id="" action="ppaction://media"/>
            <a:extLst>
              <a:ext uri="{FF2B5EF4-FFF2-40B4-BE49-F238E27FC236}">
                <a16:creationId xmlns:a16="http://schemas.microsoft.com/office/drawing/2014/main" id="{57920480-1EDB-4A64-B1AA-30415CC7C12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07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639"/>
    </mc:Choice>
    <mc:Fallback xmlns="">
      <p:transition spd="slow" advTm="3063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1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2AE81A6-5044-4C66-9F1A-60104D59A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-R</a:t>
            </a:r>
            <a:r>
              <a:rPr lang="zh-CN" altLang="en-US" dirty="0"/>
              <a:t>图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C123DAE-14AC-4B78-B049-F345C87C01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C5F2254-3074-4A13-BA34-06F974D94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5" name="21086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92B1068-56C7-4756-B37B-FEF91C862F2E}"/>
              </a:ext>
            </a:extLst>
          </p:cNvPr>
          <p:cNvGrpSpPr>
            <a:grpSpLocks noChangeAspect="1"/>
          </p:cNvGrpSpPr>
          <p:nvPr/>
        </p:nvGrpSpPr>
        <p:grpSpPr>
          <a:xfrm>
            <a:off x="673099" y="1123950"/>
            <a:ext cx="10850906" cy="5019675"/>
            <a:chOff x="673099" y="1123950"/>
            <a:chExt cx="10850906" cy="5019675"/>
          </a:xfrm>
        </p:grpSpPr>
        <p:grpSp>
          <p:nvGrpSpPr>
            <p:cNvPr id="6" name="íṣlíḑê">
              <a:extLst>
                <a:ext uri="{FF2B5EF4-FFF2-40B4-BE49-F238E27FC236}">
                  <a16:creationId xmlns:a16="http://schemas.microsoft.com/office/drawing/2014/main" id="{8C9F3B18-5A47-4A29-9DF6-7463097D310B}"/>
                </a:ext>
              </a:extLst>
            </p:cNvPr>
            <p:cNvGrpSpPr/>
            <p:nvPr/>
          </p:nvGrpSpPr>
          <p:grpSpPr>
            <a:xfrm>
              <a:off x="5251864" y="1123950"/>
              <a:ext cx="1719820" cy="5019675"/>
              <a:chOff x="5251864" y="1123950"/>
              <a:chExt cx="1719820" cy="5019675"/>
            </a:xfrm>
          </p:grpSpPr>
          <p:sp>
            <p:nvSpPr>
              <p:cNvPr id="21" name="îšľïḍe">
                <a:extLst>
                  <a:ext uri="{FF2B5EF4-FFF2-40B4-BE49-F238E27FC236}">
                    <a16:creationId xmlns:a16="http://schemas.microsoft.com/office/drawing/2014/main" id="{83835B54-ED01-4869-9619-805EA37CDCC9}"/>
                  </a:ext>
                </a:extLst>
              </p:cNvPr>
              <p:cNvSpPr/>
              <p:nvPr/>
            </p:nvSpPr>
            <p:spPr bwMode="auto">
              <a:xfrm rot="16200000">
                <a:off x="5445083" y="1855937"/>
                <a:ext cx="799644" cy="556329"/>
              </a:xfrm>
              <a:custGeom>
                <a:avLst/>
                <a:gdLst>
                  <a:gd name="T0" fmla="*/ 558 w 566"/>
                  <a:gd name="T1" fmla="*/ 292 h 394"/>
                  <a:gd name="T2" fmla="*/ 346 w 566"/>
                  <a:gd name="T3" fmla="*/ 394 h 394"/>
                  <a:gd name="T4" fmla="*/ 0 w 566"/>
                  <a:gd name="T5" fmla="*/ 214 h 394"/>
                  <a:gd name="T6" fmla="*/ 0 w 566"/>
                  <a:gd name="T7" fmla="*/ 0 h 394"/>
                  <a:gd name="T8" fmla="*/ 566 w 566"/>
                  <a:gd name="T9" fmla="*/ 292 h 394"/>
                  <a:gd name="T10" fmla="*/ 558 w 566"/>
                  <a:gd name="T11" fmla="*/ 292 h 39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66" h="394">
                    <a:moveTo>
                      <a:pt x="558" y="292"/>
                    </a:moveTo>
                    <a:lnTo>
                      <a:pt x="346" y="394"/>
                    </a:lnTo>
                    <a:lnTo>
                      <a:pt x="0" y="214"/>
                    </a:lnTo>
                    <a:lnTo>
                      <a:pt x="0" y="0"/>
                    </a:lnTo>
                    <a:lnTo>
                      <a:pt x="566" y="292"/>
                    </a:lnTo>
                    <a:lnTo>
                      <a:pt x="558" y="29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" name="îş1îḋé">
                <a:extLst>
                  <a:ext uri="{FF2B5EF4-FFF2-40B4-BE49-F238E27FC236}">
                    <a16:creationId xmlns:a16="http://schemas.microsoft.com/office/drawing/2014/main" id="{B838D6E7-2520-4D32-9560-B5741AA8D264}"/>
                  </a:ext>
                </a:extLst>
              </p:cNvPr>
              <p:cNvSpPr/>
              <p:nvPr/>
            </p:nvSpPr>
            <p:spPr bwMode="auto">
              <a:xfrm rot="16200000">
                <a:off x="5445083" y="1855937"/>
                <a:ext cx="799644" cy="556329"/>
              </a:xfrm>
              <a:custGeom>
                <a:avLst/>
                <a:gdLst>
                  <a:gd name="T0" fmla="*/ 558 w 566"/>
                  <a:gd name="T1" fmla="*/ 292 h 394"/>
                  <a:gd name="T2" fmla="*/ 346 w 566"/>
                  <a:gd name="T3" fmla="*/ 394 h 394"/>
                  <a:gd name="T4" fmla="*/ 0 w 566"/>
                  <a:gd name="T5" fmla="*/ 214 h 394"/>
                  <a:gd name="T6" fmla="*/ 0 w 566"/>
                  <a:gd name="T7" fmla="*/ 0 h 394"/>
                  <a:gd name="T8" fmla="*/ 566 w 566"/>
                  <a:gd name="T9" fmla="*/ 292 h 3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66" h="394">
                    <a:moveTo>
                      <a:pt x="558" y="292"/>
                    </a:moveTo>
                    <a:lnTo>
                      <a:pt x="346" y="394"/>
                    </a:lnTo>
                    <a:lnTo>
                      <a:pt x="0" y="214"/>
                    </a:lnTo>
                    <a:lnTo>
                      <a:pt x="0" y="0"/>
                    </a:lnTo>
                    <a:lnTo>
                      <a:pt x="566" y="292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" name="îṥḷîḓê">
                <a:extLst>
                  <a:ext uri="{FF2B5EF4-FFF2-40B4-BE49-F238E27FC236}">
                    <a16:creationId xmlns:a16="http://schemas.microsoft.com/office/drawing/2014/main" id="{F6365493-16BF-41B9-919D-EF659271FE3F}"/>
                  </a:ext>
                </a:extLst>
              </p:cNvPr>
              <p:cNvSpPr/>
              <p:nvPr/>
            </p:nvSpPr>
            <p:spPr bwMode="auto">
              <a:xfrm rot="16200000">
                <a:off x="5445083" y="4855310"/>
                <a:ext cx="799644" cy="556329"/>
              </a:xfrm>
              <a:custGeom>
                <a:avLst/>
                <a:gdLst>
                  <a:gd name="T0" fmla="*/ 8 w 566"/>
                  <a:gd name="T1" fmla="*/ 292 h 394"/>
                  <a:gd name="T2" fmla="*/ 219 w 566"/>
                  <a:gd name="T3" fmla="*/ 394 h 394"/>
                  <a:gd name="T4" fmla="*/ 566 w 566"/>
                  <a:gd name="T5" fmla="*/ 214 h 394"/>
                  <a:gd name="T6" fmla="*/ 566 w 566"/>
                  <a:gd name="T7" fmla="*/ 0 h 394"/>
                  <a:gd name="T8" fmla="*/ 0 w 566"/>
                  <a:gd name="T9" fmla="*/ 292 h 394"/>
                  <a:gd name="T10" fmla="*/ 8 w 566"/>
                  <a:gd name="T11" fmla="*/ 292 h 39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66" h="394">
                    <a:moveTo>
                      <a:pt x="8" y="292"/>
                    </a:moveTo>
                    <a:lnTo>
                      <a:pt x="219" y="394"/>
                    </a:lnTo>
                    <a:lnTo>
                      <a:pt x="566" y="214"/>
                    </a:lnTo>
                    <a:lnTo>
                      <a:pt x="566" y="0"/>
                    </a:lnTo>
                    <a:lnTo>
                      <a:pt x="0" y="292"/>
                    </a:lnTo>
                    <a:lnTo>
                      <a:pt x="8" y="292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4" name="íṡlíḑê">
                <a:extLst>
                  <a:ext uri="{FF2B5EF4-FFF2-40B4-BE49-F238E27FC236}">
                    <a16:creationId xmlns:a16="http://schemas.microsoft.com/office/drawing/2014/main" id="{70C300AA-CEFF-4C00-84F6-42C9EF4B9D43}"/>
                  </a:ext>
                </a:extLst>
              </p:cNvPr>
              <p:cNvSpPr/>
              <p:nvPr/>
            </p:nvSpPr>
            <p:spPr bwMode="auto">
              <a:xfrm rot="16200000">
                <a:off x="5445083" y="4855310"/>
                <a:ext cx="799644" cy="556329"/>
              </a:xfrm>
              <a:custGeom>
                <a:avLst/>
                <a:gdLst>
                  <a:gd name="T0" fmla="*/ 8 w 566"/>
                  <a:gd name="T1" fmla="*/ 292 h 394"/>
                  <a:gd name="T2" fmla="*/ 219 w 566"/>
                  <a:gd name="T3" fmla="*/ 394 h 394"/>
                  <a:gd name="T4" fmla="*/ 566 w 566"/>
                  <a:gd name="T5" fmla="*/ 214 h 394"/>
                  <a:gd name="T6" fmla="*/ 566 w 566"/>
                  <a:gd name="T7" fmla="*/ 0 h 394"/>
                  <a:gd name="T8" fmla="*/ 0 w 566"/>
                  <a:gd name="T9" fmla="*/ 292 h 3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66" h="394">
                    <a:moveTo>
                      <a:pt x="8" y="292"/>
                    </a:moveTo>
                    <a:lnTo>
                      <a:pt x="219" y="394"/>
                    </a:lnTo>
                    <a:lnTo>
                      <a:pt x="566" y="214"/>
                    </a:lnTo>
                    <a:lnTo>
                      <a:pt x="566" y="0"/>
                    </a:lnTo>
                    <a:lnTo>
                      <a:pt x="0" y="292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" name="ïṣḷîḑe">
                <a:extLst>
                  <a:ext uri="{FF2B5EF4-FFF2-40B4-BE49-F238E27FC236}">
                    <a16:creationId xmlns:a16="http://schemas.microsoft.com/office/drawing/2014/main" id="{EFF960FD-44A2-48BD-A759-7E346A5A0313}"/>
                  </a:ext>
                </a:extLst>
              </p:cNvPr>
              <p:cNvSpPr/>
              <p:nvPr/>
            </p:nvSpPr>
            <p:spPr bwMode="auto">
              <a:xfrm rot="16200000">
                <a:off x="3450146" y="2925668"/>
                <a:ext cx="5019675" cy="1416240"/>
              </a:xfrm>
              <a:custGeom>
                <a:avLst/>
                <a:gdLst>
                  <a:gd name="T0" fmla="*/ 1776 w 3553"/>
                  <a:gd name="T1" fmla="*/ 395 h 1003"/>
                  <a:gd name="T2" fmla="*/ 1007 w 3553"/>
                  <a:gd name="T3" fmla="*/ 9 h 1003"/>
                  <a:gd name="T4" fmla="*/ 0 w 3553"/>
                  <a:gd name="T5" fmla="*/ 506 h 1003"/>
                  <a:gd name="T6" fmla="*/ 990 w 3553"/>
                  <a:gd name="T7" fmla="*/ 1003 h 1003"/>
                  <a:gd name="T8" fmla="*/ 2555 w 3553"/>
                  <a:gd name="T9" fmla="*/ 232 h 1003"/>
                  <a:gd name="T10" fmla="*/ 3113 w 3553"/>
                  <a:gd name="T11" fmla="*/ 515 h 1003"/>
                  <a:gd name="T12" fmla="*/ 2555 w 3553"/>
                  <a:gd name="T13" fmla="*/ 780 h 1003"/>
                  <a:gd name="T14" fmla="*/ 2208 w 3553"/>
                  <a:gd name="T15" fmla="*/ 609 h 1003"/>
                  <a:gd name="T16" fmla="*/ 1979 w 3553"/>
                  <a:gd name="T17" fmla="*/ 720 h 1003"/>
                  <a:gd name="T18" fmla="*/ 2538 w 3553"/>
                  <a:gd name="T19" fmla="*/ 1003 h 1003"/>
                  <a:gd name="T20" fmla="*/ 3553 w 3553"/>
                  <a:gd name="T21" fmla="*/ 497 h 1003"/>
                  <a:gd name="T22" fmla="*/ 2563 w 3553"/>
                  <a:gd name="T23" fmla="*/ 0 h 1003"/>
                  <a:gd name="T24" fmla="*/ 1015 w 3553"/>
                  <a:gd name="T25" fmla="*/ 780 h 1003"/>
                  <a:gd name="T26" fmla="*/ 440 w 3553"/>
                  <a:gd name="T27" fmla="*/ 515 h 1003"/>
                  <a:gd name="T28" fmla="*/ 998 w 3553"/>
                  <a:gd name="T29" fmla="*/ 223 h 1003"/>
                  <a:gd name="T30" fmla="*/ 1565 w 3553"/>
                  <a:gd name="T31" fmla="*/ 506 h 1003"/>
                  <a:gd name="T32" fmla="*/ 1776 w 3553"/>
                  <a:gd name="T33" fmla="*/ 395 h 100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553" h="1003">
                    <a:moveTo>
                      <a:pt x="1776" y="395"/>
                    </a:moveTo>
                    <a:lnTo>
                      <a:pt x="1007" y="9"/>
                    </a:lnTo>
                    <a:lnTo>
                      <a:pt x="0" y="506"/>
                    </a:lnTo>
                    <a:lnTo>
                      <a:pt x="990" y="1003"/>
                    </a:lnTo>
                    <a:lnTo>
                      <a:pt x="2555" y="232"/>
                    </a:lnTo>
                    <a:lnTo>
                      <a:pt x="3113" y="515"/>
                    </a:lnTo>
                    <a:lnTo>
                      <a:pt x="2555" y="780"/>
                    </a:lnTo>
                    <a:lnTo>
                      <a:pt x="2208" y="609"/>
                    </a:lnTo>
                    <a:lnTo>
                      <a:pt x="1979" y="720"/>
                    </a:lnTo>
                    <a:lnTo>
                      <a:pt x="2538" y="1003"/>
                    </a:lnTo>
                    <a:lnTo>
                      <a:pt x="3553" y="497"/>
                    </a:lnTo>
                    <a:lnTo>
                      <a:pt x="2563" y="0"/>
                    </a:lnTo>
                    <a:lnTo>
                      <a:pt x="1015" y="780"/>
                    </a:lnTo>
                    <a:lnTo>
                      <a:pt x="440" y="515"/>
                    </a:lnTo>
                    <a:lnTo>
                      <a:pt x="998" y="223"/>
                    </a:lnTo>
                    <a:lnTo>
                      <a:pt x="1565" y="506"/>
                    </a:lnTo>
                    <a:lnTo>
                      <a:pt x="1776" y="3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" name="îş1ïďê">
                <a:extLst>
                  <a:ext uri="{FF2B5EF4-FFF2-40B4-BE49-F238E27FC236}">
                    <a16:creationId xmlns:a16="http://schemas.microsoft.com/office/drawing/2014/main" id="{53E8438D-846F-41C6-A279-14F955DA15B1}"/>
                  </a:ext>
                </a:extLst>
              </p:cNvPr>
              <p:cNvSpPr/>
              <p:nvPr/>
            </p:nvSpPr>
            <p:spPr bwMode="auto">
              <a:xfrm rot="16200000">
                <a:off x="3450146" y="2925668"/>
                <a:ext cx="5019675" cy="1416240"/>
              </a:xfrm>
              <a:custGeom>
                <a:avLst/>
                <a:gdLst>
                  <a:gd name="T0" fmla="*/ 1776 w 3553"/>
                  <a:gd name="T1" fmla="*/ 395 h 1003"/>
                  <a:gd name="T2" fmla="*/ 1007 w 3553"/>
                  <a:gd name="T3" fmla="*/ 9 h 1003"/>
                  <a:gd name="T4" fmla="*/ 0 w 3553"/>
                  <a:gd name="T5" fmla="*/ 506 h 1003"/>
                  <a:gd name="T6" fmla="*/ 990 w 3553"/>
                  <a:gd name="T7" fmla="*/ 1003 h 1003"/>
                  <a:gd name="T8" fmla="*/ 2555 w 3553"/>
                  <a:gd name="T9" fmla="*/ 232 h 1003"/>
                  <a:gd name="T10" fmla="*/ 3113 w 3553"/>
                  <a:gd name="T11" fmla="*/ 515 h 1003"/>
                  <a:gd name="T12" fmla="*/ 2555 w 3553"/>
                  <a:gd name="T13" fmla="*/ 780 h 1003"/>
                  <a:gd name="T14" fmla="*/ 2208 w 3553"/>
                  <a:gd name="T15" fmla="*/ 609 h 1003"/>
                  <a:gd name="T16" fmla="*/ 1979 w 3553"/>
                  <a:gd name="T17" fmla="*/ 720 h 1003"/>
                  <a:gd name="T18" fmla="*/ 2538 w 3553"/>
                  <a:gd name="T19" fmla="*/ 1003 h 1003"/>
                  <a:gd name="T20" fmla="*/ 3553 w 3553"/>
                  <a:gd name="T21" fmla="*/ 497 h 1003"/>
                  <a:gd name="T22" fmla="*/ 2563 w 3553"/>
                  <a:gd name="T23" fmla="*/ 0 h 1003"/>
                  <a:gd name="T24" fmla="*/ 1015 w 3553"/>
                  <a:gd name="T25" fmla="*/ 780 h 1003"/>
                  <a:gd name="T26" fmla="*/ 440 w 3553"/>
                  <a:gd name="T27" fmla="*/ 515 h 1003"/>
                  <a:gd name="T28" fmla="*/ 998 w 3553"/>
                  <a:gd name="T29" fmla="*/ 223 h 1003"/>
                  <a:gd name="T30" fmla="*/ 1565 w 3553"/>
                  <a:gd name="T31" fmla="*/ 506 h 1003"/>
                  <a:gd name="T32" fmla="*/ 1776 w 3553"/>
                  <a:gd name="T33" fmla="*/ 395 h 100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553" h="1003">
                    <a:moveTo>
                      <a:pt x="1776" y="395"/>
                    </a:moveTo>
                    <a:lnTo>
                      <a:pt x="1007" y="9"/>
                    </a:lnTo>
                    <a:lnTo>
                      <a:pt x="0" y="506"/>
                    </a:lnTo>
                    <a:lnTo>
                      <a:pt x="990" y="1003"/>
                    </a:lnTo>
                    <a:lnTo>
                      <a:pt x="2555" y="232"/>
                    </a:lnTo>
                    <a:lnTo>
                      <a:pt x="3113" y="515"/>
                    </a:lnTo>
                    <a:lnTo>
                      <a:pt x="2555" y="780"/>
                    </a:lnTo>
                    <a:lnTo>
                      <a:pt x="2208" y="609"/>
                    </a:lnTo>
                    <a:lnTo>
                      <a:pt x="1979" y="720"/>
                    </a:lnTo>
                    <a:lnTo>
                      <a:pt x="2538" y="1003"/>
                    </a:lnTo>
                    <a:lnTo>
                      <a:pt x="3553" y="497"/>
                    </a:lnTo>
                    <a:lnTo>
                      <a:pt x="2563" y="0"/>
                    </a:lnTo>
                    <a:lnTo>
                      <a:pt x="1015" y="780"/>
                    </a:lnTo>
                    <a:lnTo>
                      <a:pt x="440" y="515"/>
                    </a:lnTo>
                    <a:lnTo>
                      <a:pt x="998" y="223"/>
                    </a:lnTo>
                    <a:lnTo>
                      <a:pt x="1565" y="506"/>
                    </a:lnTo>
                    <a:lnTo>
                      <a:pt x="1776" y="395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" name="ïśľîďè">
                <a:extLst>
                  <a:ext uri="{FF2B5EF4-FFF2-40B4-BE49-F238E27FC236}">
                    <a16:creationId xmlns:a16="http://schemas.microsoft.com/office/drawing/2014/main" id="{0BC0E66C-710C-45B8-AB9B-90DEEF022EDE}"/>
                  </a:ext>
                </a:extLst>
              </p:cNvPr>
              <p:cNvSpPr/>
              <p:nvPr/>
            </p:nvSpPr>
            <p:spPr bwMode="auto">
              <a:xfrm rot="16200000">
                <a:off x="5444377" y="4054959"/>
                <a:ext cx="801057" cy="556329"/>
              </a:xfrm>
              <a:custGeom>
                <a:avLst/>
                <a:gdLst>
                  <a:gd name="T0" fmla="*/ 567 w 567"/>
                  <a:gd name="T1" fmla="*/ 283 h 394"/>
                  <a:gd name="T2" fmla="*/ 0 w 567"/>
                  <a:gd name="T3" fmla="*/ 0 h 394"/>
                  <a:gd name="T4" fmla="*/ 0 w 567"/>
                  <a:gd name="T5" fmla="*/ 214 h 394"/>
                  <a:gd name="T6" fmla="*/ 347 w 567"/>
                  <a:gd name="T7" fmla="*/ 394 h 394"/>
                  <a:gd name="T8" fmla="*/ 567 w 567"/>
                  <a:gd name="T9" fmla="*/ 283 h 3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67" h="394">
                    <a:moveTo>
                      <a:pt x="567" y="283"/>
                    </a:moveTo>
                    <a:lnTo>
                      <a:pt x="0" y="0"/>
                    </a:lnTo>
                    <a:lnTo>
                      <a:pt x="0" y="214"/>
                    </a:lnTo>
                    <a:lnTo>
                      <a:pt x="347" y="394"/>
                    </a:lnTo>
                    <a:lnTo>
                      <a:pt x="567" y="283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8" name="ïṡḷíḓe">
                <a:extLst>
                  <a:ext uri="{FF2B5EF4-FFF2-40B4-BE49-F238E27FC236}">
                    <a16:creationId xmlns:a16="http://schemas.microsoft.com/office/drawing/2014/main" id="{FC6A0993-A671-4B03-A2D5-7E94ABD2AD83}"/>
                  </a:ext>
                </a:extLst>
              </p:cNvPr>
              <p:cNvSpPr/>
              <p:nvPr/>
            </p:nvSpPr>
            <p:spPr bwMode="auto">
              <a:xfrm rot="16200000">
                <a:off x="5444377" y="4054959"/>
                <a:ext cx="801057" cy="556329"/>
              </a:xfrm>
              <a:custGeom>
                <a:avLst/>
                <a:gdLst>
                  <a:gd name="T0" fmla="*/ 567 w 567"/>
                  <a:gd name="T1" fmla="*/ 283 h 394"/>
                  <a:gd name="T2" fmla="*/ 0 w 567"/>
                  <a:gd name="T3" fmla="*/ 0 h 394"/>
                  <a:gd name="T4" fmla="*/ 0 w 567"/>
                  <a:gd name="T5" fmla="*/ 214 h 394"/>
                  <a:gd name="T6" fmla="*/ 347 w 567"/>
                  <a:gd name="T7" fmla="*/ 394 h 394"/>
                  <a:gd name="T8" fmla="*/ 567 w 567"/>
                  <a:gd name="T9" fmla="*/ 283 h 3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67" h="394">
                    <a:moveTo>
                      <a:pt x="567" y="283"/>
                    </a:moveTo>
                    <a:lnTo>
                      <a:pt x="0" y="0"/>
                    </a:lnTo>
                    <a:lnTo>
                      <a:pt x="0" y="214"/>
                    </a:lnTo>
                    <a:lnTo>
                      <a:pt x="347" y="394"/>
                    </a:lnTo>
                    <a:lnTo>
                      <a:pt x="567" y="283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" name="íṧ1îḍé">
                <a:extLst>
                  <a:ext uri="{FF2B5EF4-FFF2-40B4-BE49-F238E27FC236}">
                    <a16:creationId xmlns:a16="http://schemas.microsoft.com/office/drawing/2014/main" id="{A579D511-5B8F-4B1F-9F99-BB5AF5709BA0}"/>
                  </a:ext>
                </a:extLst>
              </p:cNvPr>
              <p:cNvSpPr/>
              <p:nvPr/>
            </p:nvSpPr>
            <p:spPr bwMode="auto">
              <a:xfrm rot="16200000">
                <a:off x="6076167" y="2750281"/>
                <a:ext cx="1087855" cy="703178"/>
              </a:xfrm>
              <a:custGeom>
                <a:avLst/>
                <a:gdLst>
                  <a:gd name="T0" fmla="*/ 770 w 770"/>
                  <a:gd name="T1" fmla="*/ 283 h 498"/>
                  <a:gd name="T2" fmla="*/ 770 w 770"/>
                  <a:gd name="T3" fmla="*/ 498 h 498"/>
                  <a:gd name="T4" fmla="*/ 0 w 770"/>
                  <a:gd name="T5" fmla="*/ 103 h 498"/>
                  <a:gd name="T6" fmla="*/ 211 w 770"/>
                  <a:gd name="T7" fmla="*/ 0 h 498"/>
                  <a:gd name="T8" fmla="*/ 770 w 770"/>
                  <a:gd name="T9" fmla="*/ 283 h 49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70" h="498">
                    <a:moveTo>
                      <a:pt x="770" y="283"/>
                    </a:moveTo>
                    <a:lnTo>
                      <a:pt x="770" y="498"/>
                    </a:lnTo>
                    <a:lnTo>
                      <a:pt x="0" y="103"/>
                    </a:lnTo>
                    <a:lnTo>
                      <a:pt x="211" y="0"/>
                    </a:lnTo>
                    <a:lnTo>
                      <a:pt x="770" y="283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" name="i$ľîdê">
                <a:extLst>
                  <a:ext uri="{FF2B5EF4-FFF2-40B4-BE49-F238E27FC236}">
                    <a16:creationId xmlns:a16="http://schemas.microsoft.com/office/drawing/2014/main" id="{9C8CF8F3-EE51-4A59-AAD9-576754470800}"/>
                  </a:ext>
                </a:extLst>
              </p:cNvPr>
              <p:cNvSpPr/>
              <p:nvPr/>
            </p:nvSpPr>
            <p:spPr bwMode="auto">
              <a:xfrm rot="16200000">
                <a:off x="6076167" y="2750281"/>
                <a:ext cx="1087855" cy="703178"/>
              </a:xfrm>
              <a:custGeom>
                <a:avLst/>
                <a:gdLst>
                  <a:gd name="T0" fmla="*/ 770 w 770"/>
                  <a:gd name="T1" fmla="*/ 283 h 498"/>
                  <a:gd name="T2" fmla="*/ 770 w 770"/>
                  <a:gd name="T3" fmla="*/ 498 h 498"/>
                  <a:gd name="T4" fmla="*/ 0 w 770"/>
                  <a:gd name="T5" fmla="*/ 103 h 498"/>
                  <a:gd name="T6" fmla="*/ 211 w 770"/>
                  <a:gd name="T7" fmla="*/ 0 h 498"/>
                  <a:gd name="T8" fmla="*/ 770 w 770"/>
                  <a:gd name="T9" fmla="*/ 283 h 49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70" h="498">
                    <a:moveTo>
                      <a:pt x="770" y="283"/>
                    </a:moveTo>
                    <a:lnTo>
                      <a:pt x="770" y="498"/>
                    </a:lnTo>
                    <a:lnTo>
                      <a:pt x="0" y="103"/>
                    </a:lnTo>
                    <a:lnTo>
                      <a:pt x="211" y="0"/>
                    </a:lnTo>
                    <a:lnTo>
                      <a:pt x="770" y="283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" name="išlïdè">
                <a:extLst>
                  <a:ext uri="{FF2B5EF4-FFF2-40B4-BE49-F238E27FC236}">
                    <a16:creationId xmlns:a16="http://schemas.microsoft.com/office/drawing/2014/main" id="{9EE595D8-C83F-4250-B82A-7BE149DD198C}"/>
                  </a:ext>
                </a:extLst>
              </p:cNvPr>
              <p:cNvSpPr/>
              <p:nvPr/>
            </p:nvSpPr>
            <p:spPr bwMode="auto">
              <a:xfrm rot="16200000">
                <a:off x="5739307" y="1338273"/>
                <a:ext cx="1433991" cy="1005346"/>
              </a:xfrm>
              <a:custGeom>
                <a:avLst/>
                <a:gdLst>
                  <a:gd name="T0" fmla="*/ 0 w 1015"/>
                  <a:gd name="T1" fmla="*/ 506 h 712"/>
                  <a:gd name="T2" fmla="*/ 0 w 1015"/>
                  <a:gd name="T3" fmla="*/ 712 h 712"/>
                  <a:gd name="T4" fmla="*/ 1015 w 1015"/>
                  <a:gd name="T5" fmla="*/ 215 h 712"/>
                  <a:gd name="T6" fmla="*/ 1015 w 1015"/>
                  <a:gd name="T7" fmla="*/ 0 h 712"/>
                  <a:gd name="T8" fmla="*/ 0 w 1015"/>
                  <a:gd name="T9" fmla="*/ 506 h 7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5" h="712">
                    <a:moveTo>
                      <a:pt x="0" y="506"/>
                    </a:moveTo>
                    <a:lnTo>
                      <a:pt x="0" y="712"/>
                    </a:lnTo>
                    <a:lnTo>
                      <a:pt x="1015" y="215"/>
                    </a:lnTo>
                    <a:lnTo>
                      <a:pt x="1015" y="0"/>
                    </a:lnTo>
                    <a:lnTo>
                      <a:pt x="0" y="50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" name="íŝļïḑè">
                <a:extLst>
                  <a:ext uri="{FF2B5EF4-FFF2-40B4-BE49-F238E27FC236}">
                    <a16:creationId xmlns:a16="http://schemas.microsoft.com/office/drawing/2014/main" id="{09404E20-FF95-46B9-BDE4-65964AED7C28}"/>
                  </a:ext>
                </a:extLst>
              </p:cNvPr>
              <p:cNvSpPr/>
              <p:nvPr/>
            </p:nvSpPr>
            <p:spPr bwMode="auto">
              <a:xfrm rot="16200000">
                <a:off x="5739307" y="1338273"/>
                <a:ext cx="1433991" cy="1005346"/>
              </a:xfrm>
              <a:custGeom>
                <a:avLst/>
                <a:gdLst>
                  <a:gd name="T0" fmla="*/ 0 w 1015"/>
                  <a:gd name="T1" fmla="*/ 506 h 712"/>
                  <a:gd name="T2" fmla="*/ 0 w 1015"/>
                  <a:gd name="T3" fmla="*/ 712 h 712"/>
                  <a:gd name="T4" fmla="*/ 1015 w 1015"/>
                  <a:gd name="T5" fmla="*/ 215 h 712"/>
                  <a:gd name="T6" fmla="*/ 1015 w 1015"/>
                  <a:gd name="T7" fmla="*/ 0 h 712"/>
                  <a:gd name="T8" fmla="*/ 0 w 1015"/>
                  <a:gd name="T9" fmla="*/ 506 h 7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5" h="712">
                    <a:moveTo>
                      <a:pt x="0" y="506"/>
                    </a:moveTo>
                    <a:lnTo>
                      <a:pt x="0" y="712"/>
                    </a:lnTo>
                    <a:lnTo>
                      <a:pt x="1015" y="215"/>
                    </a:lnTo>
                    <a:lnTo>
                      <a:pt x="1015" y="0"/>
                    </a:lnTo>
                    <a:lnTo>
                      <a:pt x="0" y="506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3" name="îŝľïḍe">
                <a:extLst>
                  <a:ext uri="{FF2B5EF4-FFF2-40B4-BE49-F238E27FC236}">
                    <a16:creationId xmlns:a16="http://schemas.microsoft.com/office/drawing/2014/main" id="{42FCEDE3-8B16-418E-9390-D70E247E59D4}"/>
                  </a:ext>
                </a:extLst>
              </p:cNvPr>
              <p:cNvSpPr/>
              <p:nvPr/>
            </p:nvSpPr>
            <p:spPr bwMode="auto">
              <a:xfrm rot="16200000">
                <a:off x="5751316" y="4935966"/>
                <a:ext cx="1409973" cy="1005346"/>
              </a:xfrm>
              <a:custGeom>
                <a:avLst/>
                <a:gdLst>
                  <a:gd name="T0" fmla="*/ 998 w 998"/>
                  <a:gd name="T1" fmla="*/ 506 h 712"/>
                  <a:gd name="T2" fmla="*/ 0 w 998"/>
                  <a:gd name="T3" fmla="*/ 0 h 712"/>
                  <a:gd name="T4" fmla="*/ 0 w 998"/>
                  <a:gd name="T5" fmla="*/ 215 h 712"/>
                  <a:gd name="T6" fmla="*/ 998 w 998"/>
                  <a:gd name="T7" fmla="*/ 712 h 712"/>
                  <a:gd name="T8" fmla="*/ 998 w 998"/>
                  <a:gd name="T9" fmla="*/ 506 h 7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98" h="712">
                    <a:moveTo>
                      <a:pt x="998" y="506"/>
                    </a:moveTo>
                    <a:lnTo>
                      <a:pt x="0" y="0"/>
                    </a:lnTo>
                    <a:lnTo>
                      <a:pt x="0" y="215"/>
                    </a:lnTo>
                    <a:lnTo>
                      <a:pt x="998" y="712"/>
                    </a:lnTo>
                    <a:lnTo>
                      <a:pt x="998" y="50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4" name="iṥḻîḋê">
                <a:extLst>
                  <a:ext uri="{FF2B5EF4-FFF2-40B4-BE49-F238E27FC236}">
                    <a16:creationId xmlns:a16="http://schemas.microsoft.com/office/drawing/2014/main" id="{A0368D85-2EA8-4834-8500-AA7D49F3AD10}"/>
                  </a:ext>
                </a:extLst>
              </p:cNvPr>
              <p:cNvSpPr/>
              <p:nvPr/>
            </p:nvSpPr>
            <p:spPr bwMode="auto">
              <a:xfrm rot="16200000">
                <a:off x="5751316" y="4935966"/>
                <a:ext cx="1409973" cy="1005346"/>
              </a:xfrm>
              <a:custGeom>
                <a:avLst/>
                <a:gdLst>
                  <a:gd name="T0" fmla="*/ 998 w 998"/>
                  <a:gd name="T1" fmla="*/ 506 h 712"/>
                  <a:gd name="T2" fmla="*/ 0 w 998"/>
                  <a:gd name="T3" fmla="*/ 0 h 712"/>
                  <a:gd name="T4" fmla="*/ 0 w 998"/>
                  <a:gd name="T5" fmla="*/ 215 h 712"/>
                  <a:gd name="T6" fmla="*/ 998 w 998"/>
                  <a:gd name="T7" fmla="*/ 712 h 712"/>
                  <a:gd name="T8" fmla="*/ 998 w 998"/>
                  <a:gd name="T9" fmla="*/ 506 h 7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98" h="712">
                    <a:moveTo>
                      <a:pt x="998" y="506"/>
                    </a:moveTo>
                    <a:lnTo>
                      <a:pt x="0" y="0"/>
                    </a:lnTo>
                    <a:lnTo>
                      <a:pt x="0" y="215"/>
                    </a:lnTo>
                    <a:lnTo>
                      <a:pt x="998" y="712"/>
                    </a:lnTo>
                    <a:lnTo>
                      <a:pt x="998" y="506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5" name="isļîḓé">
                <a:extLst>
                  <a:ext uri="{FF2B5EF4-FFF2-40B4-BE49-F238E27FC236}">
                    <a16:creationId xmlns:a16="http://schemas.microsoft.com/office/drawing/2014/main" id="{D226D2C9-AC37-4DA6-B404-6195F45E8A0B}"/>
                  </a:ext>
                </a:extLst>
              </p:cNvPr>
              <p:cNvSpPr/>
              <p:nvPr/>
            </p:nvSpPr>
            <p:spPr bwMode="auto">
              <a:xfrm rot="16200000">
                <a:off x="5169348" y="2944024"/>
                <a:ext cx="2199728" cy="1379528"/>
              </a:xfrm>
              <a:custGeom>
                <a:avLst/>
                <a:gdLst>
                  <a:gd name="T0" fmla="*/ 1557 w 1557"/>
                  <a:gd name="T1" fmla="*/ 0 h 977"/>
                  <a:gd name="T2" fmla="*/ 0 w 1557"/>
                  <a:gd name="T3" fmla="*/ 763 h 977"/>
                  <a:gd name="T4" fmla="*/ 0 w 1557"/>
                  <a:gd name="T5" fmla="*/ 977 h 977"/>
                  <a:gd name="T6" fmla="*/ 1557 w 1557"/>
                  <a:gd name="T7" fmla="*/ 205 h 977"/>
                  <a:gd name="T8" fmla="*/ 1557 w 1557"/>
                  <a:gd name="T9" fmla="*/ 0 h 97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57" h="977">
                    <a:moveTo>
                      <a:pt x="1557" y="0"/>
                    </a:moveTo>
                    <a:lnTo>
                      <a:pt x="0" y="763"/>
                    </a:lnTo>
                    <a:lnTo>
                      <a:pt x="0" y="977"/>
                    </a:lnTo>
                    <a:lnTo>
                      <a:pt x="1557" y="205"/>
                    </a:lnTo>
                    <a:lnTo>
                      <a:pt x="1557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" name="îṡlîḍe">
                <a:extLst>
                  <a:ext uri="{FF2B5EF4-FFF2-40B4-BE49-F238E27FC236}">
                    <a16:creationId xmlns:a16="http://schemas.microsoft.com/office/drawing/2014/main" id="{45082C78-12B9-4D93-BA35-02B3770DAA61}"/>
                  </a:ext>
                </a:extLst>
              </p:cNvPr>
              <p:cNvSpPr/>
              <p:nvPr/>
            </p:nvSpPr>
            <p:spPr bwMode="auto">
              <a:xfrm rot="16200000">
                <a:off x="5169348" y="2944024"/>
                <a:ext cx="2199728" cy="1379528"/>
              </a:xfrm>
              <a:custGeom>
                <a:avLst/>
                <a:gdLst>
                  <a:gd name="T0" fmla="*/ 1557 w 1557"/>
                  <a:gd name="T1" fmla="*/ 0 h 977"/>
                  <a:gd name="T2" fmla="*/ 0 w 1557"/>
                  <a:gd name="T3" fmla="*/ 763 h 977"/>
                  <a:gd name="T4" fmla="*/ 0 w 1557"/>
                  <a:gd name="T5" fmla="*/ 977 h 977"/>
                  <a:gd name="T6" fmla="*/ 1557 w 1557"/>
                  <a:gd name="T7" fmla="*/ 205 h 977"/>
                  <a:gd name="T8" fmla="*/ 1557 w 1557"/>
                  <a:gd name="T9" fmla="*/ 0 h 97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57" h="977">
                    <a:moveTo>
                      <a:pt x="1557" y="0"/>
                    </a:moveTo>
                    <a:lnTo>
                      <a:pt x="0" y="763"/>
                    </a:lnTo>
                    <a:lnTo>
                      <a:pt x="0" y="977"/>
                    </a:lnTo>
                    <a:lnTo>
                      <a:pt x="1557" y="205"/>
                    </a:lnTo>
                    <a:lnTo>
                      <a:pt x="1557" y="0"/>
                    </a:lnTo>
                  </a:path>
                </a:pathLst>
              </a:custGeom>
              <a:noFill/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7" name="iSľíḓe">
              <a:extLst>
                <a:ext uri="{FF2B5EF4-FFF2-40B4-BE49-F238E27FC236}">
                  <a16:creationId xmlns:a16="http://schemas.microsoft.com/office/drawing/2014/main" id="{9A7A8A48-4A43-4541-B7BD-B022F2C26584}"/>
                </a:ext>
              </a:extLst>
            </p:cNvPr>
            <p:cNvSpPr txBox="1"/>
            <p:nvPr/>
          </p:nvSpPr>
          <p:spPr>
            <a:xfrm>
              <a:off x="673099" y="3204150"/>
              <a:ext cx="4287892" cy="44970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03.</a:t>
              </a:r>
              <a:r>
                <a:rPr lang="zh-CN" altLang="en-US" b="1" dirty="0"/>
                <a:t>购物车</a:t>
              </a:r>
            </a:p>
          </p:txBody>
        </p:sp>
        <p:sp>
          <p:nvSpPr>
            <p:cNvPr id="8" name="îŝlîďé">
              <a:extLst>
                <a:ext uri="{FF2B5EF4-FFF2-40B4-BE49-F238E27FC236}">
                  <a16:creationId xmlns:a16="http://schemas.microsoft.com/office/drawing/2014/main" id="{E47EA340-1E6D-43AF-AA3B-5D519697BA8E}"/>
                </a:ext>
              </a:extLst>
            </p:cNvPr>
            <p:cNvSpPr txBox="1"/>
            <p:nvPr/>
          </p:nvSpPr>
          <p:spPr>
            <a:xfrm>
              <a:off x="673101" y="3653850"/>
              <a:ext cx="4287890" cy="68003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03F1AFF3-9C56-440A-9CBA-DDAD58C7DCCD}"/>
                </a:ext>
              </a:extLst>
            </p:cNvPr>
            <p:cNvCxnSpPr>
              <a:stCxn id="26" idx="0"/>
            </p:cNvCxnSpPr>
            <p:nvPr/>
          </p:nvCxnSpPr>
          <p:spPr>
            <a:xfrm flipH="1">
              <a:off x="673099" y="3634495"/>
              <a:ext cx="5136507" cy="11303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íśḻiḑé">
              <a:extLst>
                <a:ext uri="{FF2B5EF4-FFF2-40B4-BE49-F238E27FC236}">
                  <a16:creationId xmlns:a16="http://schemas.microsoft.com/office/drawing/2014/main" id="{0ACCD0C8-73AE-493F-9826-02B39C054043}"/>
                </a:ext>
              </a:extLst>
            </p:cNvPr>
            <p:cNvSpPr/>
            <p:nvPr/>
          </p:nvSpPr>
          <p:spPr bwMode="auto">
            <a:xfrm>
              <a:off x="4858857" y="3287038"/>
              <a:ext cx="335444" cy="304374"/>
            </a:xfrm>
            <a:custGeom>
              <a:avLst/>
              <a:gdLst>
                <a:gd name="connsiteX0" fmla="*/ 116112 w 607919"/>
                <a:gd name="connsiteY0" fmla="*/ 473652 h 551610"/>
                <a:gd name="connsiteX1" fmla="*/ 118901 w 607919"/>
                <a:gd name="connsiteY1" fmla="*/ 480423 h 551610"/>
                <a:gd name="connsiteX2" fmla="*/ 118901 w 607919"/>
                <a:gd name="connsiteY2" fmla="*/ 551610 h 551610"/>
                <a:gd name="connsiteX3" fmla="*/ 55604 w 607919"/>
                <a:gd name="connsiteY3" fmla="*/ 551610 h 551610"/>
                <a:gd name="connsiteX4" fmla="*/ 55604 w 607919"/>
                <a:gd name="connsiteY4" fmla="*/ 540851 h 551610"/>
                <a:gd name="connsiteX5" fmla="*/ 65255 w 607919"/>
                <a:gd name="connsiteY5" fmla="*/ 520583 h 551610"/>
                <a:gd name="connsiteX6" fmla="*/ 83555 w 607919"/>
                <a:gd name="connsiteY6" fmla="*/ 502317 h 551610"/>
                <a:gd name="connsiteX7" fmla="*/ 109375 w 607919"/>
                <a:gd name="connsiteY7" fmla="*/ 476545 h 551610"/>
                <a:gd name="connsiteX8" fmla="*/ 116112 w 607919"/>
                <a:gd name="connsiteY8" fmla="*/ 473652 h 551610"/>
                <a:gd name="connsiteX9" fmla="*/ 199155 w 607919"/>
                <a:gd name="connsiteY9" fmla="*/ 390799 h 551610"/>
                <a:gd name="connsiteX10" fmla="*/ 201956 w 607919"/>
                <a:gd name="connsiteY10" fmla="*/ 397632 h 551610"/>
                <a:gd name="connsiteX11" fmla="*/ 201956 w 607919"/>
                <a:gd name="connsiteY11" fmla="*/ 551610 h 551610"/>
                <a:gd name="connsiteX12" fmla="*/ 145363 w 607919"/>
                <a:gd name="connsiteY12" fmla="*/ 551610 h 551610"/>
                <a:gd name="connsiteX13" fmla="*/ 145363 w 607919"/>
                <a:gd name="connsiteY13" fmla="*/ 454170 h 551610"/>
                <a:gd name="connsiteX14" fmla="*/ 154879 w 607919"/>
                <a:gd name="connsiteY14" fmla="*/ 431030 h 551610"/>
                <a:gd name="connsiteX15" fmla="*/ 192315 w 607919"/>
                <a:gd name="connsiteY15" fmla="*/ 393630 h 551610"/>
                <a:gd name="connsiteX16" fmla="*/ 199155 w 607919"/>
                <a:gd name="connsiteY16" fmla="*/ 390799 h 551610"/>
                <a:gd name="connsiteX17" fmla="*/ 231082 w 607919"/>
                <a:gd name="connsiteY17" fmla="*/ 388245 h 551610"/>
                <a:gd name="connsiteX18" fmla="*/ 237930 w 607919"/>
                <a:gd name="connsiteY18" fmla="*/ 391091 h 551610"/>
                <a:gd name="connsiteX19" fmla="*/ 266763 w 607919"/>
                <a:gd name="connsiteY19" fmla="*/ 419867 h 551610"/>
                <a:gd name="connsiteX20" fmla="*/ 275915 w 607919"/>
                <a:gd name="connsiteY20" fmla="*/ 428875 h 551610"/>
                <a:gd name="connsiteX21" fmla="*/ 284941 w 607919"/>
                <a:gd name="connsiteY21" fmla="*/ 451520 h 551610"/>
                <a:gd name="connsiteX22" fmla="*/ 284941 w 607919"/>
                <a:gd name="connsiteY22" fmla="*/ 551610 h 551610"/>
                <a:gd name="connsiteX23" fmla="*/ 228277 w 607919"/>
                <a:gd name="connsiteY23" fmla="*/ 551610 h 551610"/>
                <a:gd name="connsiteX24" fmla="*/ 228277 w 607919"/>
                <a:gd name="connsiteY24" fmla="*/ 394969 h 551610"/>
                <a:gd name="connsiteX25" fmla="*/ 231082 w 607919"/>
                <a:gd name="connsiteY25" fmla="*/ 388245 h 551610"/>
                <a:gd name="connsiteX26" fmla="*/ 365148 w 607919"/>
                <a:gd name="connsiteY26" fmla="*/ 381336 h 551610"/>
                <a:gd name="connsiteX27" fmla="*/ 367997 w 607919"/>
                <a:gd name="connsiteY27" fmla="*/ 388122 h 551610"/>
                <a:gd name="connsiteX28" fmla="*/ 367997 w 607919"/>
                <a:gd name="connsiteY28" fmla="*/ 551610 h 551610"/>
                <a:gd name="connsiteX29" fmla="*/ 311262 w 607919"/>
                <a:gd name="connsiteY29" fmla="*/ 551610 h 551610"/>
                <a:gd name="connsiteX30" fmla="*/ 311262 w 607919"/>
                <a:gd name="connsiteY30" fmla="*/ 444661 h 551610"/>
                <a:gd name="connsiteX31" fmla="*/ 316898 w 607919"/>
                <a:gd name="connsiteY31" fmla="*/ 425523 h 551610"/>
                <a:gd name="connsiteX32" fmla="*/ 322534 w 607919"/>
                <a:gd name="connsiteY32" fmla="*/ 419894 h 551610"/>
                <a:gd name="connsiteX33" fmla="*/ 358353 w 607919"/>
                <a:gd name="connsiteY33" fmla="*/ 384120 h 551610"/>
                <a:gd name="connsiteX34" fmla="*/ 365148 w 607919"/>
                <a:gd name="connsiteY34" fmla="*/ 381336 h 551610"/>
                <a:gd name="connsiteX35" fmla="*/ 448177 w 607919"/>
                <a:gd name="connsiteY35" fmla="*/ 298352 h 551610"/>
                <a:gd name="connsiteX36" fmla="*/ 450982 w 607919"/>
                <a:gd name="connsiteY36" fmla="*/ 305139 h 551610"/>
                <a:gd name="connsiteX37" fmla="*/ 450982 w 607919"/>
                <a:gd name="connsiteY37" fmla="*/ 551610 h 551610"/>
                <a:gd name="connsiteX38" fmla="*/ 394318 w 607919"/>
                <a:gd name="connsiteY38" fmla="*/ 551610 h 551610"/>
                <a:gd name="connsiteX39" fmla="*/ 394318 w 607919"/>
                <a:gd name="connsiteY39" fmla="*/ 361815 h 551610"/>
                <a:gd name="connsiteX40" fmla="*/ 403846 w 607919"/>
                <a:gd name="connsiteY40" fmla="*/ 338669 h 551610"/>
                <a:gd name="connsiteX41" fmla="*/ 441329 w 607919"/>
                <a:gd name="connsiteY41" fmla="*/ 301136 h 551610"/>
                <a:gd name="connsiteX42" fmla="*/ 448177 w 607919"/>
                <a:gd name="connsiteY42" fmla="*/ 298352 h 551610"/>
                <a:gd name="connsiteX43" fmla="*/ 527085 w 607919"/>
                <a:gd name="connsiteY43" fmla="*/ 219452 h 551610"/>
                <a:gd name="connsiteX44" fmla="*/ 529874 w 607919"/>
                <a:gd name="connsiteY44" fmla="*/ 226177 h 551610"/>
                <a:gd name="connsiteX45" fmla="*/ 529874 w 607919"/>
                <a:gd name="connsiteY45" fmla="*/ 551610 h 551610"/>
                <a:gd name="connsiteX46" fmla="*/ 477232 w 607919"/>
                <a:gd name="connsiteY46" fmla="*/ 551610 h 551610"/>
                <a:gd name="connsiteX47" fmla="*/ 477232 w 607919"/>
                <a:gd name="connsiteY47" fmla="*/ 278727 h 551610"/>
                <a:gd name="connsiteX48" fmla="*/ 486883 w 607919"/>
                <a:gd name="connsiteY48" fmla="*/ 255580 h 551610"/>
                <a:gd name="connsiteX49" fmla="*/ 520348 w 607919"/>
                <a:gd name="connsiteY49" fmla="*/ 222298 h 551610"/>
                <a:gd name="connsiteX50" fmla="*/ 527085 w 607919"/>
                <a:gd name="connsiteY50" fmla="*/ 219452 h 551610"/>
                <a:gd name="connsiteX51" fmla="*/ 387769 w 607919"/>
                <a:gd name="connsiteY51" fmla="*/ 0 h 551610"/>
                <a:gd name="connsiteX52" fmla="*/ 580729 w 607919"/>
                <a:gd name="connsiteY52" fmla="*/ 0 h 551610"/>
                <a:gd name="connsiteX53" fmla="*/ 607919 w 607919"/>
                <a:gd name="connsiteY53" fmla="*/ 26022 h 551610"/>
                <a:gd name="connsiteX54" fmla="*/ 607919 w 607919"/>
                <a:gd name="connsiteY54" fmla="*/ 219812 h 551610"/>
                <a:gd name="connsiteX55" fmla="*/ 598271 w 607919"/>
                <a:gd name="connsiteY55" fmla="*/ 223815 h 551610"/>
                <a:gd name="connsiteX56" fmla="*/ 530610 w 607919"/>
                <a:gd name="connsiteY56" fmla="*/ 156258 h 551610"/>
                <a:gd name="connsiteX57" fmla="*/ 304320 w 607919"/>
                <a:gd name="connsiteY57" fmla="*/ 382325 h 551610"/>
                <a:gd name="connsiteX58" fmla="*/ 285024 w 607919"/>
                <a:gd name="connsiteY58" fmla="*/ 382325 h 551610"/>
                <a:gd name="connsiteX59" fmla="*/ 216360 w 607919"/>
                <a:gd name="connsiteY59" fmla="*/ 313767 h 551610"/>
                <a:gd name="connsiteX60" fmla="*/ 94068 w 607919"/>
                <a:gd name="connsiteY60" fmla="*/ 435996 h 551610"/>
                <a:gd name="connsiteX61" fmla="*/ 17260 w 607919"/>
                <a:gd name="connsiteY61" fmla="*/ 435996 h 551610"/>
                <a:gd name="connsiteX62" fmla="*/ 15882 w 607919"/>
                <a:gd name="connsiteY62" fmla="*/ 434745 h 551610"/>
                <a:gd name="connsiteX63" fmla="*/ 15882 w 607919"/>
                <a:gd name="connsiteY63" fmla="*/ 358055 h 551610"/>
                <a:gd name="connsiteX64" fmla="*/ 206837 w 607919"/>
                <a:gd name="connsiteY64" fmla="*/ 167267 h 551610"/>
                <a:gd name="connsiteX65" fmla="*/ 226008 w 607919"/>
                <a:gd name="connsiteY65" fmla="*/ 167267 h 551610"/>
                <a:gd name="connsiteX66" fmla="*/ 294672 w 607919"/>
                <a:gd name="connsiteY66" fmla="*/ 235701 h 551610"/>
                <a:gd name="connsiteX67" fmla="*/ 424481 w 607919"/>
                <a:gd name="connsiteY67" fmla="*/ 105965 h 551610"/>
                <a:gd name="connsiteX68" fmla="*/ 452423 w 607919"/>
                <a:gd name="connsiteY68" fmla="*/ 78192 h 551610"/>
                <a:gd name="connsiteX69" fmla="*/ 383885 w 607919"/>
                <a:gd name="connsiteY69" fmla="*/ 9633 h 551610"/>
                <a:gd name="connsiteX70" fmla="*/ 387769 w 607919"/>
                <a:gd name="connsiteY70" fmla="*/ 0 h 551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607919" h="551610">
                  <a:moveTo>
                    <a:pt x="116112" y="473652"/>
                  </a:moveTo>
                  <a:cubicBezTo>
                    <a:pt x="117836" y="474356"/>
                    <a:pt x="118901" y="476670"/>
                    <a:pt x="118901" y="480423"/>
                  </a:cubicBezTo>
                  <a:lnTo>
                    <a:pt x="118901" y="551610"/>
                  </a:lnTo>
                  <a:lnTo>
                    <a:pt x="55604" y="551610"/>
                  </a:lnTo>
                  <a:lnTo>
                    <a:pt x="55604" y="540851"/>
                  </a:lnTo>
                  <a:cubicBezTo>
                    <a:pt x="55604" y="534971"/>
                    <a:pt x="59991" y="525838"/>
                    <a:pt x="65255" y="520583"/>
                  </a:cubicBezTo>
                  <a:lnTo>
                    <a:pt x="83555" y="502317"/>
                  </a:lnTo>
                  <a:lnTo>
                    <a:pt x="109375" y="476545"/>
                  </a:lnTo>
                  <a:cubicBezTo>
                    <a:pt x="112007" y="473855"/>
                    <a:pt x="114389" y="472948"/>
                    <a:pt x="116112" y="473652"/>
                  </a:cubicBezTo>
                  <a:close/>
                  <a:moveTo>
                    <a:pt x="199155" y="390799"/>
                  </a:moveTo>
                  <a:cubicBezTo>
                    <a:pt x="200892" y="391534"/>
                    <a:pt x="201956" y="393880"/>
                    <a:pt x="201956" y="397632"/>
                  </a:cubicBezTo>
                  <a:lnTo>
                    <a:pt x="201956" y="551610"/>
                  </a:lnTo>
                  <a:lnTo>
                    <a:pt x="145363" y="551610"/>
                  </a:lnTo>
                  <a:lnTo>
                    <a:pt x="145363" y="454170"/>
                  </a:lnTo>
                  <a:cubicBezTo>
                    <a:pt x="145363" y="446665"/>
                    <a:pt x="149620" y="436283"/>
                    <a:pt x="154879" y="431030"/>
                  </a:cubicBezTo>
                  <a:lnTo>
                    <a:pt x="192315" y="393630"/>
                  </a:lnTo>
                  <a:cubicBezTo>
                    <a:pt x="195007" y="390941"/>
                    <a:pt x="197417" y="390065"/>
                    <a:pt x="199155" y="390799"/>
                  </a:cubicBezTo>
                  <a:close/>
                  <a:moveTo>
                    <a:pt x="231082" y="388245"/>
                  </a:moveTo>
                  <a:cubicBezTo>
                    <a:pt x="232822" y="387525"/>
                    <a:pt x="235235" y="388401"/>
                    <a:pt x="237930" y="391091"/>
                  </a:cubicBezTo>
                  <a:lnTo>
                    <a:pt x="266763" y="419867"/>
                  </a:lnTo>
                  <a:lnTo>
                    <a:pt x="275915" y="428875"/>
                  </a:lnTo>
                  <a:cubicBezTo>
                    <a:pt x="280929" y="433879"/>
                    <a:pt x="284941" y="444013"/>
                    <a:pt x="284941" y="451520"/>
                  </a:cubicBezTo>
                  <a:lnTo>
                    <a:pt x="284941" y="551610"/>
                  </a:lnTo>
                  <a:lnTo>
                    <a:pt x="228277" y="551610"/>
                  </a:lnTo>
                  <a:lnTo>
                    <a:pt x="228277" y="394969"/>
                  </a:lnTo>
                  <a:cubicBezTo>
                    <a:pt x="228277" y="391278"/>
                    <a:pt x="229343" y="388964"/>
                    <a:pt x="231082" y="388245"/>
                  </a:cubicBezTo>
                  <a:close/>
                  <a:moveTo>
                    <a:pt x="365148" y="381336"/>
                  </a:moveTo>
                  <a:cubicBezTo>
                    <a:pt x="366901" y="382055"/>
                    <a:pt x="367997" y="384370"/>
                    <a:pt x="367997" y="388122"/>
                  </a:cubicBezTo>
                  <a:lnTo>
                    <a:pt x="367997" y="551610"/>
                  </a:lnTo>
                  <a:lnTo>
                    <a:pt x="311262" y="551610"/>
                  </a:lnTo>
                  <a:lnTo>
                    <a:pt x="311262" y="444661"/>
                  </a:lnTo>
                  <a:cubicBezTo>
                    <a:pt x="311262" y="437156"/>
                    <a:pt x="313767" y="428650"/>
                    <a:pt x="316898" y="425523"/>
                  </a:cubicBezTo>
                  <a:cubicBezTo>
                    <a:pt x="320029" y="422396"/>
                    <a:pt x="322534" y="419894"/>
                    <a:pt x="322534" y="419894"/>
                  </a:cubicBezTo>
                  <a:lnTo>
                    <a:pt x="358353" y="384120"/>
                  </a:lnTo>
                  <a:cubicBezTo>
                    <a:pt x="360983" y="381493"/>
                    <a:pt x="363394" y="380617"/>
                    <a:pt x="365148" y="381336"/>
                  </a:cubicBezTo>
                  <a:close/>
                  <a:moveTo>
                    <a:pt x="448177" y="298352"/>
                  </a:moveTo>
                  <a:cubicBezTo>
                    <a:pt x="449916" y="299071"/>
                    <a:pt x="450982" y="301386"/>
                    <a:pt x="450982" y="305139"/>
                  </a:cubicBezTo>
                  <a:lnTo>
                    <a:pt x="450982" y="551610"/>
                  </a:lnTo>
                  <a:lnTo>
                    <a:pt x="394318" y="551610"/>
                  </a:lnTo>
                  <a:lnTo>
                    <a:pt x="394318" y="361815"/>
                  </a:lnTo>
                  <a:cubicBezTo>
                    <a:pt x="394318" y="354308"/>
                    <a:pt x="398580" y="343924"/>
                    <a:pt x="403846" y="338669"/>
                  </a:cubicBezTo>
                  <a:lnTo>
                    <a:pt x="441329" y="301136"/>
                  </a:lnTo>
                  <a:cubicBezTo>
                    <a:pt x="444024" y="298508"/>
                    <a:pt x="446438" y="297633"/>
                    <a:pt x="448177" y="298352"/>
                  </a:cubicBezTo>
                  <a:close/>
                  <a:moveTo>
                    <a:pt x="527085" y="219452"/>
                  </a:moveTo>
                  <a:cubicBezTo>
                    <a:pt x="528809" y="220171"/>
                    <a:pt x="529874" y="222486"/>
                    <a:pt x="529874" y="226177"/>
                  </a:cubicBezTo>
                  <a:lnTo>
                    <a:pt x="529874" y="551610"/>
                  </a:lnTo>
                  <a:lnTo>
                    <a:pt x="477232" y="551610"/>
                  </a:lnTo>
                  <a:lnTo>
                    <a:pt x="477232" y="278727"/>
                  </a:lnTo>
                  <a:cubicBezTo>
                    <a:pt x="477232" y="271345"/>
                    <a:pt x="481494" y="260960"/>
                    <a:pt x="486883" y="255580"/>
                  </a:cubicBezTo>
                  <a:lnTo>
                    <a:pt x="520348" y="222298"/>
                  </a:lnTo>
                  <a:cubicBezTo>
                    <a:pt x="522980" y="219608"/>
                    <a:pt x="525362" y="218732"/>
                    <a:pt x="527085" y="219452"/>
                  </a:cubicBezTo>
                  <a:close/>
                  <a:moveTo>
                    <a:pt x="387769" y="0"/>
                  </a:moveTo>
                  <a:lnTo>
                    <a:pt x="580729" y="0"/>
                  </a:lnTo>
                  <a:cubicBezTo>
                    <a:pt x="594512" y="0"/>
                    <a:pt x="607919" y="12135"/>
                    <a:pt x="607919" y="26022"/>
                  </a:cubicBezTo>
                  <a:lnTo>
                    <a:pt x="607919" y="219812"/>
                  </a:lnTo>
                  <a:cubicBezTo>
                    <a:pt x="607919" y="227318"/>
                    <a:pt x="603534" y="229070"/>
                    <a:pt x="598271" y="223815"/>
                  </a:cubicBezTo>
                  <a:lnTo>
                    <a:pt x="530610" y="156258"/>
                  </a:lnTo>
                  <a:lnTo>
                    <a:pt x="304320" y="382325"/>
                  </a:lnTo>
                  <a:cubicBezTo>
                    <a:pt x="298932" y="387580"/>
                    <a:pt x="290412" y="387580"/>
                    <a:pt x="285024" y="382325"/>
                  </a:cubicBezTo>
                  <a:lnTo>
                    <a:pt x="216360" y="313767"/>
                  </a:lnTo>
                  <a:lnTo>
                    <a:pt x="94068" y="435996"/>
                  </a:lnTo>
                  <a:cubicBezTo>
                    <a:pt x="72767" y="457264"/>
                    <a:pt x="38435" y="457264"/>
                    <a:pt x="17260" y="435996"/>
                  </a:cubicBezTo>
                  <a:lnTo>
                    <a:pt x="15882" y="434745"/>
                  </a:lnTo>
                  <a:cubicBezTo>
                    <a:pt x="-5294" y="413477"/>
                    <a:pt x="-5294" y="379198"/>
                    <a:pt x="15882" y="358055"/>
                  </a:cubicBezTo>
                  <a:lnTo>
                    <a:pt x="206837" y="167267"/>
                  </a:lnTo>
                  <a:cubicBezTo>
                    <a:pt x="212100" y="161888"/>
                    <a:pt x="220745" y="161888"/>
                    <a:pt x="226008" y="167267"/>
                  </a:cubicBezTo>
                  <a:lnTo>
                    <a:pt x="294672" y="235701"/>
                  </a:lnTo>
                  <a:lnTo>
                    <a:pt x="424481" y="105965"/>
                  </a:lnTo>
                  <a:lnTo>
                    <a:pt x="452423" y="78192"/>
                  </a:lnTo>
                  <a:lnTo>
                    <a:pt x="383885" y="9633"/>
                  </a:lnTo>
                  <a:cubicBezTo>
                    <a:pt x="378497" y="4379"/>
                    <a:pt x="380376" y="0"/>
                    <a:pt x="38776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1" name="iṣļiḍê">
              <a:extLst>
                <a:ext uri="{FF2B5EF4-FFF2-40B4-BE49-F238E27FC236}">
                  <a16:creationId xmlns:a16="http://schemas.microsoft.com/office/drawing/2014/main" id="{57F24ED1-8374-49F9-A099-BD58D9192296}"/>
                </a:ext>
              </a:extLst>
            </p:cNvPr>
            <p:cNvGrpSpPr/>
            <p:nvPr/>
          </p:nvGrpSpPr>
          <p:grpSpPr>
            <a:xfrm>
              <a:off x="6958976" y="2109623"/>
              <a:ext cx="4565029" cy="1129738"/>
              <a:chOff x="6958976" y="2109623"/>
              <a:chExt cx="4565029" cy="1129738"/>
            </a:xfrm>
          </p:grpSpPr>
          <p:sp>
            <p:nvSpPr>
              <p:cNvPr id="17" name="ïṥḷíḓê">
                <a:extLst>
                  <a:ext uri="{FF2B5EF4-FFF2-40B4-BE49-F238E27FC236}">
                    <a16:creationId xmlns:a16="http://schemas.microsoft.com/office/drawing/2014/main" id="{1EA21F58-96AD-42ED-9B92-9A6089EF09CB}"/>
                  </a:ext>
                </a:extLst>
              </p:cNvPr>
              <p:cNvSpPr txBox="1"/>
              <p:nvPr/>
            </p:nvSpPr>
            <p:spPr>
              <a:xfrm>
                <a:off x="7236113" y="2109623"/>
                <a:ext cx="4287892" cy="44970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/>
                <a:r>
                  <a:rPr lang="en-US" altLang="zh-CN" b="1" dirty="0"/>
                  <a:t>04.</a:t>
                </a:r>
                <a:r>
                  <a:rPr lang="zh-CN" altLang="en-US" b="1" dirty="0"/>
                  <a:t>订单信息</a:t>
                </a:r>
              </a:p>
            </p:txBody>
          </p:sp>
          <p:sp>
            <p:nvSpPr>
              <p:cNvPr id="18" name="îşḻïde">
                <a:extLst>
                  <a:ext uri="{FF2B5EF4-FFF2-40B4-BE49-F238E27FC236}">
                    <a16:creationId xmlns:a16="http://schemas.microsoft.com/office/drawing/2014/main" id="{6FD1B4CC-7324-4A2E-97F8-B053734FF44C}"/>
                  </a:ext>
                </a:extLst>
              </p:cNvPr>
              <p:cNvSpPr txBox="1"/>
              <p:nvPr/>
            </p:nvSpPr>
            <p:spPr>
              <a:xfrm>
                <a:off x="7236115" y="2559323"/>
                <a:ext cx="4287890" cy="68003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cxnSp>
            <p:nvCxnSpPr>
              <p:cNvPr id="19" name="直接连接符 18">
                <a:extLst>
                  <a:ext uri="{FF2B5EF4-FFF2-40B4-BE49-F238E27FC236}">
                    <a16:creationId xmlns:a16="http://schemas.microsoft.com/office/drawing/2014/main" id="{671CD472-F7F9-417B-9409-5343BF2D7C81}"/>
                  </a:ext>
                </a:extLst>
              </p:cNvPr>
              <p:cNvCxnSpPr>
                <a:stCxn id="32" idx="1"/>
              </p:cNvCxnSpPr>
              <p:nvPr/>
            </p:nvCxnSpPr>
            <p:spPr>
              <a:xfrm flipV="1">
                <a:off x="6958976" y="2533923"/>
                <a:ext cx="4561512" cy="24019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iSlíďè">
                <a:extLst>
                  <a:ext uri="{FF2B5EF4-FFF2-40B4-BE49-F238E27FC236}">
                    <a16:creationId xmlns:a16="http://schemas.microsoft.com/office/drawing/2014/main" id="{E476CBA7-423D-495E-B215-7D7D02DC9C76}"/>
                  </a:ext>
                </a:extLst>
              </p:cNvPr>
              <p:cNvSpPr/>
              <p:nvPr/>
            </p:nvSpPr>
            <p:spPr bwMode="auto">
              <a:xfrm>
                <a:off x="7054826" y="2206668"/>
                <a:ext cx="335444" cy="323796"/>
              </a:xfrm>
              <a:custGeom>
                <a:avLst/>
                <a:gdLst>
                  <a:gd name="connsiteX0" fmla="*/ 147225 w 603618"/>
                  <a:gd name="connsiteY0" fmla="*/ 418175 h 582659"/>
                  <a:gd name="connsiteX1" fmla="*/ 129666 w 603618"/>
                  <a:gd name="connsiteY1" fmla="*/ 424618 h 582659"/>
                  <a:gd name="connsiteX2" fmla="*/ 159231 w 603618"/>
                  <a:gd name="connsiteY2" fmla="*/ 444246 h 582659"/>
                  <a:gd name="connsiteX3" fmla="*/ 147225 w 603618"/>
                  <a:gd name="connsiteY3" fmla="*/ 418175 h 582659"/>
                  <a:gd name="connsiteX4" fmla="*/ 235619 w 603618"/>
                  <a:gd name="connsiteY4" fmla="*/ 400345 h 582659"/>
                  <a:gd name="connsiteX5" fmla="*/ 196149 w 603618"/>
                  <a:gd name="connsiteY5" fmla="*/ 405440 h 582659"/>
                  <a:gd name="connsiteX6" fmla="*/ 235619 w 603618"/>
                  <a:gd name="connsiteY6" fmla="*/ 461476 h 582659"/>
                  <a:gd name="connsiteX7" fmla="*/ 453241 w 603618"/>
                  <a:gd name="connsiteY7" fmla="*/ 335186 h 582659"/>
                  <a:gd name="connsiteX8" fmla="*/ 453241 w 603618"/>
                  <a:gd name="connsiteY8" fmla="*/ 501720 h 582659"/>
                  <a:gd name="connsiteX9" fmla="*/ 410469 w 603618"/>
                  <a:gd name="connsiteY9" fmla="*/ 458889 h 582659"/>
                  <a:gd name="connsiteX10" fmla="*/ 379853 w 603618"/>
                  <a:gd name="connsiteY10" fmla="*/ 363192 h 582659"/>
                  <a:gd name="connsiteX11" fmla="*/ 453242 w 603618"/>
                  <a:gd name="connsiteY11" fmla="*/ 304902 h 582659"/>
                  <a:gd name="connsiteX12" fmla="*/ 444688 w 603618"/>
                  <a:gd name="connsiteY12" fmla="*/ 306400 h 582659"/>
                  <a:gd name="connsiteX13" fmla="*/ 364853 w 603618"/>
                  <a:gd name="connsiteY13" fmla="*/ 336813 h 582659"/>
                  <a:gd name="connsiteX14" fmla="*/ 349547 w 603618"/>
                  <a:gd name="connsiteY14" fmla="*/ 361682 h 582659"/>
                  <a:gd name="connsiteX15" fmla="*/ 453242 w 603618"/>
                  <a:gd name="connsiteY15" fmla="*/ 531722 h 582659"/>
                  <a:gd name="connsiteX16" fmla="*/ 556936 w 603618"/>
                  <a:gd name="connsiteY16" fmla="*/ 361682 h 582659"/>
                  <a:gd name="connsiteX17" fmla="*/ 541630 w 603618"/>
                  <a:gd name="connsiteY17" fmla="*/ 336813 h 582659"/>
                  <a:gd name="connsiteX18" fmla="*/ 461795 w 603618"/>
                  <a:gd name="connsiteY18" fmla="*/ 306400 h 582659"/>
                  <a:gd name="connsiteX19" fmla="*/ 453242 w 603618"/>
                  <a:gd name="connsiteY19" fmla="*/ 304902 h 582659"/>
                  <a:gd name="connsiteX20" fmla="*/ 170186 w 603618"/>
                  <a:gd name="connsiteY20" fmla="*/ 285126 h 582659"/>
                  <a:gd name="connsiteX21" fmla="*/ 180542 w 603618"/>
                  <a:gd name="connsiteY21" fmla="*/ 357794 h 582659"/>
                  <a:gd name="connsiteX22" fmla="*/ 235619 w 603618"/>
                  <a:gd name="connsiteY22" fmla="*/ 350452 h 582659"/>
                  <a:gd name="connsiteX23" fmla="*/ 235619 w 603618"/>
                  <a:gd name="connsiteY23" fmla="*/ 285126 h 582659"/>
                  <a:gd name="connsiteX24" fmla="*/ 51476 w 603618"/>
                  <a:gd name="connsiteY24" fmla="*/ 285126 h 582659"/>
                  <a:gd name="connsiteX25" fmla="*/ 92297 w 603618"/>
                  <a:gd name="connsiteY25" fmla="*/ 386261 h 582659"/>
                  <a:gd name="connsiteX26" fmla="*/ 132217 w 603618"/>
                  <a:gd name="connsiteY26" fmla="*/ 370679 h 582659"/>
                  <a:gd name="connsiteX27" fmla="*/ 120211 w 603618"/>
                  <a:gd name="connsiteY27" fmla="*/ 285126 h 582659"/>
                  <a:gd name="connsiteX28" fmla="*/ 453242 w 603618"/>
                  <a:gd name="connsiteY28" fmla="*/ 253965 h 582659"/>
                  <a:gd name="connsiteX29" fmla="*/ 465697 w 603618"/>
                  <a:gd name="connsiteY29" fmla="*/ 256362 h 582659"/>
                  <a:gd name="connsiteX30" fmla="*/ 581247 w 603618"/>
                  <a:gd name="connsiteY30" fmla="*/ 300407 h 582659"/>
                  <a:gd name="connsiteX31" fmla="*/ 603456 w 603618"/>
                  <a:gd name="connsiteY31" fmla="*/ 336363 h 582659"/>
                  <a:gd name="connsiteX32" fmla="*/ 453242 w 603618"/>
                  <a:gd name="connsiteY32" fmla="*/ 582659 h 582659"/>
                  <a:gd name="connsiteX33" fmla="*/ 303027 w 603618"/>
                  <a:gd name="connsiteY33" fmla="*/ 336363 h 582659"/>
                  <a:gd name="connsiteX34" fmla="*/ 325236 w 603618"/>
                  <a:gd name="connsiteY34" fmla="*/ 300407 h 582659"/>
                  <a:gd name="connsiteX35" fmla="*/ 440786 w 603618"/>
                  <a:gd name="connsiteY35" fmla="*/ 256362 h 582659"/>
                  <a:gd name="connsiteX36" fmla="*/ 453242 w 603618"/>
                  <a:gd name="connsiteY36" fmla="*/ 253965 h 582659"/>
                  <a:gd name="connsiteX37" fmla="*/ 338422 w 603618"/>
                  <a:gd name="connsiteY37" fmla="*/ 162865 h 582659"/>
                  <a:gd name="connsiteX38" fmla="*/ 285595 w 603618"/>
                  <a:gd name="connsiteY38" fmla="*/ 169607 h 582659"/>
                  <a:gd name="connsiteX39" fmla="*/ 285595 w 603618"/>
                  <a:gd name="connsiteY39" fmla="*/ 235083 h 582659"/>
                  <a:gd name="connsiteX40" fmla="*/ 348627 w 603618"/>
                  <a:gd name="connsiteY40" fmla="*/ 235083 h 582659"/>
                  <a:gd name="connsiteX41" fmla="*/ 338422 w 603618"/>
                  <a:gd name="connsiteY41" fmla="*/ 162865 h 582659"/>
                  <a:gd name="connsiteX42" fmla="*/ 180542 w 603618"/>
                  <a:gd name="connsiteY42" fmla="*/ 162415 h 582659"/>
                  <a:gd name="connsiteX43" fmla="*/ 170186 w 603618"/>
                  <a:gd name="connsiteY43" fmla="*/ 235083 h 582659"/>
                  <a:gd name="connsiteX44" fmla="*/ 235619 w 603618"/>
                  <a:gd name="connsiteY44" fmla="*/ 235083 h 582659"/>
                  <a:gd name="connsiteX45" fmla="*/ 235619 w 603618"/>
                  <a:gd name="connsiteY45" fmla="*/ 169607 h 582659"/>
                  <a:gd name="connsiteX46" fmla="*/ 180542 w 603618"/>
                  <a:gd name="connsiteY46" fmla="*/ 162415 h 582659"/>
                  <a:gd name="connsiteX47" fmla="*/ 92297 w 603618"/>
                  <a:gd name="connsiteY47" fmla="*/ 133948 h 582659"/>
                  <a:gd name="connsiteX48" fmla="*/ 51476 w 603618"/>
                  <a:gd name="connsiteY48" fmla="*/ 235083 h 582659"/>
                  <a:gd name="connsiteX49" fmla="*/ 120211 w 603618"/>
                  <a:gd name="connsiteY49" fmla="*/ 235083 h 582659"/>
                  <a:gd name="connsiteX50" fmla="*/ 132217 w 603618"/>
                  <a:gd name="connsiteY50" fmla="*/ 149530 h 582659"/>
                  <a:gd name="connsiteX51" fmla="*/ 92297 w 603618"/>
                  <a:gd name="connsiteY51" fmla="*/ 133948 h 582659"/>
                  <a:gd name="connsiteX52" fmla="*/ 159231 w 603618"/>
                  <a:gd name="connsiteY52" fmla="*/ 75814 h 582659"/>
                  <a:gd name="connsiteX53" fmla="*/ 129666 w 603618"/>
                  <a:gd name="connsiteY53" fmla="*/ 95591 h 582659"/>
                  <a:gd name="connsiteX54" fmla="*/ 147225 w 603618"/>
                  <a:gd name="connsiteY54" fmla="*/ 102034 h 582659"/>
                  <a:gd name="connsiteX55" fmla="*/ 159231 w 603618"/>
                  <a:gd name="connsiteY55" fmla="*/ 75814 h 582659"/>
                  <a:gd name="connsiteX56" fmla="*/ 358682 w 603618"/>
                  <a:gd name="connsiteY56" fmla="*/ 74165 h 582659"/>
                  <a:gd name="connsiteX57" fmla="*/ 371888 w 603618"/>
                  <a:gd name="connsiteY57" fmla="*/ 102783 h 582659"/>
                  <a:gd name="connsiteX58" fmla="*/ 391548 w 603618"/>
                  <a:gd name="connsiteY58" fmla="*/ 95591 h 582659"/>
                  <a:gd name="connsiteX59" fmla="*/ 358682 w 603618"/>
                  <a:gd name="connsiteY59" fmla="*/ 74165 h 582659"/>
                  <a:gd name="connsiteX60" fmla="*/ 285595 w 603618"/>
                  <a:gd name="connsiteY60" fmla="*/ 60381 h 582659"/>
                  <a:gd name="connsiteX61" fmla="*/ 285595 w 603618"/>
                  <a:gd name="connsiteY61" fmla="*/ 119864 h 582659"/>
                  <a:gd name="connsiteX62" fmla="*/ 322964 w 603618"/>
                  <a:gd name="connsiteY62" fmla="*/ 115219 h 582659"/>
                  <a:gd name="connsiteX63" fmla="*/ 285595 w 603618"/>
                  <a:gd name="connsiteY63" fmla="*/ 60381 h 582659"/>
                  <a:gd name="connsiteX64" fmla="*/ 235619 w 603618"/>
                  <a:gd name="connsiteY64" fmla="*/ 58583 h 582659"/>
                  <a:gd name="connsiteX65" fmla="*/ 196149 w 603618"/>
                  <a:gd name="connsiteY65" fmla="*/ 114769 h 582659"/>
                  <a:gd name="connsiteX66" fmla="*/ 235619 w 603618"/>
                  <a:gd name="connsiteY66" fmla="*/ 119864 h 582659"/>
                  <a:gd name="connsiteX67" fmla="*/ 259482 w 603618"/>
                  <a:gd name="connsiteY67" fmla="*/ 0 h 582659"/>
                  <a:gd name="connsiteX68" fmla="*/ 260532 w 603618"/>
                  <a:gd name="connsiteY68" fmla="*/ 0 h 582659"/>
                  <a:gd name="connsiteX69" fmla="*/ 520914 w 603618"/>
                  <a:gd name="connsiteY69" fmla="*/ 247369 h 582659"/>
                  <a:gd name="connsiteX70" fmla="*/ 475741 w 603618"/>
                  <a:gd name="connsiteY70" fmla="*/ 230138 h 582659"/>
                  <a:gd name="connsiteX71" fmla="*/ 468688 w 603618"/>
                  <a:gd name="connsiteY71" fmla="*/ 228041 h 582659"/>
                  <a:gd name="connsiteX72" fmla="*/ 428917 w 603618"/>
                  <a:gd name="connsiteY72" fmla="*/ 133948 h 582659"/>
                  <a:gd name="connsiteX73" fmla="*/ 386746 w 603618"/>
                  <a:gd name="connsiteY73" fmla="*/ 150279 h 582659"/>
                  <a:gd name="connsiteX74" fmla="*/ 398752 w 603618"/>
                  <a:gd name="connsiteY74" fmla="*/ 235083 h 582659"/>
                  <a:gd name="connsiteX75" fmla="*/ 417812 w 603618"/>
                  <a:gd name="connsiteY75" fmla="*/ 235083 h 582659"/>
                  <a:gd name="connsiteX76" fmla="*/ 315310 w 603618"/>
                  <a:gd name="connsiteY76" fmla="*/ 274188 h 582659"/>
                  <a:gd name="connsiteX77" fmla="*/ 297001 w 603618"/>
                  <a:gd name="connsiteY77" fmla="*/ 285126 h 582659"/>
                  <a:gd name="connsiteX78" fmla="*/ 285595 w 603618"/>
                  <a:gd name="connsiteY78" fmla="*/ 285126 h 582659"/>
                  <a:gd name="connsiteX79" fmla="*/ 285595 w 603618"/>
                  <a:gd name="connsiteY79" fmla="*/ 297861 h 582659"/>
                  <a:gd name="connsiteX80" fmla="*/ 275089 w 603618"/>
                  <a:gd name="connsiteY80" fmla="*/ 339065 h 582659"/>
                  <a:gd name="connsiteX81" fmla="*/ 285895 w 603618"/>
                  <a:gd name="connsiteY81" fmla="*/ 400345 h 582659"/>
                  <a:gd name="connsiteX82" fmla="*/ 285595 w 603618"/>
                  <a:gd name="connsiteY82" fmla="*/ 400345 h 582659"/>
                  <a:gd name="connsiteX83" fmla="*/ 285595 w 603618"/>
                  <a:gd name="connsiteY83" fmla="*/ 459828 h 582659"/>
                  <a:gd name="connsiteX84" fmla="*/ 299552 w 603618"/>
                  <a:gd name="connsiteY84" fmla="*/ 445594 h 582659"/>
                  <a:gd name="connsiteX85" fmla="*/ 328516 w 603618"/>
                  <a:gd name="connsiteY85" fmla="*/ 511219 h 582659"/>
                  <a:gd name="connsiteX86" fmla="*/ 259482 w 603618"/>
                  <a:gd name="connsiteY86" fmla="*/ 520209 h 582659"/>
                  <a:gd name="connsiteX87" fmla="*/ 0 w 603618"/>
                  <a:gd name="connsiteY87" fmla="*/ 260104 h 582659"/>
                  <a:gd name="connsiteX88" fmla="*/ 259482 w 603618"/>
                  <a:gd name="connsiteY88" fmla="*/ 0 h 582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603618" h="582659">
                    <a:moveTo>
                      <a:pt x="147225" y="418175"/>
                    </a:moveTo>
                    <a:cubicBezTo>
                      <a:pt x="141372" y="420123"/>
                      <a:pt x="135519" y="422221"/>
                      <a:pt x="129666" y="424618"/>
                    </a:cubicBezTo>
                    <a:cubicBezTo>
                      <a:pt x="138970" y="431959"/>
                      <a:pt x="148875" y="438552"/>
                      <a:pt x="159231" y="444246"/>
                    </a:cubicBezTo>
                    <a:cubicBezTo>
                      <a:pt x="155179" y="436604"/>
                      <a:pt x="151277" y="428364"/>
                      <a:pt x="147225" y="418175"/>
                    </a:cubicBezTo>
                    <a:close/>
                    <a:moveTo>
                      <a:pt x="235619" y="400345"/>
                    </a:moveTo>
                    <a:cubicBezTo>
                      <a:pt x="222413" y="401244"/>
                      <a:pt x="209206" y="402893"/>
                      <a:pt x="196149" y="405440"/>
                    </a:cubicBezTo>
                    <a:cubicBezTo>
                      <a:pt x="204704" y="425367"/>
                      <a:pt x="217910" y="448740"/>
                      <a:pt x="235619" y="461476"/>
                    </a:cubicBezTo>
                    <a:close/>
                    <a:moveTo>
                      <a:pt x="453241" y="335186"/>
                    </a:moveTo>
                    <a:lnTo>
                      <a:pt x="453241" y="501720"/>
                    </a:lnTo>
                    <a:cubicBezTo>
                      <a:pt x="444386" y="501720"/>
                      <a:pt x="427728" y="490488"/>
                      <a:pt x="410469" y="458889"/>
                    </a:cubicBezTo>
                    <a:cubicBezTo>
                      <a:pt x="395161" y="431033"/>
                      <a:pt x="383605" y="394791"/>
                      <a:pt x="379853" y="363192"/>
                    </a:cubicBezTo>
                    <a:close/>
                    <a:moveTo>
                      <a:pt x="453242" y="304902"/>
                    </a:moveTo>
                    <a:cubicBezTo>
                      <a:pt x="450390" y="304902"/>
                      <a:pt x="447389" y="305351"/>
                      <a:pt x="444688" y="306400"/>
                    </a:cubicBezTo>
                    <a:lnTo>
                      <a:pt x="364853" y="336813"/>
                    </a:lnTo>
                    <a:cubicBezTo>
                      <a:pt x="354799" y="340708"/>
                      <a:pt x="348496" y="350896"/>
                      <a:pt x="349547" y="361682"/>
                    </a:cubicBezTo>
                    <a:cubicBezTo>
                      <a:pt x="356450" y="432395"/>
                      <a:pt x="400119" y="531722"/>
                      <a:pt x="453242" y="531722"/>
                    </a:cubicBezTo>
                    <a:cubicBezTo>
                      <a:pt x="506364" y="531722"/>
                      <a:pt x="550033" y="432395"/>
                      <a:pt x="556936" y="361682"/>
                    </a:cubicBezTo>
                    <a:cubicBezTo>
                      <a:pt x="558137" y="350896"/>
                      <a:pt x="551834" y="340708"/>
                      <a:pt x="541630" y="336813"/>
                    </a:cubicBezTo>
                    <a:lnTo>
                      <a:pt x="461795" y="306400"/>
                    </a:lnTo>
                    <a:cubicBezTo>
                      <a:pt x="459094" y="305351"/>
                      <a:pt x="456093" y="304902"/>
                      <a:pt x="453242" y="304902"/>
                    </a:cubicBezTo>
                    <a:close/>
                    <a:moveTo>
                      <a:pt x="170186" y="285126"/>
                    </a:moveTo>
                    <a:cubicBezTo>
                      <a:pt x="171687" y="310597"/>
                      <a:pt x="175139" y="335169"/>
                      <a:pt x="180542" y="357794"/>
                    </a:cubicBezTo>
                    <a:cubicBezTo>
                      <a:pt x="198701" y="354048"/>
                      <a:pt x="217160" y="351651"/>
                      <a:pt x="235619" y="350452"/>
                    </a:cubicBezTo>
                    <a:lnTo>
                      <a:pt x="235619" y="285126"/>
                    </a:lnTo>
                    <a:close/>
                    <a:moveTo>
                      <a:pt x="51476" y="285126"/>
                    </a:moveTo>
                    <a:cubicBezTo>
                      <a:pt x="55978" y="322733"/>
                      <a:pt x="70536" y="357344"/>
                      <a:pt x="92297" y="386261"/>
                    </a:cubicBezTo>
                    <a:cubicBezTo>
                      <a:pt x="105353" y="380268"/>
                      <a:pt x="118560" y="375174"/>
                      <a:pt x="132217" y="370679"/>
                    </a:cubicBezTo>
                    <a:cubicBezTo>
                      <a:pt x="125764" y="343860"/>
                      <a:pt x="121562" y="314942"/>
                      <a:pt x="120211" y="285126"/>
                    </a:cubicBezTo>
                    <a:close/>
                    <a:moveTo>
                      <a:pt x="453242" y="253965"/>
                    </a:moveTo>
                    <a:cubicBezTo>
                      <a:pt x="457443" y="253965"/>
                      <a:pt x="461645" y="254714"/>
                      <a:pt x="465697" y="256362"/>
                    </a:cubicBezTo>
                    <a:lnTo>
                      <a:pt x="581247" y="300407"/>
                    </a:lnTo>
                    <a:cubicBezTo>
                      <a:pt x="595953" y="305951"/>
                      <a:pt x="604957" y="320782"/>
                      <a:pt x="603456" y="336363"/>
                    </a:cubicBezTo>
                    <a:cubicBezTo>
                      <a:pt x="593402" y="438687"/>
                      <a:pt x="530075" y="582659"/>
                      <a:pt x="453242" y="582659"/>
                    </a:cubicBezTo>
                    <a:cubicBezTo>
                      <a:pt x="376408" y="582659"/>
                      <a:pt x="313081" y="438687"/>
                      <a:pt x="303027" y="336363"/>
                    </a:cubicBezTo>
                    <a:cubicBezTo>
                      <a:pt x="301526" y="320782"/>
                      <a:pt x="310530" y="305951"/>
                      <a:pt x="325236" y="300407"/>
                    </a:cubicBezTo>
                    <a:lnTo>
                      <a:pt x="440786" y="256362"/>
                    </a:lnTo>
                    <a:cubicBezTo>
                      <a:pt x="444838" y="254714"/>
                      <a:pt x="449040" y="253965"/>
                      <a:pt x="453242" y="253965"/>
                    </a:cubicBezTo>
                    <a:close/>
                    <a:moveTo>
                      <a:pt x="338422" y="162865"/>
                    </a:moveTo>
                    <a:cubicBezTo>
                      <a:pt x="321013" y="166311"/>
                      <a:pt x="303304" y="168558"/>
                      <a:pt x="285595" y="169607"/>
                    </a:cubicBezTo>
                    <a:lnTo>
                      <a:pt x="285595" y="235083"/>
                    </a:lnTo>
                    <a:lnTo>
                      <a:pt x="348627" y="235083"/>
                    </a:lnTo>
                    <a:cubicBezTo>
                      <a:pt x="347276" y="209761"/>
                      <a:pt x="343824" y="185339"/>
                      <a:pt x="338422" y="162865"/>
                    </a:cubicBezTo>
                    <a:close/>
                    <a:moveTo>
                      <a:pt x="180542" y="162415"/>
                    </a:moveTo>
                    <a:cubicBezTo>
                      <a:pt x="175139" y="185040"/>
                      <a:pt x="171687" y="209612"/>
                      <a:pt x="170186" y="235083"/>
                    </a:cubicBezTo>
                    <a:lnTo>
                      <a:pt x="235619" y="235083"/>
                    </a:lnTo>
                    <a:lnTo>
                      <a:pt x="235619" y="169607"/>
                    </a:lnTo>
                    <a:cubicBezTo>
                      <a:pt x="217160" y="168558"/>
                      <a:pt x="198701" y="166161"/>
                      <a:pt x="180542" y="162415"/>
                    </a:cubicBezTo>
                    <a:close/>
                    <a:moveTo>
                      <a:pt x="92297" y="133948"/>
                    </a:moveTo>
                    <a:cubicBezTo>
                      <a:pt x="70536" y="162865"/>
                      <a:pt x="55978" y="197475"/>
                      <a:pt x="51476" y="235083"/>
                    </a:cubicBezTo>
                    <a:lnTo>
                      <a:pt x="120211" y="235083"/>
                    </a:lnTo>
                    <a:cubicBezTo>
                      <a:pt x="121562" y="205117"/>
                      <a:pt x="125764" y="176349"/>
                      <a:pt x="132217" y="149530"/>
                    </a:cubicBezTo>
                    <a:cubicBezTo>
                      <a:pt x="118560" y="145035"/>
                      <a:pt x="105353" y="139791"/>
                      <a:pt x="92297" y="133948"/>
                    </a:cubicBezTo>
                    <a:close/>
                    <a:moveTo>
                      <a:pt x="159231" y="75814"/>
                    </a:moveTo>
                    <a:cubicBezTo>
                      <a:pt x="148875" y="81657"/>
                      <a:pt x="138970" y="88249"/>
                      <a:pt x="129666" y="95591"/>
                    </a:cubicBezTo>
                    <a:cubicBezTo>
                      <a:pt x="135519" y="97839"/>
                      <a:pt x="141372" y="100086"/>
                      <a:pt x="147225" y="102034"/>
                    </a:cubicBezTo>
                    <a:cubicBezTo>
                      <a:pt x="151277" y="91845"/>
                      <a:pt x="155179" y="83605"/>
                      <a:pt x="159231" y="75814"/>
                    </a:cubicBezTo>
                    <a:close/>
                    <a:moveTo>
                      <a:pt x="358682" y="74165"/>
                    </a:moveTo>
                    <a:cubicBezTo>
                      <a:pt x="363184" y="82556"/>
                      <a:pt x="367386" y="91546"/>
                      <a:pt x="371888" y="102783"/>
                    </a:cubicBezTo>
                    <a:cubicBezTo>
                      <a:pt x="378492" y="100536"/>
                      <a:pt x="385095" y="98138"/>
                      <a:pt x="391548" y="95591"/>
                    </a:cubicBezTo>
                    <a:cubicBezTo>
                      <a:pt x="381343" y="87500"/>
                      <a:pt x="370238" y="80309"/>
                      <a:pt x="358682" y="74165"/>
                    </a:cubicBezTo>
                    <a:close/>
                    <a:moveTo>
                      <a:pt x="285595" y="60381"/>
                    </a:moveTo>
                    <a:lnTo>
                      <a:pt x="285595" y="119864"/>
                    </a:lnTo>
                    <a:cubicBezTo>
                      <a:pt x="298051" y="118965"/>
                      <a:pt x="310507" y="117466"/>
                      <a:pt x="322964" y="115219"/>
                    </a:cubicBezTo>
                    <a:cubicBezTo>
                      <a:pt x="314559" y="95741"/>
                      <a:pt x="302253" y="73566"/>
                      <a:pt x="285595" y="60381"/>
                    </a:cubicBezTo>
                    <a:close/>
                    <a:moveTo>
                      <a:pt x="235619" y="58583"/>
                    </a:moveTo>
                    <a:cubicBezTo>
                      <a:pt x="217910" y="71469"/>
                      <a:pt x="204704" y="94692"/>
                      <a:pt x="196149" y="114769"/>
                    </a:cubicBezTo>
                    <a:cubicBezTo>
                      <a:pt x="209206" y="117167"/>
                      <a:pt x="222413" y="118965"/>
                      <a:pt x="235619" y="119864"/>
                    </a:cubicBezTo>
                    <a:close/>
                    <a:moveTo>
                      <a:pt x="259482" y="0"/>
                    </a:moveTo>
                    <a:lnTo>
                      <a:pt x="260532" y="0"/>
                    </a:lnTo>
                    <a:cubicBezTo>
                      <a:pt x="399953" y="0"/>
                      <a:pt x="514161" y="109825"/>
                      <a:pt x="520914" y="247369"/>
                    </a:cubicBezTo>
                    <a:lnTo>
                      <a:pt x="475741" y="230138"/>
                    </a:lnTo>
                    <a:cubicBezTo>
                      <a:pt x="473340" y="229239"/>
                      <a:pt x="471089" y="228640"/>
                      <a:pt x="468688" y="228041"/>
                    </a:cubicBezTo>
                    <a:cubicBezTo>
                      <a:pt x="463285" y="193130"/>
                      <a:pt x="449328" y="160917"/>
                      <a:pt x="428917" y="133948"/>
                    </a:cubicBezTo>
                    <a:cubicBezTo>
                      <a:pt x="415260" y="140240"/>
                      <a:pt x="401153" y="145634"/>
                      <a:pt x="386746" y="150279"/>
                    </a:cubicBezTo>
                    <a:cubicBezTo>
                      <a:pt x="393199" y="176799"/>
                      <a:pt x="397251" y="205416"/>
                      <a:pt x="398752" y="235083"/>
                    </a:cubicBezTo>
                    <a:lnTo>
                      <a:pt x="417812" y="235083"/>
                    </a:lnTo>
                    <a:lnTo>
                      <a:pt x="315310" y="274188"/>
                    </a:lnTo>
                    <a:cubicBezTo>
                      <a:pt x="308556" y="276885"/>
                      <a:pt x="302403" y="280481"/>
                      <a:pt x="297001" y="285126"/>
                    </a:cubicBezTo>
                    <a:lnTo>
                      <a:pt x="285595" y="285126"/>
                    </a:lnTo>
                    <a:lnTo>
                      <a:pt x="285595" y="297861"/>
                    </a:lnTo>
                    <a:cubicBezTo>
                      <a:pt x="277641" y="309698"/>
                      <a:pt x="273589" y="324231"/>
                      <a:pt x="275089" y="339065"/>
                    </a:cubicBezTo>
                    <a:cubicBezTo>
                      <a:pt x="277040" y="358992"/>
                      <a:pt x="280792" y="379669"/>
                      <a:pt x="285895" y="400345"/>
                    </a:cubicBezTo>
                    <a:cubicBezTo>
                      <a:pt x="285745" y="400345"/>
                      <a:pt x="285745" y="400345"/>
                      <a:pt x="285595" y="400345"/>
                    </a:cubicBezTo>
                    <a:lnTo>
                      <a:pt x="285595" y="459828"/>
                    </a:lnTo>
                    <a:cubicBezTo>
                      <a:pt x="290397" y="456082"/>
                      <a:pt x="295050" y="451288"/>
                      <a:pt x="299552" y="445594"/>
                    </a:cubicBezTo>
                    <a:cubicBezTo>
                      <a:pt x="307656" y="468818"/>
                      <a:pt x="317411" y="491142"/>
                      <a:pt x="328516" y="511219"/>
                    </a:cubicBezTo>
                    <a:cubicBezTo>
                      <a:pt x="305405" y="517512"/>
                      <a:pt x="282893" y="520209"/>
                      <a:pt x="259482" y="520209"/>
                    </a:cubicBezTo>
                    <a:cubicBezTo>
                      <a:pt x="118260" y="520209"/>
                      <a:pt x="0" y="404541"/>
                      <a:pt x="0" y="260104"/>
                    </a:cubicBezTo>
                    <a:cubicBezTo>
                      <a:pt x="0" y="115519"/>
                      <a:pt x="118560" y="0"/>
                      <a:pt x="25948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2" name="íšľîḋê">
              <a:extLst>
                <a:ext uri="{FF2B5EF4-FFF2-40B4-BE49-F238E27FC236}">
                  <a16:creationId xmlns:a16="http://schemas.microsoft.com/office/drawing/2014/main" id="{3A4E46BE-4315-435A-80EB-2A6863731157}"/>
                </a:ext>
              </a:extLst>
            </p:cNvPr>
            <p:cNvGrpSpPr/>
            <p:nvPr/>
          </p:nvGrpSpPr>
          <p:grpSpPr>
            <a:xfrm>
              <a:off x="6958975" y="4317879"/>
              <a:ext cx="4565029" cy="1129738"/>
              <a:chOff x="6958976" y="2109623"/>
              <a:chExt cx="4565029" cy="1129738"/>
            </a:xfrm>
          </p:grpSpPr>
          <p:sp>
            <p:nvSpPr>
              <p:cNvPr id="13" name="ïŝḷîdé">
                <a:extLst>
                  <a:ext uri="{FF2B5EF4-FFF2-40B4-BE49-F238E27FC236}">
                    <a16:creationId xmlns:a16="http://schemas.microsoft.com/office/drawing/2014/main" id="{B766481A-DCCB-4CB0-9471-EE35C28490DB}"/>
                  </a:ext>
                </a:extLst>
              </p:cNvPr>
              <p:cNvSpPr txBox="1"/>
              <p:nvPr/>
            </p:nvSpPr>
            <p:spPr>
              <a:xfrm>
                <a:off x="7236113" y="2109623"/>
                <a:ext cx="4287892" cy="44970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/>
                <a:r>
                  <a:rPr lang="en-US" altLang="zh-CN" b="1" dirty="0"/>
                  <a:t>02.Text here</a:t>
                </a:r>
                <a:endParaRPr lang="zh-CN" altLang="en-US" b="1" dirty="0"/>
              </a:p>
            </p:txBody>
          </p:sp>
          <p:sp>
            <p:nvSpPr>
              <p:cNvPr id="14" name="îṡlïḋé">
                <a:extLst>
                  <a:ext uri="{FF2B5EF4-FFF2-40B4-BE49-F238E27FC236}">
                    <a16:creationId xmlns:a16="http://schemas.microsoft.com/office/drawing/2014/main" id="{62915FE5-EEB1-4FEC-953E-950B8B93123E}"/>
                  </a:ext>
                </a:extLst>
              </p:cNvPr>
              <p:cNvSpPr txBox="1"/>
              <p:nvPr/>
            </p:nvSpPr>
            <p:spPr>
              <a:xfrm>
                <a:off x="7236115" y="2559323"/>
                <a:ext cx="4287890" cy="68003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cxnSp>
            <p:nvCxnSpPr>
              <p:cNvPr id="15" name="直接连接符 14">
                <a:extLst>
                  <a:ext uri="{FF2B5EF4-FFF2-40B4-BE49-F238E27FC236}">
                    <a16:creationId xmlns:a16="http://schemas.microsoft.com/office/drawing/2014/main" id="{80F366D4-693D-4B20-AB53-927E354D332D}"/>
                  </a:ext>
                </a:extLst>
              </p:cNvPr>
              <p:cNvCxnSpPr/>
              <p:nvPr/>
            </p:nvCxnSpPr>
            <p:spPr>
              <a:xfrm>
                <a:off x="6958976" y="2525397"/>
                <a:ext cx="4561512" cy="8527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ïṥḻîḑê">
                <a:extLst>
                  <a:ext uri="{FF2B5EF4-FFF2-40B4-BE49-F238E27FC236}">
                    <a16:creationId xmlns:a16="http://schemas.microsoft.com/office/drawing/2014/main" id="{3D0D8C41-0382-42F5-B2B0-266753C22E77}"/>
                  </a:ext>
                </a:extLst>
              </p:cNvPr>
              <p:cNvSpPr/>
              <p:nvPr/>
            </p:nvSpPr>
            <p:spPr bwMode="auto">
              <a:xfrm>
                <a:off x="7054826" y="2212854"/>
                <a:ext cx="335444" cy="311423"/>
              </a:xfrm>
              <a:custGeom>
                <a:avLst/>
                <a:gdLst>
                  <a:gd name="connsiteX0" fmla="*/ 252689 w 607875"/>
                  <a:gd name="connsiteY0" fmla="*/ 396825 h 564347"/>
                  <a:gd name="connsiteX1" fmla="*/ 280371 w 607875"/>
                  <a:gd name="connsiteY1" fmla="*/ 484228 h 564347"/>
                  <a:gd name="connsiteX2" fmla="*/ 296643 w 607875"/>
                  <a:gd name="connsiteY2" fmla="*/ 438472 h 564347"/>
                  <a:gd name="connsiteX3" fmla="*/ 303937 w 607875"/>
                  <a:gd name="connsiteY3" fmla="*/ 396825 h 564347"/>
                  <a:gd name="connsiteX4" fmla="*/ 304124 w 607875"/>
                  <a:gd name="connsiteY4" fmla="*/ 396825 h 564347"/>
                  <a:gd name="connsiteX5" fmla="*/ 304218 w 607875"/>
                  <a:gd name="connsiteY5" fmla="*/ 396825 h 564347"/>
                  <a:gd name="connsiteX6" fmla="*/ 311606 w 607875"/>
                  <a:gd name="connsiteY6" fmla="*/ 438472 h 564347"/>
                  <a:gd name="connsiteX7" fmla="*/ 327785 w 607875"/>
                  <a:gd name="connsiteY7" fmla="*/ 484228 h 564347"/>
                  <a:gd name="connsiteX8" fmla="*/ 355467 w 607875"/>
                  <a:gd name="connsiteY8" fmla="*/ 396825 h 564347"/>
                  <a:gd name="connsiteX9" fmla="*/ 421304 w 607875"/>
                  <a:gd name="connsiteY9" fmla="*/ 433243 h 564347"/>
                  <a:gd name="connsiteX10" fmla="*/ 430002 w 607875"/>
                  <a:gd name="connsiteY10" fmla="*/ 439406 h 564347"/>
                  <a:gd name="connsiteX11" fmla="*/ 449266 w 607875"/>
                  <a:gd name="connsiteY11" fmla="*/ 429601 h 564347"/>
                  <a:gd name="connsiteX12" fmla="*/ 471431 w 607875"/>
                  <a:gd name="connsiteY12" fmla="*/ 499822 h 564347"/>
                  <a:gd name="connsiteX13" fmla="*/ 484430 w 607875"/>
                  <a:gd name="connsiteY13" fmla="*/ 462937 h 564347"/>
                  <a:gd name="connsiteX14" fmla="*/ 490415 w 607875"/>
                  <a:gd name="connsiteY14" fmla="*/ 429601 h 564347"/>
                  <a:gd name="connsiteX15" fmla="*/ 490508 w 607875"/>
                  <a:gd name="connsiteY15" fmla="*/ 429601 h 564347"/>
                  <a:gd name="connsiteX16" fmla="*/ 490602 w 607875"/>
                  <a:gd name="connsiteY16" fmla="*/ 429601 h 564347"/>
                  <a:gd name="connsiteX17" fmla="*/ 496587 w 607875"/>
                  <a:gd name="connsiteY17" fmla="*/ 462937 h 564347"/>
                  <a:gd name="connsiteX18" fmla="*/ 509586 w 607875"/>
                  <a:gd name="connsiteY18" fmla="*/ 499822 h 564347"/>
                  <a:gd name="connsiteX19" fmla="*/ 531937 w 607875"/>
                  <a:gd name="connsiteY19" fmla="*/ 429321 h 564347"/>
                  <a:gd name="connsiteX20" fmla="*/ 584869 w 607875"/>
                  <a:gd name="connsiteY20" fmla="*/ 458642 h 564347"/>
                  <a:gd name="connsiteX21" fmla="*/ 607875 w 607875"/>
                  <a:gd name="connsiteY21" fmla="*/ 501690 h 564347"/>
                  <a:gd name="connsiteX22" fmla="*/ 607875 w 607875"/>
                  <a:gd name="connsiteY22" fmla="*/ 501970 h 564347"/>
                  <a:gd name="connsiteX23" fmla="*/ 607875 w 607875"/>
                  <a:gd name="connsiteY23" fmla="*/ 503277 h 564347"/>
                  <a:gd name="connsiteX24" fmla="*/ 607688 w 607875"/>
                  <a:gd name="connsiteY24" fmla="*/ 514856 h 564347"/>
                  <a:gd name="connsiteX25" fmla="*/ 607688 w 607875"/>
                  <a:gd name="connsiteY25" fmla="*/ 564347 h 564347"/>
                  <a:gd name="connsiteX26" fmla="*/ 490415 w 607875"/>
                  <a:gd name="connsiteY26" fmla="*/ 564347 h 564347"/>
                  <a:gd name="connsiteX27" fmla="*/ 449828 w 607875"/>
                  <a:gd name="connsiteY27" fmla="*/ 564347 h 564347"/>
                  <a:gd name="connsiteX28" fmla="*/ 373329 w 607875"/>
                  <a:gd name="connsiteY28" fmla="*/ 564347 h 564347"/>
                  <a:gd name="connsiteX29" fmla="*/ 303844 w 607875"/>
                  <a:gd name="connsiteY29" fmla="*/ 564347 h 564347"/>
                  <a:gd name="connsiteX30" fmla="*/ 234359 w 607875"/>
                  <a:gd name="connsiteY30" fmla="*/ 564347 h 564347"/>
                  <a:gd name="connsiteX31" fmla="*/ 158234 w 607875"/>
                  <a:gd name="connsiteY31" fmla="*/ 564347 h 564347"/>
                  <a:gd name="connsiteX32" fmla="*/ 117273 w 607875"/>
                  <a:gd name="connsiteY32" fmla="*/ 564347 h 564347"/>
                  <a:gd name="connsiteX33" fmla="*/ 0 w 607875"/>
                  <a:gd name="connsiteY33" fmla="*/ 564347 h 564347"/>
                  <a:gd name="connsiteX34" fmla="*/ 0 w 607875"/>
                  <a:gd name="connsiteY34" fmla="*/ 514856 h 564347"/>
                  <a:gd name="connsiteX35" fmla="*/ 0 w 607875"/>
                  <a:gd name="connsiteY35" fmla="*/ 513549 h 564347"/>
                  <a:gd name="connsiteX36" fmla="*/ 0 w 607875"/>
                  <a:gd name="connsiteY36" fmla="*/ 503557 h 564347"/>
                  <a:gd name="connsiteX37" fmla="*/ 0 w 607875"/>
                  <a:gd name="connsiteY37" fmla="*/ 502157 h 564347"/>
                  <a:gd name="connsiteX38" fmla="*/ 0 w 607875"/>
                  <a:gd name="connsiteY38" fmla="*/ 501970 h 564347"/>
                  <a:gd name="connsiteX39" fmla="*/ 22912 w 607875"/>
                  <a:gd name="connsiteY39" fmla="*/ 458829 h 564347"/>
                  <a:gd name="connsiteX40" fmla="*/ 75938 w 607875"/>
                  <a:gd name="connsiteY40" fmla="*/ 429601 h 564347"/>
                  <a:gd name="connsiteX41" fmla="*/ 98102 w 607875"/>
                  <a:gd name="connsiteY41" fmla="*/ 499822 h 564347"/>
                  <a:gd name="connsiteX42" fmla="*/ 111194 w 607875"/>
                  <a:gd name="connsiteY42" fmla="*/ 462937 h 564347"/>
                  <a:gd name="connsiteX43" fmla="*/ 117180 w 607875"/>
                  <a:gd name="connsiteY43" fmla="*/ 429601 h 564347"/>
                  <a:gd name="connsiteX44" fmla="*/ 117273 w 607875"/>
                  <a:gd name="connsiteY44" fmla="*/ 429601 h 564347"/>
                  <a:gd name="connsiteX45" fmla="*/ 117460 w 607875"/>
                  <a:gd name="connsiteY45" fmla="*/ 429601 h 564347"/>
                  <a:gd name="connsiteX46" fmla="*/ 123445 w 607875"/>
                  <a:gd name="connsiteY46" fmla="*/ 462937 h 564347"/>
                  <a:gd name="connsiteX47" fmla="*/ 136351 w 607875"/>
                  <a:gd name="connsiteY47" fmla="*/ 499822 h 564347"/>
                  <a:gd name="connsiteX48" fmla="*/ 158609 w 607875"/>
                  <a:gd name="connsiteY48" fmla="*/ 429601 h 564347"/>
                  <a:gd name="connsiteX49" fmla="*/ 178061 w 607875"/>
                  <a:gd name="connsiteY49" fmla="*/ 439593 h 564347"/>
                  <a:gd name="connsiteX50" fmla="*/ 186851 w 607875"/>
                  <a:gd name="connsiteY50" fmla="*/ 433243 h 564347"/>
                  <a:gd name="connsiteX51" fmla="*/ 252689 w 607875"/>
                  <a:gd name="connsiteY51" fmla="*/ 396825 h 564347"/>
                  <a:gd name="connsiteX52" fmla="*/ 490513 w 607875"/>
                  <a:gd name="connsiteY52" fmla="*/ 272600 h 564347"/>
                  <a:gd name="connsiteX53" fmla="*/ 545786 w 607875"/>
                  <a:gd name="connsiteY53" fmla="*/ 329003 h 564347"/>
                  <a:gd name="connsiteX54" fmla="*/ 490887 w 607875"/>
                  <a:gd name="connsiteY54" fmla="*/ 415101 h 564347"/>
                  <a:gd name="connsiteX55" fmla="*/ 490513 w 607875"/>
                  <a:gd name="connsiteY55" fmla="*/ 415101 h 564347"/>
                  <a:gd name="connsiteX56" fmla="*/ 490138 w 607875"/>
                  <a:gd name="connsiteY56" fmla="*/ 415101 h 564347"/>
                  <a:gd name="connsiteX57" fmla="*/ 435240 w 607875"/>
                  <a:gd name="connsiteY57" fmla="*/ 329003 h 564347"/>
                  <a:gd name="connsiteX58" fmla="*/ 490513 w 607875"/>
                  <a:gd name="connsiteY58" fmla="*/ 272600 h 564347"/>
                  <a:gd name="connsiteX59" fmla="*/ 117163 w 607875"/>
                  <a:gd name="connsiteY59" fmla="*/ 272600 h 564347"/>
                  <a:gd name="connsiteX60" fmla="*/ 172425 w 607875"/>
                  <a:gd name="connsiteY60" fmla="*/ 329003 h 564347"/>
                  <a:gd name="connsiteX61" fmla="*/ 117537 w 607875"/>
                  <a:gd name="connsiteY61" fmla="*/ 415101 h 564347"/>
                  <a:gd name="connsiteX62" fmla="*/ 117163 w 607875"/>
                  <a:gd name="connsiteY62" fmla="*/ 415101 h 564347"/>
                  <a:gd name="connsiteX63" fmla="*/ 116789 w 607875"/>
                  <a:gd name="connsiteY63" fmla="*/ 415101 h 564347"/>
                  <a:gd name="connsiteX64" fmla="*/ 61901 w 607875"/>
                  <a:gd name="connsiteY64" fmla="*/ 329003 h 564347"/>
                  <a:gd name="connsiteX65" fmla="*/ 117163 w 607875"/>
                  <a:gd name="connsiteY65" fmla="*/ 272600 h 564347"/>
                  <a:gd name="connsiteX66" fmla="*/ 304208 w 607875"/>
                  <a:gd name="connsiteY66" fmla="*/ 201351 h 564347"/>
                  <a:gd name="connsiteX67" fmla="*/ 372752 w 607875"/>
                  <a:gd name="connsiteY67" fmla="*/ 271567 h 564347"/>
                  <a:gd name="connsiteX68" fmla="*/ 304582 w 607875"/>
                  <a:gd name="connsiteY68" fmla="*/ 378759 h 564347"/>
                  <a:gd name="connsiteX69" fmla="*/ 304114 w 607875"/>
                  <a:gd name="connsiteY69" fmla="*/ 378759 h 564347"/>
                  <a:gd name="connsiteX70" fmla="*/ 303553 w 607875"/>
                  <a:gd name="connsiteY70" fmla="*/ 378759 h 564347"/>
                  <a:gd name="connsiteX71" fmla="*/ 235664 w 607875"/>
                  <a:gd name="connsiteY71" fmla="*/ 271567 h 564347"/>
                  <a:gd name="connsiteX72" fmla="*/ 304208 w 607875"/>
                  <a:gd name="connsiteY72" fmla="*/ 201351 h 564347"/>
                  <a:gd name="connsiteX73" fmla="*/ 494205 w 607875"/>
                  <a:gd name="connsiteY73" fmla="*/ 39916 h 564347"/>
                  <a:gd name="connsiteX74" fmla="*/ 489342 w 607875"/>
                  <a:gd name="connsiteY74" fmla="*/ 44865 h 564347"/>
                  <a:gd name="connsiteX75" fmla="*/ 489342 w 607875"/>
                  <a:gd name="connsiteY75" fmla="*/ 50374 h 564347"/>
                  <a:gd name="connsiteX76" fmla="*/ 484104 w 607875"/>
                  <a:gd name="connsiteY76" fmla="*/ 57563 h 564347"/>
                  <a:gd name="connsiteX77" fmla="*/ 462779 w 607875"/>
                  <a:gd name="connsiteY77" fmla="*/ 84548 h 564347"/>
                  <a:gd name="connsiteX78" fmla="*/ 478492 w 607875"/>
                  <a:gd name="connsiteY78" fmla="*/ 111065 h 564347"/>
                  <a:gd name="connsiteX79" fmla="*/ 498040 w 607875"/>
                  <a:gd name="connsiteY79" fmla="*/ 119935 h 564347"/>
                  <a:gd name="connsiteX80" fmla="*/ 505148 w 607875"/>
                  <a:gd name="connsiteY80" fmla="*/ 124137 h 564347"/>
                  <a:gd name="connsiteX81" fmla="*/ 502810 w 607875"/>
                  <a:gd name="connsiteY81" fmla="*/ 141224 h 564347"/>
                  <a:gd name="connsiteX82" fmla="*/ 490184 w 607875"/>
                  <a:gd name="connsiteY82" fmla="*/ 142811 h 564347"/>
                  <a:gd name="connsiteX83" fmla="*/ 471010 w 607875"/>
                  <a:gd name="connsiteY83" fmla="*/ 137116 h 564347"/>
                  <a:gd name="connsiteX84" fmla="*/ 465305 w 607875"/>
                  <a:gd name="connsiteY84" fmla="*/ 139637 h 564347"/>
                  <a:gd name="connsiteX85" fmla="*/ 462405 w 607875"/>
                  <a:gd name="connsiteY85" fmla="*/ 149534 h 564347"/>
                  <a:gd name="connsiteX86" fmla="*/ 466146 w 607875"/>
                  <a:gd name="connsiteY86" fmla="*/ 157004 h 564347"/>
                  <a:gd name="connsiteX87" fmla="*/ 483356 w 607875"/>
                  <a:gd name="connsiteY87" fmla="*/ 162046 h 564347"/>
                  <a:gd name="connsiteX88" fmla="*/ 488219 w 607875"/>
                  <a:gd name="connsiteY88" fmla="*/ 167741 h 564347"/>
                  <a:gd name="connsiteX89" fmla="*/ 488219 w 607875"/>
                  <a:gd name="connsiteY89" fmla="*/ 174371 h 564347"/>
                  <a:gd name="connsiteX90" fmla="*/ 492428 w 607875"/>
                  <a:gd name="connsiteY90" fmla="*/ 178666 h 564347"/>
                  <a:gd name="connsiteX91" fmla="*/ 502155 w 607875"/>
                  <a:gd name="connsiteY91" fmla="*/ 178666 h 564347"/>
                  <a:gd name="connsiteX92" fmla="*/ 506177 w 607875"/>
                  <a:gd name="connsiteY92" fmla="*/ 174464 h 564347"/>
                  <a:gd name="connsiteX93" fmla="*/ 506177 w 607875"/>
                  <a:gd name="connsiteY93" fmla="*/ 165501 h 564347"/>
                  <a:gd name="connsiteX94" fmla="*/ 510292 w 607875"/>
                  <a:gd name="connsiteY94" fmla="*/ 160178 h 564347"/>
                  <a:gd name="connsiteX95" fmla="*/ 527221 w 607875"/>
                  <a:gd name="connsiteY95" fmla="*/ 149347 h 564347"/>
                  <a:gd name="connsiteX96" fmla="*/ 517401 w 607875"/>
                  <a:gd name="connsiteY96" fmla="*/ 102848 h 564347"/>
                  <a:gd name="connsiteX97" fmla="*/ 500285 w 607875"/>
                  <a:gd name="connsiteY97" fmla="*/ 95192 h 564347"/>
                  <a:gd name="connsiteX98" fmla="*/ 490932 w 607875"/>
                  <a:gd name="connsiteY98" fmla="*/ 89963 h 564347"/>
                  <a:gd name="connsiteX99" fmla="*/ 492989 w 607875"/>
                  <a:gd name="connsiteY99" fmla="*/ 75491 h 564347"/>
                  <a:gd name="connsiteX100" fmla="*/ 498695 w 607875"/>
                  <a:gd name="connsiteY100" fmla="*/ 74370 h 564347"/>
                  <a:gd name="connsiteX101" fmla="*/ 520300 w 607875"/>
                  <a:gd name="connsiteY101" fmla="*/ 78572 h 564347"/>
                  <a:gd name="connsiteX102" fmla="*/ 525912 w 607875"/>
                  <a:gd name="connsiteY102" fmla="*/ 76238 h 564347"/>
                  <a:gd name="connsiteX103" fmla="*/ 529279 w 607875"/>
                  <a:gd name="connsiteY103" fmla="*/ 64940 h 564347"/>
                  <a:gd name="connsiteX104" fmla="*/ 526660 w 607875"/>
                  <a:gd name="connsiteY104" fmla="*/ 59711 h 564347"/>
                  <a:gd name="connsiteX105" fmla="*/ 513005 w 607875"/>
                  <a:gd name="connsiteY105" fmla="*/ 55696 h 564347"/>
                  <a:gd name="connsiteX106" fmla="*/ 506832 w 607875"/>
                  <a:gd name="connsiteY106" fmla="*/ 48600 h 564347"/>
                  <a:gd name="connsiteX107" fmla="*/ 498040 w 607875"/>
                  <a:gd name="connsiteY107" fmla="*/ 39916 h 564347"/>
                  <a:gd name="connsiteX108" fmla="*/ 497993 w 607875"/>
                  <a:gd name="connsiteY108" fmla="*/ 0 h 564347"/>
                  <a:gd name="connsiteX109" fmla="*/ 575483 w 607875"/>
                  <a:gd name="connsiteY109" fmla="*/ 32073 h 564347"/>
                  <a:gd name="connsiteX110" fmla="*/ 575483 w 607875"/>
                  <a:gd name="connsiteY110" fmla="*/ 186789 h 564347"/>
                  <a:gd name="connsiteX111" fmla="*/ 442577 w 607875"/>
                  <a:gd name="connsiteY111" fmla="*/ 203876 h 564347"/>
                  <a:gd name="connsiteX112" fmla="*/ 442296 w 607875"/>
                  <a:gd name="connsiteY112" fmla="*/ 203596 h 564347"/>
                  <a:gd name="connsiteX113" fmla="*/ 395719 w 607875"/>
                  <a:gd name="connsiteY113" fmla="*/ 216294 h 564347"/>
                  <a:gd name="connsiteX114" fmla="*/ 394409 w 607875"/>
                  <a:gd name="connsiteY114" fmla="*/ 208358 h 564347"/>
                  <a:gd name="connsiteX115" fmla="*/ 417043 w 607875"/>
                  <a:gd name="connsiteY115" fmla="*/ 182774 h 564347"/>
                  <a:gd name="connsiteX116" fmla="*/ 415921 w 607875"/>
                  <a:gd name="connsiteY116" fmla="*/ 181840 h 564347"/>
                  <a:gd name="connsiteX117" fmla="*/ 420504 w 607875"/>
                  <a:gd name="connsiteY117" fmla="*/ 32073 h 564347"/>
                  <a:gd name="connsiteX118" fmla="*/ 497993 w 607875"/>
                  <a:gd name="connsiteY118" fmla="*/ 0 h 564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607875" h="564347">
                    <a:moveTo>
                      <a:pt x="252689" y="396825"/>
                    </a:moveTo>
                    <a:lnTo>
                      <a:pt x="280371" y="484228"/>
                    </a:lnTo>
                    <a:lnTo>
                      <a:pt x="296643" y="438472"/>
                    </a:lnTo>
                    <a:cubicBezTo>
                      <a:pt x="268213" y="398879"/>
                      <a:pt x="298607" y="396825"/>
                      <a:pt x="303937" y="396825"/>
                    </a:cubicBezTo>
                    <a:lnTo>
                      <a:pt x="304124" y="396825"/>
                    </a:lnTo>
                    <a:lnTo>
                      <a:pt x="304218" y="396825"/>
                    </a:lnTo>
                    <a:cubicBezTo>
                      <a:pt x="309549" y="397012"/>
                      <a:pt x="340036" y="398879"/>
                      <a:pt x="311606" y="438472"/>
                    </a:cubicBezTo>
                    <a:lnTo>
                      <a:pt x="327785" y="484228"/>
                    </a:lnTo>
                    <a:lnTo>
                      <a:pt x="355467" y="396825"/>
                    </a:lnTo>
                    <a:cubicBezTo>
                      <a:pt x="355467" y="396825"/>
                      <a:pt x="390256" y="413633"/>
                      <a:pt x="421304" y="433243"/>
                    </a:cubicBezTo>
                    <a:cubicBezTo>
                      <a:pt x="424577" y="435204"/>
                      <a:pt x="427383" y="437352"/>
                      <a:pt x="430002" y="439406"/>
                    </a:cubicBezTo>
                    <a:cubicBezTo>
                      <a:pt x="441224" y="433430"/>
                      <a:pt x="449266" y="429601"/>
                      <a:pt x="449266" y="429601"/>
                    </a:cubicBezTo>
                    <a:lnTo>
                      <a:pt x="471431" y="499822"/>
                    </a:lnTo>
                    <a:lnTo>
                      <a:pt x="484430" y="462937"/>
                    </a:lnTo>
                    <a:cubicBezTo>
                      <a:pt x="461611" y="431189"/>
                      <a:pt x="486020" y="429601"/>
                      <a:pt x="490415" y="429601"/>
                    </a:cubicBezTo>
                    <a:lnTo>
                      <a:pt x="490508" y="429601"/>
                    </a:lnTo>
                    <a:lnTo>
                      <a:pt x="490602" y="429601"/>
                    </a:lnTo>
                    <a:cubicBezTo>
                      <a:pt x="494997" y="429601"/>
                      <a:pt x="519406" y="431189"/>
                      <a:pt x="496587" y="462937"/>
                    </a:cubicBezTo>
                    <a:lnTo>
                      <a:pt x="509586" y="499822"/>
                    </a:lnTo>
                    <a:lnTo>
                      <a:pt x="531937" y="429321"/>
                    </a:lnTo>
                    <a:cubicBezTo>
                      <a:pt x="531937" y="429321"/>
                      <a:pt x="559806" y="442954"/>
                      <a:pt x="584869" y="458642"/>
                    </a:cubicBezTo>
                    <a:cubicBezTo>
                      <a:pt x="603854" y="470408"/>
                      <a:pt x="607314" y="483294"/>
                      <a:pt x="607875" y="501690"/>
                    </a:cubicBezTo>
                    <a:lnTo>
                      <a:pt x="607875" y="501970"/>
                    </a:lnTo>
                    <a:lnTo>
                      <a:pt x="607875" y="503277"/>
                    </a:lnTo>
                    <a:cubicBezTo>
                      <a:pt x="607875" y="506919"/>
                      <a:pt x="607875" y="510654"/>
                      <a:pt x="607688" y="514856"/>
                    </a:cubicBezTo>
                    <a:lnTo>
                      <a:pt x="607688" y="564347"/>
                    </a:lnTo>
                    <a:lnTo>
                      <a:pt x="490415" y="564347"/>
                    </a:lnTo>
                    <a:lnTo>
                      <a:pt x="449828" y="564347"/>
                    </a:lnTo>
                    <a:lnTo>
                      <a:pt x="373329" y="564347"/>
                    </a:lnTo>
                    <a:lnTo>
                      <a:pt x="303844" y="564347"/>
                    </a:lnTo>
                    <a:lnTo>
                      <a:pt x="234359" y="564347"/>
                    </a:lnTo>
                    <a:lnTo>
                      <a:pt x="158234" y="564347"/>
                    </a:lnTo>
                    <a:lnTo>
                      <a:pt x="117273" y="564347"/>
                    </a:lnTo>
                    <a:lnTo>
                      <a:pt x="0" y="564347"/>
                    </a:lnTo>
                    <a:lnTo>
                      <a:pt x="0" y="514856"/>
                    </a:lnTo>
                    <a:lnTo>
                      <a:pt x="0" y="513549"/>
                    </a:lnTo>
                    <a:lnTo>
                      <a:pt x="0" y="503557"/>
                    </a:lnTo>
                    <a:lnTo>
                      <a:pt x="0" y="502157"/>
                    </a:lnTo>
                    <a:lnTo>
                      <a:pt x="0" y="501970"/>
                    </a:lnTo>
                    <a:cubicBezTo>
                      <a:pt x="561" y="483387"/>
                      <a:pt x="4115" y="470688"/>
                      <a:pt x="22912" y="458829"/>
                    </a:cubicBezTo>
                    <a:cubicBezTo>
                      <a:pt x="47975" y="443141"/>
                      <a:pt x="75938" y="429601"/>
                      <a:pt x="75938" y="429601"/>
                    </a:cubicBezTo>
                    <a:lnTo>
                      <a:pt x="98102" y="499822"/>
                    </a:lnTo>
                    <a:lnTo>
                      <a:pt x="111194" y="462937"/>
                    </a:lnTo>
                    <a:cubicBezTo>
                      <a:pt x="88376" y="431189"/>
                      <a:pt x="112784" y="429601"/>
                      <a:pt x="117180" y="429601"/>
                    </a:cubicBezTo>
                    <a:lnTo>
                      <a:pt x="117273" y="429601"/>
                    </a:lnTo>
                    <a:lnTo>
                      <a:pt x="117460" y="429601"/>
                    </a:lnTo>
                    <a:cubicBezTo>
                      <a:pt x="121762" y="429601"/>
                      <a:pt x="146264" y="431189"/>
                      <a:pt x="123445" y="462937"/>
                    </a:cubicBezTo>
                    <a:lnTo>
                      <a:pt x="136351" y="499822"/>
                    </a:lnTo>
                    <a:lnTo>
                      <a:pt x="158609" y="429601"/>
                    </a:lnTo>
                    <a:cubicBezTo>
                      <a:pt x="158609" y="429601"/>
                      <a:pt x="166651" y="433430"/>
                      <a:pt x="178061" y="439593"/>
                    </a:cubicBezTo>
                    <a:cubicBezTo>
                      <a:pt x="180679" y="437445"/>
                      <a:pt x="183485" y="435297"/>
                      <a:pt x="186851" y="433243"/>
                    </a:cubicBezTo>
                    <a:cubicBezTo>
                      <a:pt x="217900" y="413633"/>
                      <a:pt x="252689" y="396825"/>
                      <a:pt x="252689" y="396825"/>
                    </a:cubicBezTo>
                    <a:close/>
                    <a:moveTo>
                      <a:pt x="490513" y="272600"/>
                    </a:moveTo>
                    <a:cubicBezTo>
                      <a:pt x="495282" y="272320"/>
                      <a:pt x="543167" y="271853"/>
                      <a:pt x="545786" y="329003"/>
                    </a:cubicBezTo>
                    <a:cubicBezTo>
                      <a:pt x="545786" y="329003"/>
                      <a:pt x="554951" y="414541"/>
                      <a:pt x="490887" y="415101"/>
                    </a:cubicBezTo>
                    <a:lnTo>
                      <a:pt x="490513" y="415101"/>
                    </a:lnTo>
                    <a:lnTo>
                      <a:pt x="490138" y="415101"/>
                    </a:lnTo>
                    <a:cubicBezTo>
                      <a:pt x="425887" y="414541"/>
                      <a:pt x="435240" y="329003"/>
                      <a:pt x="435240" y="329003"/>
                    </a:cubicBezTo>
                    <a:cubicBezTo>
                      <a:pt x="437858" y="271946"/>
                      <a:pt x="485743" y="272320"/>
                      <a:pt x="490513" y="272600"/>
                    </a:cubicBezTo>
                    <a:close/>
                    <a:moveTo>
                      <a:pt x="117163" y="272600"/>
                    </a:moveTo>
                    <a:cubicBezTo>
                      <a:pt x="121932" y="272320"/>
                      <a:pt x="169807" y="271853"/>
                      <a:pt x="172425" y="329003"/>
                    </a:cubicBezTo>
                    <a:cubicBezTo>
                      <a:pt x="172425" y="329003"/>
                      <a:pt x="181589" y="414541"/>
                      <a:pt x="117537" y="415101"/>
                    </a:cubicBezTo>
                    <a:lnTo>
                      <a:pt x="117163" y="415101"/>
                    </a:lnTo>
                    <a:lnTo>
                      <a:pt x="116789" y="415101"/>
                    </a:lnTo>
                    <a:cubicBezTo>
                      <a:pt x="52737" y="414354"/>
                      <a:pt x="61901" y="329003"/>
                      <a:pt x="61901" y="329003"/>
                    </a:cubicBezTo>
                    <a:cubicBezTo>
                      <a:pt x="64519" y="271946"/>
                      <a:pt x="112394" y="272320"/>
                      <a:pt x="117163" y="272600"/>
                    </a:cubicBezTo>
                    <a:close/>
                    <a:moveTo>
                      <a:pt x="304208" y="201351"/>
                    </a:moveTo>
                    <a:cubicBezTo>
                      <a:pt x="310099" y="201071"/>
                      <a:pt x="369573" y="200604"/>
                      <a:pt x="372752" y="271567"/>
                    </a:cubicBezTo>
                    <a:cubicBezTo>
                      <a:pt x="372752" y="271567"/>
                      <a:pt x="384254" y="377919"/>
                      <a:pt x="304582" y="378759"/>
                    </a:cubicBezTo>
                    <a:lnTo>
                      <a:pt x="304114" y="378759"/>
                    </a:lnTo>
                    <a:lnTo>
                      <a:pt x="303553" y="378759"/>
                    </a:lnTo>
                    <a:cubicBezTo>
                      <a:pt x="223788" y="378012"/>
                      <a:pt x="235383" y="271661"/>
                      <a:pt x="235664" y="271567"/>
                    </a:cubicBezTo>
                    <a:cubicBezTo>
                      <a:pt x="238843" y="200511"/>
                      <a:pt x="298317" y="201071"/>
                      <a:pt x="304208" y="201351"/>
                    </a:cubicBezTo>
                    <a:close/>
                    <a:moveTo>
                      <a:pt x="494205" y="39916"/>
                    </a:moveTo>
                    <a:cubicBezTo>
                      <a:pt x="490090" y="40010"/>
                      <a:pt x="489435" y="40757"/>
                      <a:pt x="489342" y="44865"/>
                    </a:cubicBezTo>
                    <a:lnTo>
                      <a:pt x="489342" y="50374"/>
                    </a:lnTo>
                    <a:cubicBezTo>
                      <a:pt x="489342" y="55696"/>
                      <a:pt x="489342" y="55696"/>
                      <a:pt x="484104" y="57563"/>
                    </a:cubicBezTo>
                    <a:cubicBezTo>
                      <a:pt x="471384" y="62139"/>
                      <a:pt x="463621" y="70729"/>
                      <a:pt x="462779" y="84548"/>
                    </a:cubicBezTo>
                    <a:cubicBezTo>
                      <a:pt x="462031" y="96873"/>
                      <a:pt x="468391" y="105089"/>
                      <a:pt x="478492" y="111065"/>
                    </a:cubicBezTo>
                    <a:cubicBezTo>
                      <a:pt x="484759" y="114800"/>
                      <a:pt x="491493" y="117041"/>
                      <a:pt x="498040" y="119935"/>
                    </a:cubicBezTo>
                    <a:cubicBezTo>
                      <a:pt x="500565" y="121056"/>
                      <a:pt x="503091" y="122456"/>
                      <a:pt x="505148" y="124137"/>
                    </a:cubicBezTo>
                    <a:cubicBezTo>
                      <a:pt x="511415" y="129272"/>
                      <a:pt x="510292" y="137956"/>
                      <a:pt x="502810" y="141224"/>
                    </a:cubicBezTo>
                    <a:cubicBezTo>
                      <a:pt x="498788" y="142998"/>
                      <a:pt x="494579" y="143372"/>
                      <a:pt x="490184" y="142811"/>
                    </a:cubicBezTo>
                    <a:cubicBezTo>
                      <a:pt x="483449" y="141971"/>
                      <a:pt x="476996" y="140197"/>
                      <a:pt x="471010" y="137116"/>
                    </a:cubicBezTo>
                    <a:cubicBezTo>
                      <a:pt x="467549" y="135248"/>
                      <a:pt x="466521" y="135715"/>
                      <a:pt x="465305" y="139637"/>
                    </a:cubicBezTo>
                    <a:cubicBezTo>
                      <a:pt x="464276" y="142811"/>
                      <a:pt x="463247" y="146173"/>
                      <a:pt x="462405" y="149534"/>
                    </a:cubicBezTo>
                    <a:cubicBezTo>
                      <a:pt x="461283" y="154203"/>
                      <a:pt x="461657" y="155136"/>
                      <a:pt x="466146" y="157004"/>
                    </a:cubicBezTo>
                    <a:cubicBezTo>
                      <a:pt x="471478" y="159805"/>
                      <a:pt x="477370" y="161019"/>
                      <a:pt x="483356" y="162046"/>
                    </a:cubicBezTo>
                    <a:cubicBezTo>
                      <a:pt x="487939" y="162793"/>
                      <a:pt x="488219" y="162886"/>
                      <a:pt x="488219" y="167741"/>
                    </a:cubicBezTo>
                    <a:lnTo>
                      <a:pt x="488219" y="174371"/>
                    </a:lnTo>
                    <a:cubicBezTo>
                      <a:pt x="488313" y="177079"/>
                      <a:pt x="489622" y="178666"/>
                      <a:pt x="492428" y="178666"/>
                    </a:cubicBezTo>
                    <a:cubicBezTo>
                      <a:pt x="495702" y="178853"/>
                      <a:pt x="498975" y="178853"/>
                      <a:pt x="502155" y="178666"/>
                    </a:cubicBezTo>
                    <a:cubicBezTo>
                      <a:pt x="504774" y="178572"/>
                      <a:pt x="506177" y="177172"/>
                      <a:pt x="506177" y="174464"/>
                    </a:cubicBezTo>
                    <a:cubicBezTo>
                      <a:pt x="506177" y="171476"/>
                      <a:pt x="506271" y="168488"/>
                      <a:pt x="506177" y="165501"/>
                    </a:cubicBezTo>
                    <a:cubicBezTo>
                      <a:pt x="506084" y="162513"/>
                      <a:pt x="507299" y="160925"/>
                      <a:pt x="510292" y="160178"/>
                    </a:cubicBezTo>
                    <a:cubicBezTo>
                      <a:pt x="517027" y="158311"/>
                      <a:pt x="522732" y="154669"/>
                      <a:pt x="527221" y="149347"/>
                    </a:cubicBezTo>
                    <a:cubicBezTo>
                      <a:pt x="539567" y="134408"/>
                      <a:pt x="534891" y="112466"/>
                      <a:pt x="517401" y="102848"/>
                    </a:cubicBezTo>
                    <a:cubicBezTo>
                      <a:pt x="511882" y="99861"/>
                      <a:pt x="506084" y="97526"/>
                      <a:pt x="500285" y="95192"/>
                    </a:cubicBezTo>
                    <a:cubicBezTo>
                      <a:pt x="496918" y="93791"/>
                      <a:pt x="493738" y="92204"/>
                      <a:pt x="490932" y="89963"/>
                    </a:cubicBezTo>
                    <a:cubicBezTo>
                      <a:pt x="485320" y="85481"/>
                      <a:pt x="486442" y="78385"/>
                      <a:pt x="492989" y="75491"/>
                    </a:cubicBezTo>
                    <a:cubicBezTo>
                      <a:pt x="494860" y="74744"/>
                      <a:pt x="496731" y="74464"/>
                      <a:pt x="498695" y="74370"/>
                    </a:cubicBezTo>
                    <a:cubicBezTo>
                      <a:pt x="506271" y="73997"/>
                      <a:pt x="513379" y="75397"/>
                      <a:pt x="520300" y="78572"/>
                    </a:cubicBezTo>
                    <a:cubicBezTo>
                      <a:pt x="523667" y="80253"/>
                      <a:pt x="524790" y="79692"/>
                      <a:pt x="525912" y="76238"/>
                    </a:cubicBezTo>
                    <a:cubicBezTo>
                      <a:pt x="527128" y="72503"/>
                      <a:pt x="528157" y="68675"/>
                      <a:pt x="529279" y="64940"/>
                    </a:cubicBezTo>
                    <a:cubicBezTo>
                      <a:pt x="530027" y="62419"/>
                      <a:pt x="528998" y="60831"/>
                      <a:pt x="526660" y="59711"/>
                    </a:cubicBezTo>
                    <a:cubicBezTo>
                      <a:pt x="522264" y="57844"/>
                      <a:pt x="517775" y="56443"/>
                      <a:pt x="513005" y="55696"/>
                    </a:cubicBezTo>
                    <a:cubicBezTo>
                      <a:pt x="506832" y="54856"/>
                      <a:pt x="506832" y="54856"/>
                      <a:pt x="506832" y="48600"/>
                    </a:cubicBezTo>
                    <a:cubicBezTo>
                      <a:pt x="506832" y="39916"/>
                      <a:pt x="506832" y="39916"/>
                      <a:pt x="498040" y="39916"/>
                    </a:cubicBezTo>
                    <a:close/>
                    <a:moveTo>
                      <a:pt x="497993" y="0"/>
                    </a:moveTo>
                    <a:cubicBezTo>
                      <a:pt x="526052" y="0"/>
                      <a:pt x="554111" y="10691"/>
                      <a:pt x="575483" y="32073"/>
                    </a:cubicBezTo>
                    <a:cubicBezTo>
                      <a:pt x="618319" y="74744"/>
                      <a:pt x="618319" y="144119"/>
                      <a:pt x="575483" y="186789"/>
                    </a:cubicBezTo>
                    <a:cubicBezTo>
                      <a:pt x="539474" y="222924"/>
                      <a:pt x="484572" y="228526"/>
                      <a:pt x="442577" y="203876"/>
                    </a:cubicBezTo>
                    <a:lnTo>
                      <a:pt x="442296" y="203596"/>
                    </a:lnTo>
                    <a:cubicBezTo>
                      <a:pt x="425742" y="216014"/>
                      <a:pt x="408065" y="218162"/>
                      <a:pt x="395719" y="216294"/>
                    </a:cubicBezTo>
                    <a:cubicBezTo>
                      <a:pt x="391603" y="215641"/>
                      <a:pt x="390668" y="210225"/>
                      <a:pt x="394409" y="208358"/>
                    </a:cubicBezTo>
                    <a:cubicBezTo>
                      <a:pt x="405820" y="202756"/>
                      <a:pt x="412928" y="191738"/>
                      <a:pt x="417043" y="182774"/>
                    </a:cubicBezTo>
                    <a:lnTo>
                      <a:pt x="415921" y="181840"/>
                    </a:lnTo>
                    <a:cubicBezTo>
                      <a:pt x="377761" y="138890"/>
                      <a:pt x="379351" y="73156"/>
                      <a:pt x="420504" y="32073"/>
                    </a:cubicBezTo>
                    <a:cubicBezTo>
                      <a:pt x="441876" y="10691"/>
                      <a:pt x="469934" y="0"/>
                      <a:pt x="49799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</p:grpSp>
      <p:pic>
        <p:nvPicPr>
          <p:cNvPr id="37" name="图片 36" descr="图示&#10;&#10;描述已自动生成">
            <a:extLst>
              <a:ext uri="{FF2B5EF4-FFF2-40B4-BE49-F238E27FC236}">
                <a16:creationId xmlns:a16="http://schemas.microsoft.com/office/drawing/2014/main" id="{0352CB45-C982-44C8-A537-9473312DC076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524191" y="3646793"/>
            <a:ext cx="4431665" cy="3144520"/>
          </a:xfrm>
          <a:prstGeom prst="rect">
            <a:avLst/>
          </a:prstGeom>
        </p:spPr>
      </p:pic>
      <p:pic>
        <p:nvPicPr>
          <p:cNvPr id="38" name="图片 37" descr="图示&#10;&#10;描述已自动生成">
            <a:extLst>
              <a:ext uri="{FF2B5EF4-FFF2-40B4-BE49-F238E27FC236}">
                <a16:creationId xmlns:a16="http://schemas.microsoft.com/office/drawing/2014/main" id="{F7376282-E57F-49FE-9917-AC9B646E1B2E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7057538" y="2558853"/>
            <a:ext cx="4945072" cy="3887991"/>
          </a:xfrm>
          <a:prstGeom prst="rect">
            <a:avLst/>
          </a:prstGeom>
        </p:spPr>
      </p:pic>
      <p:sp>
        <p:nvSpPr>
          <p:cNvPr id="39" name="文本框 38">
            <a:extLst>
              <a:ext uri="{FF2B5EF4-FFF2-40B4-BE49-F238E27FC236}">
                <a16:creationId xmlns:a16="http://schemas.microsoft.com/office/drawing/2014/main" id="{FBBB57AE-FE3F-49D6-A2A9-D5961EC067D4}"/>
              </a:ext>
            </a:extLst>
          </p:cNvPr>
          <p:cNvSpPr txBox="1"/>
          <p:nvPr/>
        </p:nvSpPr>
        <p:spPr>
          <a:xfrm>
            <a:off x="3288130" y="4917843"/>
            <a:ext cx="2663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n</a:t>
            </a:r>
            <a:endParaRPr lang="zh-CN" altLang="en-US" dirty="0"/>
          </a:p>
        </p:txBody>
      </p:sp>
      <p:pic>
        <p:nvPicPr>
          <p:cNvPr id="42" name="音频 41">
            <a:hlinkClick r:id="" action="ppaction://media"/>
            <a:extLst>
              <a:ext uri="{FF2B5EF4-FFF2-40B4-BE49-F238E27FC236}">
                <a16:creationId xmlns:a16="http://schemas.microsoft.com/office/drawing/2014/main" id="{BCBF8A08-6024-41C1-861A-AAB4F425BE94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02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717"/>
    </mc:Choice>
    <mc:Fallback xmlns="">
      <p:transition spd="slow" advTm="771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2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3C37C3-9AAC-4A55-9678-FA1076F13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整体</a:t>
            </a:r>
            <a:r>
              <a:rPr lang="en-US" altLang="zh-CN" dirty="0"/>
              <a:t>E-R</a:t>
            </a:r>
            <a:r>
              <a:rPr lang="zh-CN" altLang="en-US" dirty="0"/>
              <a:t>图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179914C-8FD4-4E17-BBCF-368DF82B7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38" name="图片 37" descr="图示&#10;&#10;描述已自动生成">
            <a:extLst>
              <a:ext uri="{FF2B5EF4-FFF2-40B4-BE49-F238E27FC236}">
                <a16:creationId xmlns:a16="http://schemas.microsoft.com/office/drawing/2014/main" id="{2D152A03-C093-422C-96F8-6B7CA2819723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674920" y="1028700"/>
            <a:ext cx="8842159" cy="541814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4651E99F-8AAB-4A68-9A1E-F2370DB91909}"/>
              </a:ext>
            </a:extLst>
          </p:cNvPr>
          <p:cNvSpPr txBox="1"/>
          <p:nvPr/>
        </p:nvSpPr>
        <p:spPr>
          <a:xfrm>
            <a:off x="5823751" y="3737772"/>
            <a:ext cx="272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n</a:t>
            </a:r>
            <a:endParaRPr lang="zh-CN" altLang="en-US" dirty="0"/>
          </a:p>
        </p:txBody>
      </p:sp>
      <p:pic>
        <p:nvPicPr>
          <p:cNvPr id="7" name="音频 6">
            <a:hlinkClick r:id="" action="ppaction://media"/>
            <a:extLst>
              <a:ext uri="{FF2B5EF4-FFF2-40B4-BE49-F238E27FC236}">
                <a16:creationId xmlns:a16="http://schemas.microsoft.com/office/drawing/2014/main" id="{9D84B11D-3127-41E1-BF8A-7693F89348E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718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952"/>
    </mc:Choice>
    <mc:Fallback xmlns="">
      <p:transition spd="slow" advTm="795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划分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067425" y="250861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F9082C7C-4131-4C95-8EF1-95B543B9BA17}"/>
              </a:ext>
            </a:extLst>
          </p:cNvPr>
          <p:cNvCxnSpPr>
            <a:cxnSpLocks/>
          </p:cNvCxnSpPr>
          <p:nvPr/>
        </p:nvCxnSpPr>
        <p:spPr>
          <a:xfrm>
            <a:off x="6048375" y="3536829"/>
            <a:ext cx="40825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音频 6">
            <a:hlinkClick r:id="" action="ppaction://media"/>
            <a:extLst>
              <a:ext uri="{FF2B5EF4-FFF2-40B4-BE49-F238E27FC236}">
                <a16:creationId xmlns:a16="http://schemas.microsoft.com/office/drawing/2014/main" id="{ECA355FC-B1EC-4095-BA2E-1F78811F2B5B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24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29"/>
    </mc:Choice>
    <mc:Fallback xmlns="">
      <p:transition spd="slow" advTm="202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059B27-A07A-405C-938B-4EBBF1C45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块划分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4A1E0CB-C06D-46E1-AED5-0EE378F711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49749E0-EF83-47C3-89D3-CE92E7CB31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47" name="图片 46">
            <a:extLst>
              <a:ext uri="{FF2B5EF4-FFF2-40B4-BE49-F238E27FC236}">
                <a16:creationId xmlns:a16="http://schemas.microsoft.com/office/drawing/2014/main" id="{993A0BCE-CCB2-42AC-964D-D35E18F3AC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1" y="1317939"/>
            <a:ext cx="7357237" cy="4222122"/>
          </a:xfrm>
          <a:prstGeom prst="rect">
            <a:avLst/>
          </a:prstGeom>
        </p:spPr>
      </p:pic>
      <p:pic>
        <p:nvPicPr>
          <p:cNvPr id="45" name="图片 44">
            <a:extLst>
              <a:ext uri="{FF2B5EF4-FFF2-40B4-BE49-F238E27FC236}">
                <a16:creationId xmlns:a16="http://schemas.microsoft.com/office/drawing/2014/main" id="{7FF74630-978C-4058-A2BC-3252F9D3A6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4451" y="1317939"/>
            <a:ext cx="6595457" cy="398835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 xmlns:iact="http://schemas.microsoft.com/office/powerpoint/2014/inkAction">
        <mc:Choice Requires="p14 iact">
          <p:contentPart p14:bwMode="auto" r:id="rId6">
            <p14:nvContentPartPr>
              <p14:cNvPr id="8" name="墨迹 7">
                <a:extLst>
                  <a:ext uri="{FF2B5EF4-FFF2-40B4-BE49-F238E27FC236}">
                    <a16:creationId xmlns:a16="http://schemas.microsoft.com/office/drawing/2014/main" id="{41183E27-5B76-4009-B768-75E1CA3B1C19}"/>
                  </a:ext>
                </a:extLst>
              </p14:cNvPr>
              <p14:cNvContentPartPr/>
              <p14:nvPr>
                <p:extLst>
                  <p:ext uri="{42D2F446-02D8-4167-A562-619A0277C38B}">
                    <p15:isNarration xmlns:p15="http://schemas.microsoft.com/office/powerpoint/2012/main" val="1"/>
                  </p:ext>
                </p:extLst>
              </p14:nvPr>
            </p14:nvContentPartPr>
            <p14:xfrm>
              <a:off x="1410480" y="3365280"/>
              <a:ext cx="10272240" cy="1461960"/>
            </p14:xfrm>
          </p:contentPart>
        </mc:Choice>
        <mc:Fallback xmlns="">
          <p:pic>
            <p:nvPicPr>
              <p:cNvPr id="8" name="墨迹 7">
                <a:extLst>
                  <a:ext uri="{FF2B5EF4-FFF2-40B4-BE49-F238E27FC236}">
                    <a16:creationId xmlns:a16="http://schemas.microsoft.com/office/drawing/2014/main" id="{41183E27-5B76-4009-B768-75E1CA3B1C1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394640" y="3301920"/>
                <a:ext cx="10303560" cy="1588680"/>
              </a:xfrm>
              <a:prstGeom prst="rect">
                <a:avLst/>
              </a:prstGeom>
            </p:spPr>
          </p:pic>
        </mc:Fallback>
      </mc:AlternateContent>
      <p:pic>
        <p:nvPicPr>
          <p:cNvPr id="9" name="音频 8">
            <a:hlinkClick r:id="" action="ppaction://media"/>
            <a:extLst>
              <a:ext uri="{FF2B5EF4-FFF2-40B4-BE49-F238E27FC236}">
                <a16:creationId xmlns:a16="http://schemas.microsoft.com/office/drawing/2014/main" id="{329108C2-5B41-49CC-A485-C0D6A79442A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4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501"/>
    </mc:Choice>
    <mc:Fallback xmlns="">
      <p:transition spd="slow" advTm="4450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5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cmd type="call" cmd="playFrom(0.0)">
                                      <p:cBhvr>
                                        <p:cTn id="9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9D8A715-B139-4819-9E1B-5D061ABE4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划分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AB88A48-20F5-492F-A09B-146E0BD235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9FB4190-7FD3-46BC-8445-2D320C751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pSp>
        <p:nvGrpSpPr>
          <p:cNvPr id="5" name="20422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9A697E5-31EE-4351-94E9-291E5139B48F}"/>
              </a:ext>
            </a:extLst>
          </p:cNvPr>
          <p:cNvGrpSpPr>
            <a:grpSpLocks noChangeAspect="1"/>
          </p:cNvGrpSpPr>
          <p:nvPr/>
        </p:nvGrpSpPr>
        <p:grpSpPr>
          <a:xfrm>
            <a:off x="660399" y="1382437"/>
            <a:ext cx="10858501" cy="4691370"/>
            <a:chOff x="660399" y="1382437"/>
            <a:chExt cx="10858501" cy="4691370"/>
          </a:xfrm>
        </p:grpSpPr>
        <p:sp>
          <p:nvSpPr>
            <p:cNvPr id="6" name="ïśḻiďè">
              <a:extLst>
                <a:ext uri="{FF2B5EF4-FFF2-40B4-BE49-F238E27FC236}">
                  <a16:creationId xmlns:a16="http://schemas.microsoft.com/office/drawing/2014/main" id="{1C638FE0-C63E-4D03-9248-784161AA52A9}"/>
                </a:ext>
              </a:extLst>
            </p:cNvPr>
            <p:cNvSpPr/>
            <p:nvPr/>
          </p:nvSpPr>
          <p:spPr>
            <a:xfrm>
              <a:off x="8281269" y="1382437"/>
              <a:ext cx="3237631" cy="2457136"/>
            </a:xfrm>
            <a:prstGeom prst="rect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 dirty="0"/>
            </a:p>
          </p:txBody>
        </p:sp>
        <p:sp>
          <p:nvSpPr>
            <p:cNvPr id="7" name="íṥliďê">
              <a:extLst>
                <a:ext uri="{FF2B5EF4-FFF2-40B4-BE49-F238E27FC236}">
                  <a16:creationId xmlns:a16="http://schemas.microsoft.com/office/drawing/2014/main" id="{01FCA232-CB68-4F83-9087-C304F14D3310}"/>
                </a:ext>
              </a:extLst>
            </p:cNvPr>
            <p:cNvSpPr/>
            <p:nvPr/>
          </p:nvSpPr>
          <p:spPr>
            <a:xfrm flipH="1">
              <a:off x="8281269" y="1383655"/>
              <a:ext cx="590790" cy="5642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34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934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8" name="ïṩľíďe">
              <a:extLst>
                <a:ext uri="{FF2B5EF4-FFF2-40B4-BE49-F238E27FC236}">
                  <a16:creationId xmlns:a16="http://schemas.microsoft.com/office/drawing/2014/main" id="{B4F2A9EF-A7F6-4347-B89D-29382C973512}"/>
                </a:ext>
              </a:extLst>
            </p:cNvPr>
            <p:cNvSpPr/>
            <p:nvPr/>
          </p:nvSpPr>
          <p:spPr>
            <a:xfrm>
              <a:off x="4784431" y="1627353"/>
              <a:ext cx="4087626" cy="27868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 dirty="0"/>
            </a:p>
          </p:txBody>
        </p:sp>
        <p:sp>
          <p:nvSpPr>
            <p:cNvPr id="9" name="îšľíde">
              <a:extLst>
                <a:ext uri="{FF2B5EF4-FFF2-40B4-BE49-F238E27FC236}">
                  <a16:creationId xmlns:a16="http://schemas.microsoft.com/office/drawing/2014/main" id="{3487858C-8B2E-499C-8E91-B8813E8BEBBD}"/>
                </a:ext>
              </a:extLst>
            </p:cNvPr>
            <p:cNvSpPr/>
            <p:nvPr/>
          </p:nvSpPr>
          <p:spPr>
            <a:xfrm flipH="1">
              <a:off x="4784435" y="1635534"/>
              <a:ext cx="887853" cy="8479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34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934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10" name="ïşľîḍê">
              <a:extLst>
                <a:ext uri="{FF2B5EF4-FFF2-40B4-BE49-F238E27FC236}">
                  <a16:creationId xmlns:a16="http://schemas.microsoft.com/office/drawing/2014/main" id="{5AD7159E-2337-4888-9252-892CEDB7DD12}"/>
                </a:ext>
              </a:extLst>
            </p:cNvPr>
            <p:cNvSpPr/>
            <p:nvPr/>
          </p:nvSpPr>
          <p:spPr>
            <a:xfrm>
              <a:off x="660399" y="2002219"/>
              <a:ext cx="5011886" cy="40715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grpSp>
          <p:nvGrpSpPr>
            <p:cNvPr id="11" name="îṧḷîḍê">
              <a:extLst>
                <a:ext uri="{FF2B5EF4-FFF2-40B4-BE49-F238E27FC236}">
                  <a16:creationId xmlns:a16="http://schemas.microsoft.com/office/drawing/2014/main" id="{5F8F9DDC-4CFB-4B2F-B521-B44476645D29}"/>
                </a:ext>
              </a:extLst>
            </p:cNvPr>
            <p:cNvGrpSpPr/>
            <p:nvPr/>
          </p:nvGrpSpPr>
          <p:grpSpPr>
            <a:xfrm>
              <a:off x="2479662" y="2474923"/>
              <a:ext cx="1139838" cy="1139838"/>
              <a:chOff x="5979741" y="471678"/>
              <a:chExt cx="622362" cy="622362"/>
            </a:xfrm>
          </p:grpSpPr>
          <p:sp>
            <p:nvSpPr>
              <p:cNvPr id="24" name="íṡḷîḓé">
                <a:extLst>
                  <a:ext uri="{FF2B5EF4-FFF2-40B4-BE49-F238E27FC236}">
                    <a16:creationId xmlns:a16="http://schemas.microsoft.com/office/drawing/2014/main" id="{5CBCA5B3-1EB7-4355-9904-F60A4A0FEB0C}"/>
                  </a:ext>
                </a:extLst>
              </p:cNvPr>
              <p:cNvSpPr/>
              <p:nvPr/>
            </p:nvSpPr>
            <p:spPr>
              <a:xfrm>
                <a:off x="5979741" y="471678"/>
                <a:ext cx="622362" cy="622362"/>
              </a:xfrm>
              <a:prstGeom prst="ellipse">
                <a:avLst/>
              </a:prstGeom>
              <a:solidFill>
                <a:schemeClr val="accent1"/>
              </a:solidFill>
              <a:ln w="28575" cap="flat">
                <a:solidFill>
                  <a:schemeClr val="bg1">
                    <a:lumMod val="95000"/>
                  </a:schemeClr>
                </a:solidFill>
                <a:miter lim="400000"/>
              </a:ln>
              <a:effectLst/>
            </p:spPr>
            <p:txBody>
              <a:bodyPr wrap="square" lIns="91440" tIns="45720" rIns="91440" bIns="45720" numCol="1" anchor="t">
                <a:normAutofit/>
              </a:bodyPr>
              <a:lstStyle/>
              <a:p>
                <a:endParaRPr/>
              </a:p>
            </p:txBody>
          </p:sp>
          <p:sp>
            <p:nvSpPr>
              <p:cNvPr id="25" name="îSļíḍê">
                <a:extLst>
                  <a:ext uri="{FF2B5EF4-FFF2-40B4-BE49-F238E27FC236}">
                    <a16:creationId xmlns:a16="http://schemas.microsoft.com/office/drawing/2014/main" id="{10FACEFA-BB9E-4EA5-A07C-09CFABF78AAF}"/>
                  </a:ext>
                </a:extLst>
              </p:cNvPr>
              <p:cNvSpPr/>
              <p:nvPr/>
            </p:nvSpPr>
            <p:spPr bwMode="auto">
              <a:xfrm>
                <a:off x="6127930" y="620114"/>
                <a:ext cx="325984" cy="325490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578649" h="594741">
                    <a:moveTo>
                      <a:pt x="411175" y="315251"/>
                    </a:moveTo>
                    <a:cubicBezTo>
                      <a:pt x="392328" y="315251"/>
                      <a:pt x="373301" y="322420"/>
                      <a:pt x="358940" y="336757"/>
                    </a:cubicBezTo>
                    <a:cubicBezTo>
                      <a:pt x="330220" y="365432"/>
                      <a:pt x="330220" y="411311"/>
                      <a:pt x="358940" y="439986"/>
                    </a:cubicBezTo>
                    <a:cubicBezTo>
                      <a:pt x="387661" y="468660"/>
                      <a:pt x="435049" y="468660"/>
                      <a:pt x="462333" y="439986"/>
                    </a:cubicBezTo>
                    <a:cubicBezTo>
                      <a:pt x="491053" y="411311"/>
                      <a:pt x="491053" y="365432"/>
                      <a:pt x="462333" y="336757"/>
                    </a:cubicBezTo>
                    <a:cubicBezTo>
                      <a:pt x="448691" y="322420"/>
                      <a:pt x="430023" y="315251"/>
                      <a:pt x="411175" y="315251"/>
                    </a:cubicBezTo>
                    <a:close/>
                    <a:moveTo>
                      <a:pt x="410816" y="276182"/>
                    </a:moveTo>
                    <a:cubicBezTo>
                      <a:pt x="439716" y="276182"/>
                      <a:pt x="468795" y="287293"/>
                      <a:pt x="491053" y="309516"/>
                    </a:cubicBezTo>
                    <a:cubicBezTo>
                      <a:pt x="525517" y="342492"/>
                      <a:pt x="532697" y="394106"/>
                      <a:pt x="514029" y="435685"/>
                    </a:cubicBezTo>
                    <a:lnTo>
                      <a:pt x="578649" y="500203"/>
                    </a:lnTo>
                    <a:lnTo>
                      <a:pt x="522645" y="556118"/>
                    </a:lnTo>
                    <a:lnTo>
                      <a:pt x="458025" y="491600"/>
                    </a:lnTo>
                    <a:cubicBezTo>
                      <a:pt x="416381" y="510239"/>
                      <a:pt x="366121" y="503070"/>
                      <a:pt x="331656" y="468660"/>
                    </a:cubicBezTo>
                    <a:cubicBezTo>
                      <a:pt x="287140" y="424215"/>
                      <a:pt x="287140" y="352528"/>
                      <a:pt x="331656" y="309516"/>
                    </a:cubicBezTo>
                    <a:cubicBezTo>
                      <a:pt x="353197" y="287293"/>
                      <a:pt x="381917" y="276182"/>
                      <a:pt x="410816" y="276182"/>
                    </a:cubicBezTo>
                    <a:close/>
                    <a:moveTo>
                      <a:pt x="134949" y="20001"/>
                    </a:moveTo>
                    <a:lnTo>
                      <a:pt x="134949" y="144835"/>
                    </a:lnTo>
                    <a:lnTo>
                      <a:pt x="17242" y="144835"/>
                    </a:lnTo>
                    <a:close/>
                    <a:moveTo>
                      <a:pt x="172278" y="0"/>
                    </a:moveTo>
                    <a:lnTo>
                      <a:pt x="480943" y="0"/>
                    </a:lnTo>
                    <a:lnTo>
                      <a:pt x="480943" y="276591"/>
                    </a:lnTo>
                    <a:cubicBezTo>
                      <a:pt x="460844" y="263693"/>
                      <a:pt x="436438" y="256527"/>
                      <a:pt x="410596" y="256527"/>
                    </a:cubicBezTo>
                    <a:cubicBezTo>
                      <a:pt x="381883" y="256527"/>
                      <a:pt x="354606" y="265126"/>
                      <a:pt x="331636" y="282323"/>
                    </a:cubicBezTo>
                    <a:lnTo>
                      <a:pt x="81832" y="282323"/>
                    </a:lnTo>
                    <a:lnTo>
                      <a:pt x="81832" y="322450"/>
                    </a:lnTo>
                    <a:lnTo>
                      <a:pt x="295744" y="322450"/>
                    </a:lnTo>
                    <a:cubicBezTo>
                      <a:pt x="288566" y="335348"/>
                      <a:pt x="282823" y="351112"/>
                      <a:pt x="279952" y="366877"/>
                    </a:cubicBezTo>
                    <a:lnTo>
                      <a:pt x="81832" y="366877"/>
                    </a:lnTo>
                    <a:lnTo>
                      <a:pt x="81832" y="407004"/>
                    </a:lnTo>
                    <a:lnTo>
                      <a:pt x="279952" y="407004"/>
                    </a:lnTo>
                    <a:cubicBezTo>
                      <a:pt x="281388" y="422768"/>
                      <a:pt x="287130" y="438532"/>
                      <a:pt x="294309" y="451430"/>
                    </a:cubicBezTo>
                    <a:lnTo>
                      <a:pt x="81832" y="451430"/>
                    </a:lnTo>
                    <a:lnTo>
                      <a:pt x="81832" y="491557"/>
                    </a:lnTo>
                    <a:lnTo>
                      <a:pt x="327329" y="491557"/>
                    </a:lnTo>
                    <a:cubicBezTo>
                      <a:pt x="350299" y="511621"/>
                      <a:pt x="380448" y="521653"/>
                      <a:pt x="410596" y="521653"/>
                    </a:cubicBezTo>
                    <a:cubicBezTo>
                      <a:pt x="424953" y="521653"/>
                      <a:pt x="439309" y="518786"/>
                      <a:pt x="453666" y="514487"/>
                    </a:cubicBezTo>
                    <a:lnTo>
                      <a:pt x="480943" y="543149"/>
                    </a:lnTo>
                    <a:lnTo>
                      <a:pt x="480943" y="594741"/>
                    </a:lnTo>
                    <a:lnTo>
                      <a:pt x="0" y="594741"/>
                    </a:lnTo>
                    <a:lnTo>
                      <a:pt x="0" y="180572"/>
                    </a:lnTo>
                    <a:lnTo>
                      <a:pt x="172278" y="18057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2" name="ïSļïḍe">
              <a:extLst>
                <a:ext uri="{FF2B5EF4-FFF2-40B4-BE49-F238E27FC236}">
                  <a16:creationId xmlns:a16="http://schemas.microsoft.com/office/drawing/2014/main" id="{BFDE5B5B-7C41-458A-9EA3-57AB8E2949DD}"/>
                </a:ext>
              </a:extLst>
            </p:cNvPr>
            <p:cNvGrpSpPr/>
            <p:nvPr/>
          </p:nvGrpSpPr>
          <p:grpSpPr>
            <a:xfrm>
              <a:off x="660401" y="3717425"/>
              <a:ext cx="6486674" cy="1476863"/>
              <a:chOff x="7166653" y="2075802"/>
              <a:chExt cx="2195956" cy="1476863"/>
            </a:xfrm>
          </p:grpSpPr>
          <p:sp>
            <p:nvSpPr>
              <p:cNvPr id="22" name="íṡľîḋê">
                <a:extLst>
                  <a:ext uri="{FF2B5EF4-FFF2-40B4-BE49-F238E27FC236}">
                    <a16:creationId xmlns:a16="http://schemas.microsoft.com/office/drawing/2014/main" id="{35FA2880-B71F-4E8F-890A-29B8E265D993}"/>
                  </a:ext>
                </a:extLst>
              </p:cNvPr>
              <p:cNvSpPr/>
              <p:nvPr/>
            </p:nvSpPr>
            <p:spPr bwMode="auto">
              <a:xfrm>
                <a:off x="7166653" y="2579145"/>
                <a:ext cx="1696690" cy="9735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zh-CN" sz="1400" dirty="0"/>
                  <a:t>用户将可以自行录入，设置密码、用户名、</a:t>
                </a:r>
                <a:r>
                  <a:rPr lang="en-US" altLang="zh-CN" sz="1400" dirty="0"/>
                  <a:t>email</a:t>
                </a:r>
                <a:r>
                  <a:rPr lang="zh-CN" altLang="zh-CN" sz="1400" dirty="0"/>
                  <a:t>等个人信息，并且密码将使用加密算法，以提高系统的安全性等级。如果有必要，还可以加入验证码检验，防止机器人恶意使用网站登录。</a:t>
                </a:r>
              </a:p>
            </p:txBody>
          </p:sp>
          <p:sp>
            <p:nvSpPr>
              <p:cNvPr id="23" name="işlïḑê">
                <a:extLst>
                  <a:ext uri="{FF2B5EF4-FFF2-40B4-BE49-F238E27FC236}">
                    <a16:creationId xmlns:a16="http://schemas.microsoft.com/office/drawing/2014/main" id="{E85A9B11-395A-490B-B4A1-1F11CEFEDEC8}"/>
                  </a:ext>
                </a:extLst>
              </p:cNvPr>
              <p:cNvSpPr txBox="1"/>
              <p:nvPr/>
            </p:nvSpPr>
            <p:spPr bwMode="auto">
              <a:xfrm>
                <a:off x="7665919" y="2075802"/>
                <a:ext cx="169669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2000" b="1" dirty="0"/>
                  <a:t>用户登录、注册</a:t>
                </a:r>
                <a:endParaRPr lang="en-US" altLang="zh-CN" sz="2000" b="1" dirty="0"/>
              </a:p>
            </p:txBody>
          </p:sp>
        </p:grpSp>
        <p:grpSp>
          <p:nvGrpSpPr>
            <p:cNvPr id="13" name="iṩlídè">
              <a:extLst>
                <a:ext uri="{FF2B5EF4-FFF2-40B4-BE49-F238E27FC236}">
                  <a16:creationId xmlns:a16="http://schemas.microsoft.com/office/drawing/2014/main" id="{52C27251-DE7E-4F8E-BB22-4C3CD0814CAC}"/>
                </a:ext>
              </a:extLst>
            </p:cNvPr>
            <p:cNvGrpSpPr/>
            <p:nvPr/>
          </p:nvGrpSpPr>
          <p:grpSpPr>
            <a:xfrm>
              <a:off x="5781341" y="2879125"/>
              <a:ext cx="2981658" cy="1713370"/>
              <a:chOff x="7166654" y="2137341"/>
              <a:chExt cx="1696690" cy="1713370"/>
            </a:xfrm>
          </p:grpSpPr>
          <p:sp>
            <p:nvSpPr>
              <p:cNvPr id="20" name="ïṣ1ïḋê">
                <a:extLst>
                  <a:ext uri="{FF2B5EF4-FFF2-40B4-BE49-F238E27FC236}">
                    <a16:creationId xmlns:a16="http://schemas.microsoft.com/office/drawing/2014/main" id="{29E638F8-955A-4B7D-A357-687765768B44}"/>
                  </a:ext>
                </a:extLst>
              </p:cNvPr>
              <p:cNvSpPr/>
              <p:nvPr/>
            </p:nvSpPr>
            <p:spPr bwMode="auto">
              <a:xfrm>
                <a:off x="7240293" y="2469532"/>
                <a:ext cx="509104" cy="13811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200" dirty="0"/>
                  <a:t>用户名</a:t>
                </a:r>
                <a:endParaRPr lang="en-US" altLang="zh-CN" sz="12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200" dirty="0"/>
                  <a:t>密码</a:t>
                </a:r>
                <a:endParaRPr lang="en-US" altLang="zh-CN" sz="12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200" dirty="0"/>
                  <a:t>Email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200" dirty="0"/>
                  <a:t>手机号</a:t>
                </a:r>
                <a:endParaRPr lang="en-US" altLang="zh-CN" sz="1200" dirty="0"/>
              </a:p>
            </p:txBody>
          </p:sp>
          <p:sp>
            <p:nvSpPr>
              <p:cNvPr id="21" name="ïṣ1íďé">
                <a:extLst>
                  <a:ext uri="{FF2B5EF4-FFF2-40B4-BE49-F238E27FC236}">
                    <a16:creationId xmlns:a16="http://schemas.microsoft.com/office/drawing/2014/main" id="{6F3BB9E1-581A-4B52-94D6-221EBE28538C}"/>
                  </a:ext>
                </a:extLst>
              </p:cNvPr>
              <p:cNvSpPr txBox="1"/>
              <p:nvPr/>
            </p:nvSpPr>
            <p:spPr bwMode="auto">
              <a:xfrm>
                <a:off x="7166654" y="2137341"/>
                <a:ext cx="169669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/>
                  <a:t>注册</a:t>
                </a:r>
                <a:endParaRPr lang="en-US" altLang="zh-CN" sz="2000" b="1" dirty="0"/>
              </a:p>
            </p:txBody>
          </p:sp>
        </p:grpSp>
        <p:grpSp>
          <p:nvGrpSpPr>
            <p:cNvPr id="14" name="íṩḷíḋê">
              <a:extLst>
                <a:ext uri="{FF2B5EF4-FFF2-40B4-BE49-F238E27FC236}">
                  <a16:creationId xmlns:a16="http://schemas.microsoft.com/office/drawing/2014/main" id="{A52A7030-8510-4C8B-8915-EF7BE7544C01}"/>
                </a:ext>
              </a:extLst>
            </p:cNvPr>
            <p:cNvGrpSpPr/>
            <p:nvPr/>
          </p:nvGrpSpPr>
          <p:grpSpPr>
            <a:xfrm>
              <a:off x="6886242" y="1929000"/>
              <a:ext cx="771858" cy="771858"/>
              <a:chOff x="5979741" y="471678"/>
              <a:chExt cx="622362" cy="622362"/>
            </a:xfrm>
          </p:grpSpPr>
          <p:sp>
            <p:nvSpPr>
              <p:cNvPr id="18" name="iSḷîḓê">
                <a:extLst>
                  <a:ext uri="{FF2B5EF4-FFF2-40B4-BE49-F238E27FC236}">
                    <a16:creationId xmlns:a16="http://schemas.microsoft.com/office/drawing/2014/main" id="{3AFF4470-9BC0-44B5-9204-641028303F97}"/>
                  </a:ext>
                </a:extLst>
              </p:cNvPr>
              <p:cNvSpPr/>
              <p:nvPr/>
            </p:nvSpPr>
            <p:spPr>
              <a:xfrm>
                <a:off x="5979741" y="471678"/>
                <a:ext cx="622362" cy="622362"/>
              </a:xfrm>
              <a:prstGeom prst="ellipse">
                <a:avLst/>
              </a:prstGeom>
              <a:solidFill>
                <a:schemeClr val="accent1"/>
              </a:solidFill>
              <a:ln w="28575" cap="flat">
                <a:solidFill>
                  <a:schemeClr val="bg1">
                    <a:lumMod val="95000"/>
                  </a:schemeClr>
                </a:solidFill>
                <a:miter lim="400000"/>
              </a:ln>
              <a:effectLst/>
            </p:spPr>
            <p:txBody>
              <a:bodyPr wrap="square" lIns="91440" tIns="45720" rIns="91440" bIns="45720" numCol="1" anchor="t">
                <a:normAutofit/>
              </a:bodyPr>
              <a:lstStyle/>
              <a:p>
                <a:endParaRPr/>
              </a:p>
            </p:txBody>
          </p:sp>
          <p:sp>
            <p:nvSpPr>
              <p:cNvPr id="19" name="î$ľíḓê">
                <a:extLst>
                  <a:ext uri="{FF2B5EF4-FFF2-40B4-BE49-F238E27FC236}">
                    <a16:creationId xmlns:a16="http://schemas.microsoft.com/office/drawing/2014/main" id="{C5F364C7-DC93-4273-B4D5-8898E2677412}"/>
                  </a:ext>
                </a:extLst>
              </p:cNvPr>
              <p:cNvSpPr/>
              <p:nvPr/>
            </p:nvSpPr>
            <p:spPr bwMode="auto">
              <a:xfrm>
                <a:off x="6127930" y="620114"/>
                <a:ext cx="325984" cy="325490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578649" h="594741">
                    <a:moveTo>
                      <a:pt x="411175" y="315251"/>
                    </a:moveTo>
                    <a:cubicBezTo>
                      <a:pt x="392328" y="315251"/>
                      <a:pt x="373301" y="322420"/>
                      <a:pt x="358940" y="336757"/>
                    </a:cubicBezTo>
                    <a:cubicBezTo>
                      <a:pt x="330220" y="365432"/>
                      <a:pt x="330220" y="411311"/>
                      <a:pt x="358940" y="439986"/>
                    </a:cubicBezTo>
                    <a:cubicBezTo>
                      <a:pt x="387661" y="468660"/>
                      <a:pt x="435049" y="468660"/>
                      <a:pt x="462333" y="439986"/>
                    </a:cubicBezTo>
                    <a:cubicBezTo>
                      <a:pt x="491053" y="411311"/>
                      <a:pt x="491053" y="365432"/>
                      <a:pt x="462333" y="336757"/>
                    </a:cubicBezTo>
                    <a:cubicBezTo>
                      <a:pt x="448691" y="322420"/>
                      <a:pt x="430023" y="315251"/>
                      <a:pt x="411175" y="315251"/>
                    </a:cubicBezTo>
                    <a:close/>
                    <a:moveTo>
                      <a:pt x="410816" y="276182"/>
                    </a:moveTo>
                    <a:cubicBezTo>
                      <a:pt x="439716" y="276182"/>
                      <a:pt x="468795" y="287293"/>
                      <a:pt x="491053" y="309516"/>
                    </a:cubicBezTo>
                    <a:cubicBezTo>
                      <a:pt x="525517" y="342492"/>
                      <a:pt x="532697" y="394106"/>
                      <a:pt x="514029" y="435685"/>
                    </a:cubicBezTo>
                    <a:lnTo>
                      <a:pt x="578649" y="500203"/>
                    </a:lnTo>
                    <a:lnTo>
                      <a:pt x="522645" y="556118"/>
                    </a:lnTo>
                    <a:lnTo>
                      <a:pt x="458025" y="491600"/>
                    </a:lnTo>
                    <a:cubicBezTo>
                      <a:pt x="416381" y="510239"/>
                      <a:pt x="366121" y="503070"/>
                      <a:pt x="331656" y="468660"/>
                    </a:cubicBezTo>
                    <a:cubicBezTo>
                      <a:pt x="287140" y="424215"/>
                      <a:pt x="287140" y="352528"/>
                      <a:pt x="331656" y="309516"/>
                    </a:cubicBezTo>
                    <a:cubicBezTo>
                      <a:pt x="353197" y="287293"/>
                      <a:pt x="381917" y="276182"/>
                      <a:pt x="410816" y="276182"/>
                    </a:cubicBezTo>
                    <a:close/>
                    <a:moveTo>
                      <a:pt x="134949" y="20001"/>
                    </a:moveTo>
                    <a:lnTo>
                      <a:pt x="134949" y="144835"/>
                    </a:lnTo>
                    <a:lnTo>
                      <a:pt x="17242" y="144835"/>
                    </a:lnTo>
                    <a:close/>
                    <a:moveTo>
                      <a:pt x="172278" y="0"/>
                    </a:moveTo>
                    <a:lnTo>
                      <a:pt x="480943" y="0"/>
                    </a:lnTo>
                    <a:lnTo>
                      <a:pt x="480943" y="276591"/>
                    </a:lnTo>
                    <a:cubicBezTo>
                      <a:pt x="460844" y="263693"/>
                      <a:pt x="436438" y="256527"/>
                      <a:pt x="410596" y="256527"/>
                    </a:cubicBezTo>
                    <a:cubicBezTo>
                      <a:pt x="381883" y="256527"/>
                      <a:pt x="354606" y="265126"/>
                      <a:pt x="331636" y="282323"/>
                    </a:cubicBezTo>
                    <a:lnTo>
                      <a:pt x="81832" y="282323"/>
                    </a:lnTo>
                    <a:lnTo>
                      <a:pt x="81832" y="322450"/>
                    </a:lnTo>
                    <a:lnTo>
                      <a:pt x="295744" y="322450"/>
                    </a:lnTo>
                    <a:cubicBezTo>
                      <a:pt x="288566" y="335348"/>
                      <a:pt x="282823" y="351112"/>
                      <a:pt x="279952" y="366877"/>
                    </a:cubicBezTo>
                    <a:lnTo>
                      <a:pt x="81832" y="366877"/>
                    </a:lnTo>
                    <a:lnTo>
                      <a:pt x="81832" y="407004"/>
                    </a:lnTo>
                    <a:lnTo>
                      <a:pt x="279952" y="407004"/>
                    </a:lnTo>
                    <a:cubicBezTo>
                      <a:pt x="281388" y="422768"/>
                      <a:pt x="287130" y="438532"/>
                      <a:pt x="294309" y="451430"/>
                    </a:cubicBezTo>
                    <a:lnTo>
                      <a:pt x="81832" y="451430"/>
                    </a:lnTo>
                    <a:lnTo>
                      <a:pt x="81832" y="491557"/>
                    </a:lnTo>
                    <a:lnTo>
                      <a:pt x="327329" y="491557"/>
                    </a:lnTo>
                    <a:cubicBezTo>
                      <a:pt x="350299" y="511621"/>
                      <a:pt x="380448" y="521653"/>
                      <a:pt x="410596" y="521653"/>
                    </a:cubicBezTo>
                    <a:cubicBezTo>
                      <a:pt x="424953" y="521653"/>
                      <a:pt x="439309" y="518786"/>
                      <a:pt x="453666" y="514487"/>
                    </a:cubicBezTo>
                    <a:lnTo>
                      <a:pt x="480943" y="543149"/>
                    </a:lnTo>
                    <a:lnTo>
                      <a:pt x="480943" y="594741"/>
                    </a:lnTo>
                    <a:lnTo>
                      <a:pt x="0" y="594741"/>
                    </a:lnTo>
                    <a:lnTo>
                      <a:pt x="0" y="180572"/>
                    </a:lnTo>
                    <a:lnTo>
                      <a:pt x="172278" y="18057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" name="iṩ1îḓè">
              <a:extLst>
                <a:ext uri="{FF2B5EF4-FFF2-40B4-BE49-F238E27FC236}">
                  <a16:creationId xmlns:a16="http://schemas.microsoft.com/office/drawing/2014/main" id="{A3623556-427B-43FA-8DC6-C42FC82B52E1}"/>
                </a:ext>
              </a:extLst>
            </p:cNvPr>
            <p:cNvGrpSpPr/>
            <p:nvPr/>
          </p:nvGrpSpPr>
          <p:grpSpPr>
            <a:xfrm>
              <a:off x="8867434" y="1929000"/>
              <a:ext cx="2651466" cy="1413905"/>
              <a:chOff x="7166653" y="2137341"/>
              <a:chExt cx="1696691" cy="1413905"/>
            </a:xfrm>
          </p:grpSpPr>
          <p:sp>
            <p:nvSpPr>
              <p:cNvPr id="16" name="îṩḷîḑè">
                <a:extLst>
                  <a:ext uri="{FF2B5EF4-FFF2-40B4-BE49-F238E27FC236}">
                    <a16:creationId xmlns:a16="http://schemas.microsoft.com/office/drawing/2014/main" id="{F3B6BD6A-C58E-48D9-8C64-00A644E0D1D6}"/>
                  </a:ext>
                </a:extLst>
              </p:cNvPr>
              <p:cNvSpPr/>
              <p:nvPr/>
            </p:nvSpPr>
            <p:spPr bwMode="auto">
              <a:xfrm>
                <a:off x="7166653" y="2579145"/>
                <a:ext cx="1696690" cy="9721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100" dirty="0">
                    <a:solidFill>
                      <a:schemeClr val="bg1"/>
                    </a:solidFill>
                  </a:rPr>
                  <a:t>用户名</a:t>
                </a:r>
                <a:endParaRPr lang="en-US" altLang="zh-CN" sz="1100" dirty="0">
                  <a:solidFill>
                    <a:schemeClr val="bg1"/>
                  </a:solidFill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100" dirty="0">
                    <a:solidFill>
                      <a:schemeClr val="bg1"/>
                    </a:solidFill>
                  </a:rPr>
                  <a:t>密码</a:t>
                </a:r>
                <a:endParaRPr lang="en-US" altLang="zh-CN" sz="1100" dirty="0">
                  <a:solidFill>
                    <a:schemeClr val="bg1"/>
                  </a:solidFill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100" dirty="0">
                    <a:solidFill>
                      <a:schemeClr val="bg1"/>
                    </a:solidFill>
                  </a:rPr>
                  <a:t>验证码</a:t>
                </a:r>
                <a:endParaRPr lang="en-US" altLang="zh-CN" sz="11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îṥḷïḓe">
                <a:extLst>
                  <a:ext uri="{FF2B5EF4-FFF2-40B4-BE49-F238E27FC236}">
                    <a16:creationId xmlns:a16="http://schemas.microsoft.com/office/drawing/2014/main" id="{A2156C98-48F9-4137-9B46-BC9C2511A83B}"/>
                  </a:ext>
                </a:extLst>
              </p:cNvPr>
              <p:cNvSpPr txBox="1"/>
              <p:nvPr/>
            </p:nvSpPr>
            <p:spPr bwMode="auto">
              <a:xfrm>
                <a:off x="7166654" y="2137341"/>
                <a:ext cx="169669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chemeClr val="bg1"/>
                    </a:solidFill>
                  </a:rPr>
                  <a:t>登录</a:t>
                </a:r>
                <a:endParaRPr lang="en-US" altLang="zh-CN" sz="20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6" name="矩形 25">
            <a:extLst>
              <a:ext uri="{FF2B5EF4-FFF2-40B4-BE49-F238E27FC236}">
                <a16:creationId xmlns:a16="http://schemas.microsoft.com/office/drawing/2014/main" id="{C6F838A7-FA45-4F31-BDB7-F33CFFDFF1B3}"/>
              </a:ext>
            </a:extLst>
          </p:cNvPr>
          <p:cNvSpPr/>
          <p:nvPr/>
        </p:nvSpPr>
        <p:spPr>
          <a:xfrm>
            <a:off x="6828244" y="3320223"/>
            <a:ext cx="976293" cy="160293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F9DA3F4B-3006-400A-9483-03FA2553B34D}"/>
              </a:ext>
            </a:extLst>
          </p:cNvPr>
          <p:cNvSpPr/>
          <p:nvPr/>
        </p:nvSpPr>
        <p:spPr>
          <a:xfrm>
            <a:off x="6825009" y="3559178"/>
            <a:ext cx="976293" cy="160293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8DEDB3C2-44A3-47D0-9194-DA4E117C5566}"/>
              </a:ext>
            </a:extLst>
          </p:cNvPr>
          <p:cNvSpPr/>
          <p:nvPr/>
        </p:nvSpPr>
        <p:spPr>
          <a:xfrm>
            <a:off x="6828244" y="3839573"/>
            <a:ext cx="976293" cy="160293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EB66EE22-FADB-4679-B93B-3D4181DC94AD}"/>
              </a:ext>
            </a:extLst>
          </p:cNvPr>
          <p:cNvSpPr/>
          <p:nvPr/>
        </p:nvSpPr>
        <p:spPr>
          <a:xfrm>
            <a:off x="6829647" y="4185789"/>
            <a:ext cx="976293" cy="160293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13ECC2DA-94DD-4A3E-9D24-414670812295}"/>
              </a:ext>
            </a:extLst>
          </p:cNvPr>
          <p:cNvSpPr/>
          <p:nvPr/>
        </p:nvSpPr>
        <p:spPr>
          <a:xfrm>
            <a:off x="9861444" y="2459008"/>
            <a:ext cx="1109709" cy="1975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CC6B8820-63CA-420F-B501-EE9FD8729C48}"/>
              </a:ext>
            </a:extLst>
          </p:cNvPr>
          <p:cNvSpPr/>
          <p:nvPr/>
        </p:nvSpPr>
        <p:spPr>
          <a:xfrm>
            <a:off x="9861444" y="2719840"/>
            <a:ext cx="1109709" cy="1975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910FE554-3802-40D7-92CF-F973D0AAFBBA}"/>
              </a:ext>
            </a:extLst>
          </p:cNvPr>
          <p:cNvSpPr/>
          <p:nvPr/>
        </p:nvSpPr>
        <p:spPr>
          <a:xfrm>
            <a:off x="9861444" y="2980673"/>
            <a:ext cx="1109709" cy="1975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42C7CBF8-B48A-4650-B565-A263B293E021}"/>
              </a:ext>
            </a:extLst>
          </p:cNvPr>
          <p:cNvSpPr/>
          <p:nvPr/>
        </p:nvSpPr>
        <p:spPr>
          <a:xfrm>
            <a:off x="9796313" y="3025498"/>
            <a:ext cx="45719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A</a:t>
            </a:r>
            <a:endParaRPr lang="zh-CN" altLang="en-US" sz="54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A7BFFE5D-D18F-477E-B5E8-DC400E36663A}"/>
              </a:ext>
            </a:extLst>
          </p:cNvPr>
          <p:cNvSpPr/>
          <p:nvPr/>
        </p:nvSpPr>
        <p:spPr>
          <a:xfrm>
            <a:off x="9947653" y="3034925"/>
            <a:ext cx="68480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5400" b="1" cap="none" spc="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B</a:t>
            </a:r>
            <a:endParaRPr lang="zh-CN" altLang="en-US" sz="5400" b="1" cap="none" spc="0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0428F570-7753-4CB0-A6E5-4E8A5F9A74F4}"/>
              </a:ext>
            </a:extLst>
          </p:cNvPr>
          <p:cNvSpPr/>
          <p:nvPr/>
        </p:nvSpPr>
        <p:spPr>
          <a:xfrm>
            <a:off x="10433971" y="3046519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n-US" altLang="zh-CN" sz="5400" b="1" cap="none" spc="0" dirty="0">
                <a:ln/>
                <a:solidFill>
                  <a:schemeClr val="accent3"/>
                </a:solidFill>
                <a:effectLst/>
              </a:rPr>
              <a:t>c</a:t>
            </a:r>
            <a:endParaRPr lang="zh-CN" altLang="en-US" sz="5400" b="1" cap="none" spc="0" dirty="0">
              <a:ln/>
              <a:solidFill>
                <a:schemeClr val="accent3"/>
              </a:solidFill>
              <a:effectLst/>
            </a:endParaRPr>
          </a:p>
        </p:txBody>
      </p:sp>
      <p:pic>
        <p:nvPicPr>
          <p:cNvPr id="38" name="音频 37">
            <a:hlinkClick r:id="" action="ppaction://media"/>
            <a:extLst>
              <a:ext uri="{FF2B5EF4-FFF2-40B4-BE49-F238E27FC236}">
                <a16:creationId xmlns:a16="http://schemas.microsoft.com/office/drawing/2014/main" id="{B6120223-C4A0-4204-8ECC-231EE65A4DB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812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524"/>
    </mc:Choice>
    <mc:Fallback xmlns="">
      <p:transition spd="slow" advTm="1852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8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9D8A715-B139-4819-9E1B-5D061ABE4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划分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AB88A48-20F5-492F-A09B-146E0BD235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9FB4190-7FD3-46BC-8445-2D320C751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5" name="20422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9A697E5-31EE-4351-94E9-291E5139B48F}"/>
              </a:ext>
            </a:extLst>
          </p:cNvPr>
          <p:cNvGrpSpPr>
            <a:grpSpLocks noChangeAspect="1"/>
          </p:cNvGrpSpPr>
          <p:nvPr/>
        </p:nvGrpSpPr>
        <p:grpSpPr>
          <a:xfrm>
            <a:off x="660399" y="1383655"/>
            <a:ext cx="10858501" cy="4690152"/>
            <a:chOff x="660399" y="1383655"/>
            <a:chExt cx="10858501" cy="4690152"/>
          </a:xfrm>
        </p:grpSpPr>
        <p:sp>
          <p:nvSpPr>
            <p:cNvPr id="6" name="ïśḻiďè">
              <a:extLst>
                <a:ext uri="{FF2B5EF4-FFF2-40B4-BE49-F238E27FC236}">
                  <a16:creationId xmlns:a16="http://schemas.microsoft.com/office/drawing/2014/main" id="{1C638FE0-C63E-4D03-9248-784161AA52A9}"/>
                </a:ext>
              </a:extLst>
            </p:cNvPr>
            <p:cNvSpPr/>
            <p:nvPr/>
          </p:nvSpPr>
          <p:spPr>
            <a:xfrm>
              <a:off x="8281267" y="1383655"/>
              <a:ext cx="3237631" cy="2604367"/>
            </a:xfrm>
            <a:prstGeom prst="rect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7" name="íṥliďê">
              <a:extLst>
                <a:ext uri="{FF2B5EF4-FFF2-40B4-BE49-F238E27FC236}">
                  <a16:creationId xmlns:a16="http://schemas.microsoft.com/office/drawing/2014/main" id="{01FCA232-CB68-4F83-9087-C304F14D3310}"/>
                </a:ext>
              </a:extLst>
            </p:cNvPr>
            <p:cNvSpPr/>
            <p:nvPr/>
          </p:nvSpPr>
          <p:spPr>
            <a:xfrm flipH="1">
              <a:off x="8281269" y="1383655"/>
              <a:ext cx="590790" cy="5642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34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934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8" name="ïṩľíďe">
              <a:extLst>
                <a:ext uri="{FF2B5EF4-FFF2-40B4-BE49-F238E27FC236}">
                  <a16:creationId xmlns:a16="http://schemas.microsoft.com/office/drawing/2014/main" id="{B4F2A9EF-A7F6-4347-B89D-29382C973512}"/>
                </a:ext>
              </a:extLst>
            </p:cNvPr>
            <p:cNvSpPr/>
            <p:nvPr/>
          </p:nvSpPr>
          <p:spPr>
            <a:xfrm>
              <a:off x="4784431" y="1627353"/>
              <a:ext cx="4087626" cy="34950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9" name="îšľíde">
              <a:extLst>
                <a:ext uri="{FF2B5EF4-FFF2-40B4-BE49-F238E27FC236}">
                  <a16:creationId xmlns:a16="http://schemas.microsoft.com/office/drawing/2014/main" id="{3487858C-8B2E-499C-8E91-B8813E8BEBBD}"/>
                </a:ext>
              </a:extLst>
            </p:cNvPr>
            <p:cNvSpPr/>
            <p:nvPr/>
          </p:nvSpPr>
          <p:spPr>
            <a:xfrm flipH="1">
              <a:off x="4784435" y="1635534"/>
              <a:ext cx="887853" cy="8479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34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934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10" name="ïşľîḍê">
              <a:extLst>
                <a:ext uri="{FF2B5EF4-FFF2-40B4-BE49-F238E27FC236}">
                  <a16:creationId xmlns:a16="http://schemas.microsoft.com/office/drawing/2014/main" id="{5AD7159E-2337-4888-9252-892CEDB7DD12}"/>
                </a:ext>
              </a:extLst>
            </p:cNvPr>
            <p:cNvSpPr/>
            <p:nvPr/>
          </p:nvSpPr>
          <p:spPr>
            <a:xfrm>
              <a:off x="660399" y="2002219"/>
              <a:ext cx="5011886" cy="40715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grpSp>
          <p:nvGrpSpPr>
            <p:cNvPr id="11" name="îṧḷîḍê">
              <a:extLst>
                <a:ext uri="{FF2B5EF4-FFF2-40B4-BE49-F238E27FC236}">
                  <a16:creationId xmlns:a16="http://schemas.microsoft.com/office/drawing/2014/main" id="{5F8F9DDC-4CFB-4B2F-B521-B44476645D29}"/>
                </a:ext>
              </a:extLst>
            </p:cNvPr>
            <p:cNvGrpSpPr/>
            <p:nvPr/>
          </p:nvGrpSpPr>
          <p:grpSpPr>
            <a:xfrm>
              <a:off x="2479662" y="2474923"/>
              <a:ext cx="1139838" cy="1139838"/>
              <a:chOff x="5979741" y="471678"/>
              <a:chExt cx="622362" cy="622362"/>
            </a:xfrm>
          </p:grpSpPr>
          <p:sp>
            <p:nvSpPr>
              <p:cNvPr id="24" name="íṡḷîḓé">
                <a:extLst>
                  <a:ext uri="{FF2B5EF4-FFF2-40B4-BE49-F238E27FC236}">
                    <a16:creationId xmlns:a16="http://schemas.microsoft.com/office/drawing/2014/main" id="{5CBCA5B3-1EB7-4355-9904-F60A4A0FEB0C}"/>
                  </a:ext>
                </a:extLst>
              </p:cNvPr>
              <p:cNvSpPr/>
              <p:nvPr/>
            </p:nvSpPr>
            <p:spPr>
              <a:xfrm>
                <a:off x="5979741" y="471678"/>
                <a:ext cx="622362" cy="622362"/>
              </a:xfrm>
              <a:prstGeom prst="ellipse">
                <a:avLst/>
              </a:prstGeom>
              <a:solidFill>
                <a:schemeClr val="accent1"/>
              </a:solidFill>
              <a:ln w="28575" cap="flat">
                <a:solidFill>
                  <a:schemeClr val="bg1">
                    <a:lumMod val="95000"/>
                  </a:schemeClr>
                </a:solidFill>
                <a:miter lim="400000"/>
              </a:ln>
              <a:effectLst/>
            </p:spPr>
            <p:txBody>
              <a:bodyPr wrap="square" lIns="91440" tIns="45720" rIns="91440" bIns="45720" numCol="1" anchor="t">
                <a:normAutofit/>
              </a:bodyPr>
              <a:lstStyle/>
              <a:p>
                <a:endParaRPr/>
              </a:p>
            </p:txBody>
          </p:sp>
          <p:sp>
            <p:nvSpPr>
              <p:cNvPr id="25" name="îSļíḍê">
                <a:extLst>
                  <a:ext uri="{FF2B5EF4-FFF2-40B4-BE49-F238E27FC236}">
                    <a16:creationId xmlns:a16="http://schemas.microsoft.com/office/drawing/2014/main" id="{10FACEFA-BB9E-4EA5-A07C-09CFABF78AAF}"/>
                  </a:ext>
                </a:extLst>
              </p:cNvPr>
              <p:cNvSpPr/>
              <p:nvPr/>
            </p:nvSpPr>
            <p:spPr bwMode="auto">
              <a:xfrm>
                <a:off x="6127930" y="620114"/>
                <a:ext cx="325984" cy="325490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578649" h="594741">
                    <a:moveTo>
                      <a:pt x="411175" y="315251"/>
                    </a:moveTo>
                    <a:cubicBezTo>
                      <a:pt x="392328" y="315251"/>
                      <a:pt x="373301" y="322420"/>
                      <a:pt x="358940" y="336757"/>
                    </a:cubicBezTo>
                    <a:cubicBezTo>
                      <a:pt x="330220" y="365432"/>
                      <a:pt x="330220" y="411311"/>
                      <a:pt x="358940" y="439986"/>
                    </a:cubicBezTo>
                    <a:cubicBezTo>
                      <a:pt x="387661" y="468660"/>
                      <a:pt x="435049" y="468660"/>
                      <a:pt x="462333" y="439986"/>
                    </a:cubicBezTo>
                    <a:cubicBezTo>
                      <a:pt x="491053" y="411311"/>
                      <a:pt x="491053" y="365432"/>
                      <a:pt x="462333" y="336757"/>
                    </a:cubicBezTo>
                    <a:cubicBezTo>
                      <a:pt x="448691" y="322420"/>
                      <a:pt x="430023" y="315251"/>
                      <a:pt x="411175" y="315251"/>
                    </a:cubicBezTo>
                    <a:close/>
                    <a:moveTo>
                      <a:pt x="410816" y="276182"/>
                    </a:moveTo>
                    <a:cubicBezTo>
                      <a:pt x="439716" y="276182"/>
                      <a:pt x="468795" y="287293"/>
                      <a:pt x="491053" y="309516"/>
                    </a:cubicBezTo>
                    <a:cubicBezTo>
                      <a:pt x="525517" y="342492"/>
                      <a:pt x="532697" y="394106"/>
                      <a:pt x="514029" y="435685"/>
                    </a:cubicBezTo>
                    <a:lnTo>
                      <a:pt x="578649" y="500203"/>
                    </a:lnTo>
                    <a:lnTo>
                      <a:pt x="522645" y="556118"/>
                    </a:lnTo>
                    <a:lnTo>
                      <a:pt x="458025" y="491600"/>
                    </a:lnTo>
                    <a:cubicBezTo>
                      <a:pt x="416381" y="510239"/>
                      <a:pt x="366121" y="503070"/>
                      <a:pt x="331656" y="468660"/>
                    </a:cubicBezTo>
                    <a:cubicBezTo>
                      <a:pt x="287140" y="424215"/>
                      <a:pt x="287140" y="352528"/>
                      <a:pt x="331656" y="309516"/>
                    </a:cubicBezTo>
                    <a:cubicBezTo>
                      <a:pt x="353197" y="287293"/>
                      <a:pt x="381917" y="276182"/>
                      <a:pt x="410816" y="276182"/>
                    </a:cubicBezTo>
                    <a:close/>
                    <a:moveTo>
                      <a:pt x="134949" y="20001"/>
                    </a:moveTo>
                    <a:lnTo>
                      <a:pt x="134949" y="144835"/>
                    </a:lnTo>
                    <a:lnTo>
                      <a:pt x="17242" y="144835"/>
                    </a:lnTo>
                    <a:close/>
                    <a:moveTo>
                      <a:pt x="172278" y="0"/>
                    </a:moveTo>
                    <a:lnTo>
                      <a:pt x="480943" y="0"/>
                    </a:lnTo>
                    <a:lnTo>
                      <a:pt x="480943" y="276591"/>
                    </a:lnTo>
                    <a:cubicBezTo>
                      <a:pt x="460844" y="263693"/>
                      <a:pt x="436438" y="256527"/>
                      <a:pt x="410596" y="256527"/>
                    </a:cubicBezTo>
                    <a:cubicBezTo>
                      <a:pt x="381883" y="256527"/>
                      <a:pt x="354606" y="265126"/>
                      <a:pt x="331636" y="282323"/>
                    </a:cubicBezTo>
                    <a:lnTo>
                      <a:pt x="81832" y="282323"/>
                    </a:lnTo>
                    <a:lnTo>
                      <a:pt x="81832" y="322450"/>
                    </a:lnTo>
                    <a:lnTo>
                      <a:pt x="295744" y="322450"/>
                    </a:lnTo>
                    <a:cubicBezTo>
                      <a:pt x="288566" y="335348"/>
                      <a:pt x="282823" y="351112"/>
                      <a:pt x="279952" y="366877"/>
                    </a:cubicBezTo>
                    <a:lnTo>
                      <a:pt x="81832" y="366877"/>
                    </a:lnTo>
                    <a:lnTo>
                      <a:pt x="81832" y="407004"/>
                    </a:lnTo>
                    <a:lnTo>
                      <a:pt x="279952" y="407004"/>
                    </a:lnTo>
                    <a:cubicBezTo>
                      <a:pt x="281388" y="422768"/>
                      <a:pt x="287130" y="438532"/>
                      <a:pt x="294309" y="451430"/>
                    </a:cubicBezTo>
                    <a:lnTo>
                      <a:pt x="81832" y="451430"/>
                    </a:lnTo>
                    <a:lnTo>
                      <a:pt x="81832" y="491557"/>
                    </a:lnTo>
                    <a:lnTo>
                      <a:pt x="327329" y="491557"/>
                    </a:lnTo>
                    <a:cubicBezTo>
                      <a:pt x="350299" y="511621"/>
                      <a:pt x="380448" y="521653"/>
                      <a:pt x="410596" y="521653"/>
                    </a:cubicBezTo>
                    <a:cubicBezTo>
                      <a:pt x="424953" y="521653"/>
                      <a:pt x="439309" y="518786"/>
                      <a:pt x="453666" y="514487"/>
                    </a:cubicBezTo>
                    <a:lnTo>
                      <a:pt x="480943" y="543149"/>
                    </a:lnTo>
                    <a:lnTo>
                      <a:pt x="480943" y="594741"/>
                    </a:lnTo>
                    <a:lnTo>
                      <a:pt x="0" y="594741"/>
                    </a:lnTo>
                    <a:lnTo>
                      <a:pt x="0" y="180572"/>
                    </a:lnTo>
                    <a:lnTo>
                      <a:pt x="172278" y="18057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2" name="ïSļïḍe">
              <a:extLst>
                <a:ext uri="{FF2B5EF4-FFF2-40B4-BE49-F238E27FC236}">
                  <a16:creationId xmlns:a16="http://schemas.microsoft.com/office/drawing/2014/main" id="{BFDE5B5B-7C41-458A-9EA3-57AB8E2949DD}"/>
                </a:ext>
              </a:extLst>
            </p:cNvPr>
            <p:cNvGrpSpPr/>
            <p:nvPr/>
          </p:nvGrpSpPr>
          <p:grpSpPr>
            <a:xfrm>
              <a:off x="660400" y="3778964"/>
              <a:ext cx="5011886" cy="2218550"/>
              <a:chOff x="7166653" y="2137341"/>
              <a:chExt cx="1696691" cy="2218550"/>
            </a:xfrm>
          </p:grpSpPr>
          <p:sp>
            <p:nvSpPr>
              <p:cNvPr id="22" name="íṡľîḋê">
                <a:extLst>
                  <a:ext uri="{FF2B5EF4-FFF2-40B4-BE49-F238E27FC236}">
                    <a16:creationId xmlns:a16="http://schemas.microsoft.com/office/drawing/2014/main" id="{35FA2880-B71F-4E8F-890A-29B8E265D993}"/>
                  </a:ext>
                </a:extLst>
              </p:cNvPr>
              <p:cNvSpPr/>
              <p:nvPr/>
            </p:nvSpPr>
            <p:spPr bwMode="auto">
              <a:xfrm>
                <a:off x="7166653" y="2579145"/>
                <a:ext cx="1696690" cy="17767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zh-CN" dirty="0"/>
                  <a:t>用户将被允许使用过滤器、搜索栏，按照分类、关键词、作者、出版社等重要信息对图书进行检索</a:t>
                </a:r>
                <a:endParaRPr lang="en-US" altLang="zh-CN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zh-CN" dirty="0"/>
                  <a:t>同时还可以按照销售量、访问量、价格、优惠力度等参数升序或降序排列</a:t>
                </a:r>
                <a:endParaRPr lang="en-US" altLang="zh-CN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zh-CN" dirty="0"/>
                  <a:t>用户还可以单独访问作者、译者以及出版社的具体信息，以便更好地选择图书。</a:t>
                </a:r>
              </a:p>
            </p:txBody>
          </p:sp>
          <p:sp>
            <p:nvSpPr>
              <p:cNvPr id="23" name="işlïḑê">
                <a:extLst>
                  <a:ext uri="{FF2B5EF4-FFF2-40B4-BE49-F238E27FC236}">
                    <a16:creationId xmlns:a16="http://schemas.microsoft.com/office/drawing/2014/main" id="{E85A9B11-395A-490B-B4A1-1F11CEFEDEC8}"/>
                  </a:ext>
                </a:extLst>
              </p:cNvPr>
              <p:cNvSpPr txBox="1"/>
              <p:nvPr/>
            </p:nvSpPr>
            <p:spPr bwMode="auto">
              <a:xfrm>
                <a:off x="7166654" y="2137341"/>
                <a:ext cx="169669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/>
                  <a:t>书籍检索</a:t>
                </a:r>
                <a:endParaRPr lang="en-US" altLang="zh-CN" sz="2000" b="1" dirty="0"/>
              </a:p>
            </p:txBody>
          </p:sp>
        </p:grpSp>
        <p:grpSp>
          <p:nvGrpSpPr>
            <p:cNvPr id="13" name="iṩlídè">
              <a:extLst>
                <a:ext uri="{FF2B5EF4-FFF2-40B4-BE49-F238E27FC236}">
                  <a16:creationId xmlns:a16="http://schemas.microsoft.com/office/drawing/2014/main" id="{52C27251-DE7E-4F8E-BB22-4C3CD0814CAC}"/>
                </a:ext>
              </a:extLst>
            </p:cNvPr>
            <p:cNvGrpSpPr/>
            <p:nvPr/>
          </p:nvGrpSpPr>
          <p:grpSpPr>
            <a:xfrm>
              <a:off x="5781340" y="2879125"/>
              <a:ext cx="2981660" cy="1713370"/>
              <a:chOff x="7166653" y="2137341"/>
              <a:chExt cx="1696691" cy="1713370"/>
            </a:xfrm>
          </p:grpSpPr>
          <p:sp>
            <p:nvSpPr>
              <p:cNvPr id="20" name="ïṣ1ïḋê">
                <a:extLst>
                  <a:ext uri="{FF2B5EF4-FFF2-40B4-BE49-F238E27FC236}">
                    <a16:creationId xmlns:a16="http://schemas.microsoft.com/office/drawing/2014/main" id="{29E638F8-955A-4B7D-A357-687765768B44}"/>
                  </a:ext>
                </a:extLst>
              </p:cNvPr>
              <p:cNvSpPr/>
              <p:nvPr/>
            </p:nvSpPr>
            <p:spPr bwMode="auto">
              <a:xfrm>
                <a:off x="7166653" y="2579145"/>
                <a:ext cx="1696690" cy="1271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200" dirty="0"/>
                  <a:t>关键词</a:t>
                </a:r>
                <a:endParaRPr lang="en-US" altLang="zh-CN" sz="12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200" dirty="0"/>
                  <a:t>作者</a:t>
                </a:r>
                <a:endParaRPr lang="en-US" altLang="zh-CN" sz="12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200" dirty="0"/>
                  <a:t>分类</a:t>
                </a:r>
                <a:endParaRPr lang="en-US" altLang="zh-CN" sz="12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200" dirty="0"/>
                  <a:t>出版社</a:t>
                </a:r>
                <a:endParaRPr lang="en-US" altLang="zh-CN" sz="1200" dirty="0"/>
              </a:p>
            </p:txBody>
          </p:sp>
          <p:sp>
            <p:nvSpPr>
              <p:cNvPr id="21" name="ïṣ1íďé">
                <a:extLst>
                  <a:ext uri="{FF2B5EF4-FFF2-40B4-BE49-F238E27FC236}">
                    <a16:creationId xmlns:a16="http://schemas.microsoft.com/office/drawing/2014/main" id="{6F3BB9E1-581A-4B52-94D6-221EBE28538C}"/>
                  </a:ext>
                </a:extLst>
              </p:cNvPr>
              <p:cNvSpPr txBox="1"/>
              <p:nvPr/>
            </p:nvSpPr>
            <p:spPr bwMode="auto">
              <a:xfrm>
                <a:off x="7166654" y="2137341"/>
                <a:ext cx="169669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/>
                  <a:t>搜索</a:t>
                </a:r>
                <a:endParaRPr lang="en-US" altLang="zh-CN" sz="2000" b="1" dirty="0"/>
              </a:p>
            </p:txBody>
          </p:sp>
        </p:grpSp>
        <p:grpSp>
          <p:nvGrpSpPr>
            <p:cNvPr id="14" name="íṩḷíḋê">
              <a:extLst>
                <a:ext uri="{FF2B5EF4-FFF2-40B4-BE49-F238E27FC236}">
                  <a16:creationId xmlns:a16="http://schemas.microsoft.com/office/drawing/2014/main" id="{A52A7030-8510-4C8B-8915-EF7BE7544C01}"/>
                </a:ext>
              </a:extLst>
            </p:cNvPr>
            <p:cNvGrpSpPr/>
            <p:nvPr/>
          </p:nvGrpSpPr>
          <p:grpSpPr>
            <a:xfrm>
              <a:off x="6886242" y="1929000"/>
              <a:ext cx="771858" cy="771858"/>
              <a:chOff x="5979741" y="471678"/>
              <a:chExt cx="622362" cy="622362"/>
            </a:xfrm>
          </p:grpSpPr>
          <p:sp>
            <p:nvSpPr>
              <p:cNvPr id="18" name="iSḷîḓê">
                <a:extLst>
                  <a:ext uri="{FF2B5EF4-FFF2-40B4-BE49-F238E27FC236}">
                    <a16:creationId xmlns:a16="http://schemas.microsoft.com/office/drawing/2014/main" id="{3AFF4470-9BC0-44B5-9204-641028303F97}"/>
                  </a:ext>
                </a:extLst>
              </p:cNvPr>
              <p:cNvSpPr/>
              <p:nvPr/>
            </p:nvSpPr>
            <p:spPr>
              <a:xfrm>
                <a:off x="5979741" y="471678"/>
                <a:ext cx="622362" cy="622362"/>
              </a:xfrm>
              <a:prstGeom prst="ellipse">
                <a:avLst/>
              </a:prstGeom>
              <a:solidFill>
                <a:schemeClr val="accent1"/>
              </a:solidFill>
              <a:ln w="28575" cap="flat">
                <a:solidFill>
                  <a:schemeClr val="bg1">
                    <a:lumMod val="95000"/>
                  </a:schemeClr>
                </a:solidFill>
                <a:miter lim="400000"/>
              </a:ln>
              <a:effectLst/>
            </p:spPr>
            <p:txBody>
              <a:bodyPr wrap="square" lIns="91440" tIns="45720" rIns="91440" bIns="45720" numCol="1" anchor="t">
                <a:normAutofit/>
              </a:bodyPr>
              <a:lstStyle/>
              <a:p>
                <a:endParaRPr/>
              </a:p>
            </p:txBody>
          </p:sp>
          <p:sp>
            <p:nvSpPr>
              <p:cNvPr id="19" name="î$ľíḓê">
                <a:extLst>
                  <a:ext uri="{FF2B5EF4-FFF2-40B4-BE49-F238E27FC236}">
                    <a16:creationId xmlns:a16="http://schemas.microsoft.com/office/drawing/2014/main" id="{C5F364C7-DC93-4273-B4D5-8898E2677412}"/>
                  </a:ext>
                </a:extLst>
              </p:cNvPr>
              <p:cNvSpPr/>
              <p:nvPr/>
            </p:nvSpPr>
            <p:spPr bwMode="auto">
              <a:xfrm>
                <a:off x="6127930" y="620114"/>
                <a:ext cx="325984" cy="325490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578649" h="594741">
                    <a:moveTo>
                      <a:pt x="411175" y="315251"/>
                    </a:moveTo>
                    <a:cubicBezTo>
                      <a:pt x="392328" y="315251"/>
                      <a:pt x="373301" y="322420"/>
                      <a:pt x="358940" y="336757"/>
                    </a:cubicBezTo>
                    <a:cubicBezTo>
                      <a:pt x="330220" y="365432"/>
                      <a:pt x="330220" y="411311"/>
                      <a:pt x="358940" y="439986"/>
                    </a:cubicBezTo>
                    <a:cubicBezTo>
                      <a:pt x="387661" y="468660"/>
                      <a:pt x="435049" y="468660"/>
                      <a:pt x="462333" y="439986"/>
                    </a:cubicBezTo>
                    <a:cubicBezTo>
                      <a:pt x="491053" y="411311"/>
                      <a:pt x="491053" y="365432"/>
                      <a:pt x="462333" y="336757"/>
                    </a:cubicBezTo>
                    <a:cubicBezTo>
                      <a:pt x="448691" y="322420"/>
                      <a:pt x="430023" y="315251"/>
                      <a:pt x="411175" y="315251"/>
                    </a:cubicBezTo>
                    <a:close/>
                    <a:moveTo>
                      <a:pt x="410816" y="276182"/>
                    </a:moveTo>
                    <a:cubicBezTo>
                      <a:pt x="439716" y="276182"/>
                      <a:pt x="468795" y="287293"/>
                      <a:pt x="491053" y="309516"/>
                    </a:cubicBezTo>
                    <a:cubicBezTo>
                      <a:pt x="525517" y="342492"/>
                      <a:pt x="532697" y="394106"/>
                      <a:pt x="514029" y="435685"/>
                    </a:cubicBezTo>
                    <a:lnTo>
                      <a:pt x="578649" y="500203"/>
                    </a:lnTo>
                    <a:lnTo>
                      <a:pt x="522645" y="556118"/>
                    </a:lnTo>
                    <a:lnTo>
                      <a:pt x="458025" y="491600"/>
                    </a:lnTo>
                    <a:cubicBezTo>
                      <a:pt x="416381" y="510239"/>
                      <a:pt x="366121" y="503070"/>
                      <a:pt x="331656" y="468660"/>
                    </a:cubicBezTo>
                    <a:cubicBezTo>
                      <a:pt x="287140" y="424215"/>
                      <a:pt x="287140" y="352528"/>
                      <a:pt x="331656" y="309516"/>
                    </a:cubicBezTo>
                    <a:cubicBezTo>
                      <a:pt x="353197" y="287293"/>
                      <a:pt x="381917" y="276182"/>
                      <a:pt x="410816" y="276182"/>
                    </a:cubicBezTo>
                    <a:close/>
                    <a:moveTo>
                      <a:pt x="134949" y="20001"/>
                    </a:moveTo>
                    <a:lnTo>
                      <a:pt x="134949" y="144835"/>
                    </a:lnTo>
                    <a:lnTo>
                      <a:pt x="17242" y="144835"/>
                    </a:lnTo>
                    <a:close/>
                    <a:moveTo>
                      <a:pt x="172278" y="0"/>
                    </a:moveTo>
                    <a:lnTo>
                      <a:pt x="480943" y="0"/>
                    </a:lnTo>
                    <a:lnTo>
                      <a:pt x="480943" y="276591"/>
                    </a:lnTo>
                    <a:cubicBezTo>
                      <a:pt x="460844" y="263693"/>
                      <a:pt x="436438" y="256527"/>
                      <a:pt x="410596" y="256527"/>
                    </a:cubicBezTo>
                    <a:cubicBezTo>
                      <a:pt x="381883" y="256527"/>
                      <a:pt x="354606" y="265126"/>
                      <a:pt x="331636" y="282323"/>
                    </a:cubicBezTo>
                    <a:lnTo>
                      <a:pt x="81832" y="282323"/>
                    </a:lnTo>
                    <a:lnTo>
                      <a:pt x="81832" y="322450"/>
                    </a:lnTo>
                    <a:lnTo>
                      <a:pt x="295744" y="322450"/>
                    </a:lnTo>
                    <a:cubicBezTo>
                      <a:pt x="288566" y="335348"/>
                      <a:pt x="282823" y="351112"/>
                      <a:pt x="279952" y="366877"/>
                    </a:cubicBezTo>
                    <a:lnTo>
                      <a:pt x="81832" y="366877"/>
                    </a:lnTo>
                    <a:lnTo>
                      <a:pt x="81832" y="407004"/>
                    </a:lnTo>
                    <a:lnTo>
                      <a:pt x="279952" y="407004"/>
                    </a:lnTo>
                    <a:cubicBezTo>
                      <a:pt x="281388" y="422768"/>
                      <a:pt x="287130" y="438532"/>
                      <a:pt x="294309" y="451430"/>
                    </a:cubicBezTo>
                    <a:lnTo>
                      <a:pt x="81832" y="451430"/>
                    </a:lnTo>
                    <a:lnTo>
                      <a:pt x="81832" y="491557"/>
                    </a:lnTo>
                    <a:lnTo>
                      <a:pt x="327329" y="491557"/>
                    </a:lnTo>
                    <a:cubicBezTo>
                      <a:pt x="350299" y="511621"/>
                      <a:pt x="380448" y="521653"/>
                      <a:pt x="410596" y="521653"/>
                    </a:cubicBezTo>
                    <a:cubicBezTo>
                      <a:pt x="424953" y="521653"/>
                      <a:pt x="439309" y="518786"/>
                      <a:pt x="453666" y="514487"/>
                    </a:cubicBezTo>
                    <a:lnTo>
                      <a:pt x="480943" y="543149"/>
                    </a:lnTo>
                    <a:lnTo>
                      <a:pt x="480943" y="594741"/>
                    </a:lnTo>
                    <a:lnTo>
                      <a:pt x="0" y="594741"/>
                    </a:lnTo>
                    <a:lnTo>
                      <a:pt x="0" y="180572"/>
                    </a:lnTo>
                    <a:lnTo>
                      <a:pt x="172278" y="18057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" name="iṩ1îḓè">
              <a:extLst>
                <a:ext uri="{FF2B5EF4-FFF2-40B4-BE49-F238E27FC236}">
                  <a16:creationId xmlns:a16="http://schemas.microsoft.com/office/drawing/2014/main" id="{A3623556-427B-43FA-8DC6-C42FC82B52E1}"/>
                </a:ext>
              </a:extLst>
            </p:cNvPr>
            <p:cNvGrpSpPr/>
            <p:nvPr/>
          </p:nvGrpSpPr>
          <p:grpSpPr>
            <a:xfrm>
              <a:off x="8867434" y="1929000"/>
              <a:ext cx="2651466" cy="1980540"/>
              <a:chOff x="7166653" y="2137341"/>
              <a:chExt cx="1696691" cy="1980540"/>
            </a:xfrm>
          </p:grpSpPr>
          <p:sp>
            <p:nvSpPr>
              <p:cNvPr id="16" name="îṩḷîḑè">
                <a:extLst>
                  <a:ext uri="{FF2B5EF4-FFF2-40B4-BE49-F238E27FC236}">
                    <a16:creationId xmlns:a16="http://schemas.microsoft.com/office/drawing/2014/main" id="{F3B6BD6A-C58E-48D9-8C64-00A644E0D1D6}"/>
                  </a:ext>
                </a:extLst>
              </p:cNvPr>
              <p:cNvSpPr/>
              <p:nvPr/>
            </p:nvSpPr>
            <p:spPr bwMode="auto">
              <a:xfrm>
                <a:off x="7166653" y="2579145"/>
                <a:ext cx="1696690" cy="15387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400" dirty="0">
                    <a:solidFill>
                      <a:schemeClr val="bg1"/>
                    </a:solidFill>
                  </a:rPr>
                  <a:t>销售量</a:t>
                </a:r>
                <a:endParaRPr lang="en-US" altLang="zh-CN" sz="1400" dirty="0">
                  <a:solidFill>
                    <a:schemeClr val="bg1"/>
                  </a:solidFill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400" dirty="0">
                    <a:solidFill>
                      <a:schemeClr val="bg1"/>
                    </a:solidFill>
                  </a:rPr>
                  <a:t>访问量</a:t>
                </a:r>
                <a:endParaRPr lang="en-US" altLang="zh-CN" sz="1400" dirty="0">
                  <a:solidFill>
                    <a:schemeClr val="bg1"/>
                  </a:solidFill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400" dirty="0">
                    <a:solidFill>
                      <a:schemeClr val="bg1"/>
                    </a:solidFill>
                  </a:rPr>
                  <a:t>价格</a:t>
                </a:r>
                <a:endParaRPr lang="en-US" altLang="zh-CN" sz="1400" dirty="0">
                  <a:solidFill>
                    <a:schemeClr val="bg1"/>
                  </a:solidFill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400" dirty="0">
                    <a:solidFill>
                      <a:schemeClr val="bg1"/>
                    </a:solidFill>
                  </a:rPr>
                  <a:t>优惠力度</a:t>
                </a:r>
                <a:endParaRPr lang="en-US" altLang="zh-CN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îṥḷïḓe">
                <a:extLst>
                  <a:ext uri="{FF2B5EF4-FFF2-40B4-BE49-F238E27FC236}">
                    <a16:creationId xmlns:a16="http://schemas.microsoft.com/office/drawing/2014/main" id="{A2156C98-48F9-4137-9B46-BC9C2511A83B}"/>
                  </a:ext>
                </a:extLst>
              </p:cNvPr>
              <p:cNvSpPr txBox="1"/>
              <p:nvPr/>
            </p:nvSpPr>
            <p:spPr bwMode="auto">
              <a:xfrm>
                <a:off x="7166654" y="2137341"/>
                <a:ext cx="169669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chemeClr val="bg1"/>
                    </a:solidFill>
                  </a:rPr>
                  <a:t>排序</a:t>
                </a:r>
                <a:endParaRPr lang="en-US" altLang="zh-CN" sz="20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6" name="矩形 25">
            <a:extLst>
              <a:ext uri="{FF2B5EF4-FFF2-40B4-BE49-F238E27FC236}">
                <a16:creationId xmlns:a16="http://schemas.microsoft.com/office/drawing/2014/main" id="{3D4EE960-4083-4A22-8930-930B8086827C}"/>
              </a:ext>
            </a:extLst>
          </p:cNvPr>
          <p:cNvSpPr/>
          <p:nvPr/>
        </p:nvSpPr>
        <p:spPr>
          <a:xfrm>
            <a:off x="6738151" y="3428999"/>
            <a:ext cx="1225119" cy="1857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EBF2ADF3-AA04-4823-9197-6FAB6401D244}"/>
              </a:ext>
            </a:extLst>
          </p:cNvPr>
          <p:cNvSpPr/>
          <p:nvPr/>
        </p:nvSpPr>
        <p:spPr>
          <a:xfrm>
            <a:off x="6738150" y="3723779"/>
            <a:ext cx="1225119" cy="1857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4EAA175C-D38D-4B38-ABFB-7B9E1A45F52B}"/>
              </a:ext>
            </a:extLst>
          </p:cNvPr>
          <p:cNvSpPr/>
          <p:nvPr/>
        </p:nvSpPr>
        <p:spPr>
          <a:xfrm>
            <a:off x="6738151" y="3988022"/>
            <a:ext cx="1225119" cy="1857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AE74C17-E2FE-4178-AE96-3757CB9FC35D}"/>
              </a:ext>
            </a:extLst>
          </p:cNvPr>
          <p:cNvSpPr/>
          <p:nvPr/>
        </p:nvSpPr>
        <p:spPr>
          <a:xfrm>
            <a:off x="6738151" y="4252152"/>
            <a:ext cx="1225119" cy="1857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等腰三角形 29">
            <a:extLst>
              <a:ext uri="{FF2B5EF4-FFF2-40B4-BE49-F238E27FC236}">
                <a16:creationId xmlns:a16="http://schemas.microsoft.com/office/drawing/2014/main" id="{502C7B1D-8192-43AD-95E4-14B358A4B573}"/>
              </a:ext>
            </a:extLst>
          </p:cNvPr>
          <p:cNvSpPr/>
          <p:nvPr/>
        </p:nvSpPr>
        <p:spPr>
          <a:xfrm rot="10800000">
            <a:off x="7794593" y="4012961"/>
            <a:ext cx="168676" cy="135770"/>
          </a:xfrm>
          <a:prstGeom prst="triangle">
            <a:avLst/>
          </a:prstGeom>
          <a:solidFill>
            <a:srgbClr val="E6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5D9E8E58-31D4-4A1C-8E32-2A02EB2EE9B3}"/>
              </a:ext>
            </a:extLst>
          </p:cNvPr>
          <p:cNvSpPr txBox="1"/>
          <p:nvPr/>
        </p:nvSpPr>
        <p:spPr>
          <a:xfrm>
            <a:off x="6706041" y="4562524"/>
            <a:ext cx="701335" cy="373262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zh-CN" altLang="en-US" dirty="0"/>
              <a:t>搜索</a:t>
            </a:r>
          </a:p>
        </p:txBody>
      </p:sp>
      <p:sp>
        <p:nvSpPr>
          <p:cNvPr id="32" name="箭头: 下 31">
            <a:extLst>
              <a:ext uri="{FF2B5EF4-FFF2-40B4-BE49-F238E27FC236}">
                <a16:creationId xmlns:a16="http://schemas.microsoft.com/office/drawing/2014/main" id="{15C83C29-0FA1-4A7C-9B44-53EDA28E9157}"/>
              </a:ext>
            </a:extLst>
          </p:cNvPr>
          <p:cNvSpPr/>
          <p:nvPr/>
        </p:nvSpPr>
        <p:spPr>
          <a:xfrm>
            <a:off x="9890327" y="2516766"/>
            <a:ext cx="146661" cy="19752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8C17D9D5-8D75-4319-8699-3C4D3368498E}"/>
              </a:ext>
            </a:extLst>
          </p:cNvPr>
          <p:cNvCxnSpPr/>
          <p:nvPr/>
        </p:nvCxnSpPr>
        <p:spPr>
          <a:xfrm>
            <a:off x="10193166" y="2474923"/>
            <a:ext cx="0" cy="2393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箭头: 下 35">
            <a:extLst>
              <a:ext uri="{FF2B5EF4-FFF2-40B4-BE49-F238E27FC236}">
                <a16:creationId xmlns:a16="http://schemas.microsoft.com/office/drawing/2014/main" id="{09F65BB1-690F-4C72-A9DF-D151B1D9289B}"/>
              </a:ext>
            </a:extLst>
          </p:cNvPr>
          <p:cNvSpPr/>
          <p:nvPr/>
        </p:nvSpPr>
        <p:spPr>
          <a:xfrm rot="10800000">
            <a:off x="10349345" y="2488309"/>
            <a:ext cx="177550" cy="197529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箭头: 下 36">
            <a:extLst>
              <a:ext uri="{FF2B5EF4-FFF2-40B4-BE49-F238E27FC236}">
                <a16:creationId xmlns:a16="http://schemas.microsoft.com/office/drawing/2014/main" id="{99367F7F-DD01-4FEB-9CD7-649125B31721}"/>
              </a:ext>
            </a:extLst>
          </p:cNvPr>
          <p:cNvSpPr/>
          <p:nvPr/>
        </p:nvSpPr>
        <p:spPr>
          <a:xfrm>
            <a:off x="9890327" y="2838307"/>
            <a:ext cx="146661" cy="19752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0094BF8E-CB6A-4945-84B3-FF7800172901}"/>
              </a:ext>
            </a:extLst>
          </p:cNvPr>
          <p:cNvCxnSpPr>
            <a:cxnSpLocks/>
          </p:cNvCxnSpPr>
          <p:nvPr/>
        </p:nvCxnSpPr>
        <p:spPr>
          <a:xfrm>
            <a:off x="10193166" y="2796464"/>
            <a:ext cx="0" cy="2393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箭头: 下 38">
            <a:extLst>
              <a:ext uri="{FF2B5EF4-FFF2-40B4-BE49-F238E27FC236}">
                <a16:creationId xmlns:a16="http://schemas.microsoft.com/office/drawing/2014/main" id="{9717153D-971B-45CA-B2D8-821D55D96287}"/>
              </a:ext>
            </a:extLst>
          </p:cNvPr>
          <p:cNvSpPr/>
          <p:nvPr/>
        </p:nvSpPr>
        <p:spPr>
          <a:xfrm rot="10800000">
            <a:off x="10349345" y="2809850"/>
            <a:ext cx="177550" cy="197529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箭头: 下 40">
            <a:extLst>
              <a:ext uri="{FF2B5EF4-FFF2-40B4-BE49-F238E27FC236}">
                <a16:creationId xmlns:a16="http://schemas.microsoft.com/office/drawing/2014/main" id="{511F2729-EC5A-4D85-9F1E-D37EFD710C33}"/>
              </a:ext>
            </a:extLst>
          </p:cNvPr>
          <p:cNvSpPr/>
          <p:nvPr/>
        </p:nvSpPr>
        <p:spPr>
          <a:xfrm rot="10800000">
            <a:off x="9890327" y="3182558"/>
            <a:ext cx="146661" cy="19752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4D307B51-DC8E-4577-B0C7-3F62630A5053}"/>
              </a:ext>
            </a:extLst>
          </p:cNvPr>
          <p:cNvCxnSpPr>
            <a:cxnSpLocks/>
          </p:cNvCxnSpPr>
          <p:nvPr/>
        </p:nvCxnSpPr>
        <p:spPr>
          <a:xfrm rot="10800000">
            <a:off x="10193166" y="3140715"/>
            <a:ext cx="0" cy="2393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箭头: 下 42">
            <a:extLst>
              <a:ext uri="{FF2B5EF4-FFF2-40B4-BE49-F238E27FC236}">
                <a16:creationId xmlns:a16="http://schemas.microsoft.com/office/drawing/2014/main" id="{F52E186D-9E29-44A8-9A42-8A15BAA48E0E}"/>
              </a:ext>
            </a:extLst>
          </p:cNvPr>
          <p:cNvSpPr/>
          <p:nvPr/>
        </p:nvSpPr>
        <p:spPr>
          <a:xfrm>
            <a:off x="10349345" y="3154101"/>
            <a:ext cx="177550" cy="197529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箭头: 下 54">
            <a:extLst>
              <a:ext uri="{FF2B5EF4-FFF2-40B4-BE49-F238E27FC236}">
                <a16:creationId xmlns:a16="http://schemas.microsoft.com/office/drawing/2014/main" id="{44E5EF89-DE39-4031-B917-19BE7069806B}"/>
              </a:ext>
            </a:extLst>
          </p:cNvPr>
          <p:cNvSpPr/>
          <p:nvPr/>
        </p:nvSpPr>
        <p:spPr>
          <a:xfrm rot="10800000">
            <a:off x="9911205" y="3512292"/>
            <a:ext cx="146661" cy="19752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06450C88-B47F-46DE-B2F9-A6F98665C419}"/>
              </a:ext>
            </a:extLst>
          </p:cNvPr>
          <p:cNvCxnSpPr>
            <a:cxnSpLocks/>
          </p:cNvCxnSpPr>
          <p:nvPr/>
        </p:nvCxnSpPr>
        <p:spPr>
          <a:xfrm rot="10800000">
            <a:off x="10214044" y="3470449"/>
            <a:ext cx="0" cy="2393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箭头: 下 56">
            <a:extLst>
              <a:ext uri="{FF2B5EF4-FFF2-40B4-BE49-F238E27FC236}">
                <a16:creationId xmlns:a16="http://schemas.microsoft.com/office/drawing/2014/main" id="{4D0C0567-C5E3-4387-ABA5-FDCC1A0BF12C}"/>
              </a:ext>
            </a:extLst>
          </p:cNvPr>
          <p:cNvSpPr/>
          <p:nvPr/>
        </p:nvSpPr>
        <p:spPr>
          <a:xfrm>
            <a:off x="10370223" y="3483835"/>
            <a:ext cx="177550" cy="197529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0" name="音频 39">
            <a:hlinkClick r:id="" action="ppaction://media"/>
            <a:extLst>
              <a:ext uri="{FF2B5EF4-FFF2-40B4-BE49-F238E27FC236}">
                <a16:creationId xmlns:a16="http://schemas.microsoft.com/office/drawing/2014/main" id="{3D709A81-D355-4CDB-8452-2C01B9831BF4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679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249"/>
    </mc:Choice>
    <mc:Fallback xmlns="">
      <p:transition spd="slow" advTm="2524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0"/>
                </p:tgtEl>
              </p:cMediaNode>
            </p:audi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A0DF2B0-272B-4AAB-95DA-05E6DA9B5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划分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9D942B4-5D32-46BE-8C48-3294BF3AD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grpSp>
        <p:nvGrpSpPr>
          <p:cNvPr id="5" name="20426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E8DC5FE-1D80-495D-9A2F-C623DF587457}"/>
              </a:ext>
            </a:extLst>
          </p:cNvPr>
          <p:cNvGrpSpPr>
            <a:grpSpLocks noChangeAspect="1"/>
          </p:cNvGrpSpPr>
          <p:nvPr/>
        </p:nvGrpSpPr>
        <p:grpSpPr>
          <a:xfrm>
            <a:off x="655713" y="1311102"/>
            <a:ext cx="10867873" cy="5336364"/>
            <a:chOff x="655713" y="1311102"/>
            <a:chExt cx="10867873" cy="5336364"/>
          </a:xfrm>
        </p:grpSpPr>
        <p:sp>
          <p:nvSpPr>
            <p:cNvPr id="6" name="î$1îḓe">
              <a:extLst>
                <a:ext uri="{FF2B5EF4-FFF2-40B4-BE49-F238E27FC236}">
                  <a16:creationId xmlns:a16="http://schemas.microsoft.com/office/drawing/2014/main" id="{4C4AF453-8675-4A79-A05D-B2D16A8EDCBA}"/>
                </a:ext>
              </a:extLst>
            </p:cNvPr>
            <p:cNvSpPr/>
            <p:nvPr/>
          </p:nvSpPr>
          <p:spPr>
            <a:xfrm>
              <a:off x="5649611" y="3168940"/>
              <a:ext cx="3057035" cy="48735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85000" lnSpcReduction="20000"/>
            </a:bodyPr>
            <a:lstStyle/>
            <a:p>
              <a:pPr algn="ctr"/>
              <a:endParaRPr lang="en-US" sz="2400"/>
            </a:p>
          </p:txBody>
        </p:sp>
        <p:sp>
          <p:nvSpPr>
            <p:cNvPr id="7" name="ïṥḻïďè">
              <a:extLst>
                <a:ext uri="{FF2B5EF4-FFF2-40B4-BE49-F238E27FC236}">
                  <a16:creationId xmlns:a16="http://schemas.microsoft.com/office/drawing/2014/main" id="{1DBF8EB6-0230-41EE-BB64-9B69AE5A3BBA}"/>
                </a:ext>
              </a:extLst>
            </p:cNvPr>
            <p:cNvSpPr/>
            <p:nvPr/>
          </p:nvSpPr>
          <p:spPr>
            <a:xfrm>
              <a:off x="2979536" y="3590480"/>
              <a:ext cx="3057035" cy="487355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85000" lnSpcReduction="20000"/>
            </a:bodyPr>
            <a:lstStyle/>
            <a:p>
              <a:pPr algn="ctr"/>
              <a:endParaRPr lang="en-US" sz="2400"/>
            </a:p>
          </p:txBody>
        </p:sp>
        <p:sp>
          <p:nvSpPr>
            <p:cNvPr id="8" name="íšlïde">
              <a:extLst>
                <a:ext uri="{FF2B5EF4-FFF2-40B4-BE49-F238E27FC236}">
                  <a16:creationId xmlns:a16="http://schemas.microsoft.com/office/drawing/2014/main" id="{1A84CD57-69B3-4D5A-A8A6-00591149B925}"/>
                </a:ext>
              </a:extLst>
            </p:cNvPr>
            <p:cNvSpPr/>
            <p:nvPr/>
          </p:nvSpPr>
          <p:spPr>
            <a:xfrm>
              <a:off x="2673088" y="3598378"/>
              <a:ext cx="936855" cy="93685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9" name="íṧľiḍe">
              <a:extLst>
                <a:ext uri="{FF2B5EF4-FFF2-40B4-BE49-F238E27FC236}">
                  <a16:creationId xmlns:a16="http://schemas.microsoft.com/office/drawing/2014/main" id="{42BE8014-0A73-48D0-B104-41F3DEA53684}"/>
                </a:ext>
              </a:extLst>
            </p:cNvPr>
            <p:cNvSpPr/>
            <p:nvPr/>
          </p:nvSpPr>
          <p:spPr>
            <a:xfrm rot="5400000">
              <a:off x="8086133" y="2948614"/>
              <a:ext cx="834140" cy="487355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85000" lnSpcReduction="20000"/>
            </a:bodyPr>
            <a:lstStyle/>
            <a:p>
              <a:pPr algn="ctr"/>
              <a:endParaRPr lang="en-US" sz="2400"/>
            </a:p>
          </p:txBody>
        </p:sp>
        <p:sp>
          <p:nvSpPr>
            <p:cNvPr id="10" name="í$ḻïďê">
              <a:extLst>
                <a:ext uri="{FF2B5EF4-FFF2-40B4-BE49-F238E27FC236}">
                  <a16:creationId xmlns:a16="http://schemas.microsoft.com/office/drawing/2014/main" id="{38A3C07E-7772-4F82-BB8C-77B0E1322DFE}"/>
                </a:ext>
              </a:extLst>
            </p:cNvPr>
            <p:cNvSpPr/>
            <p:nvPr/>
          </p:nvSpPr>
          <p:spPr>
            <a:xfrm>
              <a:off x="655713" y="4043654"/>
              <a:ext cx="2725880" cy="48735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85000" lnSpcReduction="20000"/>
            </a:bodyPr>
            <a:lstStyle/>
            <a:p>
              <a:pPr algn="ctr"/>
              <a:endParaRPr lang="en-US" sz="2400"/>
            </a:p>
          </p:txBody>
        </p:sp>
        <p:sp>
          <p:nvSpPr>
            <p:cNvPr id="11" name="ïṩľïdé">
              <a:extLst>
                <a:ext uri="{FF2B5EF4-FFF2-40B4-BE49-F238E27FC236}">
                  <a16:creationId xmlns:a16="http://schemas.microsoft.com/office/drawing/2014/main" id="{AF945A1C-746E-406A-8109-2698D8E8DB96}"/>
                </a:ext>
              </a:extLst>
            </p:cNvPr>
            <p:cNvSpPr/>
            <p:nvPr/>
          </p:nvSpPr>
          <p:spPr>
            <a:xfrm>
              <a:off x="8267612" y="2733391"/>
              <a:ext cx="3057035" cy="487355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85000" lnSpcReduction="20000"/>
            </a:bodyPr>
            <a:lstStyle/>
            <a:p>
              <a:pPr algn="ctr"/>
              <a:endParaRPr lang="en-US" sz="2400"/>
            </a:p>
          </p:txBody>
        </p:sp>
        <p:sp>
          <p:nvSpPr>
            <p:cNvPr id="12" name="íṡ1idê">
              <a:extLst>
                <a:ext uri="{FF2B5EF4-FFF2-40B4-BE49-F238E27FC236}">
                  <a16:creationId xmlns:a16="http://schemas.microsoft.com/office/drawing/2014/main" id="{10421787-EE01-43F2-AC23-3A54F0E8FDBB}"/>
                </a:ext>
              </a:extLst>
            </p:cNvPr>
            <p:cNvSpPr/>
            <p:nvPr/>
          </p:nvSpPr>
          <p:spPr>
            <a:xfrm>
              <a:off x="10586731" y="2287334"/>
              <a:ext cx="936855" cy="93685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13" name="ïsḻïde">
              <a:extLst>
                <a:ext uri="{FF2B5EF4-FFF2-40B4-BE49-F238E27FC236}">
                  <a16:creationId xmlns:a16="http://schemas.microsoft.com/office/drawing/2014/main" id="{56D44664-BA3A-4464-925F-A69366DBA9E6}"/>
                </a:ext>
              </a:extLst>
            </p:cNvPr>
            <p:cNvSpPr/>
            <p:nvPr/>
          </p:nvSpPr>
          <p:spPr>
            <a:xfrm>
              <a:off x="5391562" y="3140933"/>
              <a:ext cx="936855" cy="93685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14" name="íSľïdê">
              <a:extLst>
                <a:ext uri="{FF2B5EF4-FFF2-40B4-BE49-F238E27FC236}">
                  <a16:creationId xmlns:a16="http://schemas.microsoft.com/office/drawing/2014/main" id="{A5268352-E4FF-41CE-A1D8-A49B79F38CE8}"/>
                </a:ext>
              </a:extLst>
            </p:cNvPr>
            <p:cNvSpPr/>
            <p:nvPr/>
          </p:nvSpPr>
          <p:spPr>
            <a:xfrm>
              <a:off x="8027880" y="2717180"/>
              <a:ext cx="936855" cy="93685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15" name="iṡḷïḋé">
              <a:extLst>
                <a:ext uri="{FF2B5EF4-FFF2-40B4-BE49-F238E27FC236}">
                  <a16:creationId xmlns:a16="http://schemas.microsoft.com/office/drawing/2014/main" id="{0E290312-2DC2-4529-8BED-556A08FD28C4}"/>
                </a:ext>
              </a:extLst>
            </p:cNvPr>
            <p:cNvSpPr/>
            <p:nvPr/>
          </p:nvSpPr>
          <p:spPr>
            <a:xfrm>
              <a:off x="8265252" y="2976540"/>
              <a:ext cx="462110" cy="418134"/>
            </a:xfrm>
            <a:custGeom>
              <a:avLst/>
              <a:gdLst>
                <a:gd name="connsiteX0" fmla="*/ 407586 w 606580"/>
                <a:gd name="connsiteY0" fmla="*/ 252695 h 548858"/>
                <a:gd name="connsiteX1" fmla="*/ 502285 w 606580"/>
                <a:gd name="connsiteY1" fmla="*/ 252695 h 548858"/>
                <a:gd name="connsiteX2" fmla="*/ 502285 w 606580"/>
                <a:gd name="connsiteY2" fmla="*/ 346759 h 548858"/>
                <a:gd name="connsiteX3" fmla="*/ 407586 w 606580"/>
                <a:gd name="connsiteY3" fmla="*/ 346759 h 548858"/>
                <a:gd name="connsiteX4" fmla="*/ 104296 w 606580"/>
                <a:gd name="connsiteY4" fmla="*/ 205698 h 548858"/>
                <a:gd name="connsiteX5" fmla="*/ 199065 w 606580"/>
                <a:gd name="connsiteY5" fmla="*/ 205698 h 548858"/>
                <a:gd name="connsiteX6" fmla="*/ 199065 w 606580"/>
                <a:gd name="connsiteY6" fmla="*/ 346758 h 548858"/>
                <a:gd name="connsiteX7" fmla="*/ 104296 w 606580"/>
                <a:gd name="connsiteY7" fmla="*/ 346758 h 548858"/>
                <a:gd name="connsiteX8" fmla="*/ 255870 w 606580"/>
                <a:gd name="connsiteY8" fmla="*/ 96040 h 548858"/>
                <a:gd name="connsiteX9" fmla="*/ 350710 w 606580"/>
                <a:gd name="connsiteY9" fmla="*/ 96040 h 548858"/>
                <a:gd name="connsiteX10" fmla="*/ 350710 w 606580"/>
                <a:gd name="connsiteY10" fmla="*/ 346759 h 548858"/>
                <a:gd name="connsiteX11" fmla="*/ 255870 w 606580"/>
                <a:gd name="connsiteY11" fmla="*/ 346759 h 548858"/>
                <a:gd name="connsiteX12" fmla="*/ 37882 w 606580"/>
                <a:gd name="connsiteY12" fmla="*/ 37913 h 548858"/>
                <a:gd name="connsiteX13" fmla="*/ 37882 w 606580"/>
                <a:gd name="connsiteY13" fmla="*/ 405363 h 548858"/>
                <a:gd name="connsiteX14" fmla="*/ 568698 w 606580"/>
                <a:gd name="connsiteY14" fmla="*/ 405363 h 548858"/>
                <a:gd name="connsiteX15" fmla="*/ 568698 w 606580"/>
                <a:gd name="connsiteY15" fmla="*/ 37913 h 548858"/>
                <a:gd name="connsiteX16" fmla="*/ 18941 w 606580"/>
                <a:gd name="connsiteY16" fmla="*/ 0 h 548858"/>
                <a:gd name="connsiteX17" fmla="*/ 587639 w 606580"/>
                <a:gd name="connsiteY17" fmla="*/ 0 h 548858"/>
                <a:gd name="connsiteX18" fmla="*/ 606580 w 606580"/>
                <a:gd name="connsiteY18" fmla="*/ 18910 h 548858"/>
                <a:gd name="connsiteX19" fmla="*/ 606580 w 606580"/>
                <a:gd name="connsiteY19" fmla="*/ 424274 h 548858"/>
                <a:gd name="connsiteX20" fmla="*/ 587639 w 606580"/>
                <a:gd name="connsiteY20" fmla="*/ 443184 h 548858"/>
                <a:gd name="connsiteX21" fmla="*/ 322278 w 606580"/>
                <a:gd name="connsiteY21" fmla="*/ 443184 h 548858"/>
                <a:gd name="connsiteX22" fmla="*/ 322278 w 606580"/>
                <a:gd name="connsiteY22" fmla="*/ 511038 h 548858"/>
                <a:gd name="connsiteX23" fmla="*/ 450223 w 606580"/>
                <a:gd name="connsiteY23" fmla="*/ 511038 h 548858"/>
                <a:gd name="connsiteX24" fmla="*/ 450223 w 606580"/>
                <a:gd name="connsiteY24" fmla="*/ 548858 h 548858"/>
                <a:gd name="connsiteX25" fmla="*/ 156357 w 606580"/>
                <a:gd name="connsiteY25" fmla="*/ 548858 h 548858"/>
                <a:gd name="connsiteX26" fmla="*/ 156357 w 606580"/>
                <a:gd name="connsiteY26" fmla="*/ 511038 h 548858"/>
                <a:gd name="connsiteX27" fmla="*/ 284302 w 606580"/>
                <a:gd name="connsiteY27" fmla="*/ 511038 h 548858"/>
                <a:gd name="connsiteX28" fmla="*/ 284302 w 606580"/>
                <a:gd name="connsiteY28" fmla="*/ 443184 h 548858"/>
                <a:gd name="connsiteX29" fmla="*/ 18941 w 606580"/>
                <a:gd name="connsiteY29" fmla="*/ 443184 h 548858"/>
                <a:gd name="connsiteX30" fmla="*/ 0 w 606580"/>
                <a:gd name="connsiteY30" fmla="*/ 424274 h 548858"/>
                <a:gd name="connsiteX31" fmla="*/ 0 w 606580"/>
                <a:gd name="connsiteY31" fmla="*/ 18910 h 548858"/>
                <a:gd name="connsiteX32" fmla="*/ 18941 w 606580"/>
                <a:gd name="connsiteY32" fmla="*/ 0 h 54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6580" h="548858">
                  <a:moveTo>
                    <a:pt x="407586" y="252695"/>
                  </a:moveTo>
                  <a:lnTo>
                    <a:pt x="502285" y="252695"/>
                  </a:lnTo>
                  <a:lnTo>
                    <a:pt x="502285" y="346759"/>
                  </a:lnTo>
                  <a:lnTo>
                    <a:pt x="407586" y="346759"/>
                  </a:lnTo>
                  <a:close/>
                  <a:moveTo>
                    <a:pt x="104296" y="205698"/>
                  </a:moveTo>
                  <a:lnTo>
                    <a:pt x="199065" y="205698"/>
                  </a:lnTo>
                  <a:lnTo>
                    <a:pt x="199065" y="346758"/>
                  </a:lnTo>
                  <a:lnTo>
                    <a:pt x="104296" y="346758"/>
                  </a:lnTo>
                  <a:close/>
                  <a:moveTo>
                    <a:pt x="255870" y="96040"/>
                  </a:moveTo>
                  <a:lnTo>
                    <a:pt x="350710" y="96040"/>
                  </a:lnTo>
                  <a:lnTo>
                    <a:pt x="350710" y="346759"/>
                  </a:lnTo>
                  <a:lnTo>
                    <a:pt x="255870" y="346759"/>
                  </a:lnTo>
                  <a:close/>
                  <a:moveTo>
                    <a:pt x="37882" y="37913"/>
                  </a:moveTo>
                  <a:lnTo>
                    <a:pt x="37882" y="405363"/>
                  </a:lnTo>
                  <a:lnTo>
                    <a:pt x="568698" y="405363"/>
                  </a:lnTo>
                  <a:lnTo>
                    <a:pt x="568698" y="37913"/>
                  </a:lnTo>
                  <a:close/>
                  <a:moveTo>
                    <a:pt x="18941" y="0"/>
                  </a:moveTo>
                  <a:lnTo>
                    <a:pt x="587639" y="0"/>
                  </a:lnTo>
                  <a:cubicBezTo>
                    <a:pt x="598038" y="0"/>
                    <a:pt x="606580" y="8528"/>
                    <a:pt x="606580" y="18910"/>
                  </a:cubicBezTo>
                  <a:lnTo>
                    <a:pt x="606580" y="424274"/>
                  </a:lnTo>
                  <a:cubicBezTo>
                    <a:pt x="606580" y="434656"/>
                    <a:pt x="598038" y="443184"/>
                    <a:pt x="587639" y="443184"/>
                  </a:cubicBezTo>
                  <a:lnTo>
                    <a:pt x="322278" y="443184"/>
                  </a:lnTo>
                  <a:lnTo>
                    <a:pt x="322278" y="511038"/>
                  </a:lnTo>
                  <a:lnTo>
                    <a:pt x="450223" y="511038"/>
                  </a:lnTo>
                  <a:lnTo>
                    <a:pt x="450223" y="548858"/>
                  </a:lnTo>
                  <a:lnTo>
                    <a:pt x="156357" y="548858"/>
                  </a:lnTo>
                  <a:lnTo>
                    <a:pt x="156357" y="511038"/>
                  </a:lnTo>
                  <a:lnTo>
                    <a:pt x="284302" y="511038"/>
                  </a:lnTo>
                  <a:lnTo>
                    <a:pt x="284302" y="443184"/>
                  </a:lnTo>
                  <a:lnTo>
                    <a:pt x="18941" y="443184"/>
                  </a:lnTo>
                  <a:cubicBezTo>
                    <a:pt x="8542" y="443184"/>
                    <a:pt x="0" y="434656"/>
                    <a:pt x="0" y="424274"/>
                  </a:cubicBezTo>
                  <a:lnTo>
                    <a:pt x="0" y="18910"/>
                  </a:lnTo>
                  <a:cubicBezTo>
                    <a:pt x="0" y="8528"/>
                    <a:pt x="8542" y="0"/>
                    <a:pt x="1894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/>
            </a:p>
          </p:txBody>
        </p:sp>
        <p:sp>
          <p:nvSpPr>
            <p:cNvPr id="16" name="isļiďè">
              <a:extLst>
                <a:ext uri="{FF2B5EF4-FFF2-40B4-BE49-F238E27FC236}">
                  <a16:creationId xmlns:a16="http://schemas.microsoft.com/office/drawing/2014/main" id="{4C5B7012-B674-4C51-9843-FCCEB37887DD}"/>
                </a:ext>
              </a:extLst>
            </p:cNvPr>
            <p:cNvSpPr/>
            <p:nvPr/>
          </p:nvSpPr>
          <p:spPr bwMode="auto">
            <a:xfrm>
              <a:off x="2923461" y="3849079"/>
              <a:ext cx="436108" cy="43545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8649" h="594741">
                  <a:moveTo>
                    <a:pt x="411175" y="315251"/>
                  </a:moveTo>
                  <a:cubicBezTo>
                    <a:pt x="392328" y="315251"/>
                    <a:pt x="373301" y="322420"/>
                    <a:pt x="358940" y="336757"/>
                  </a:cubicBezTo>
                  <a:cubicBezTo>
                    <a:pt x="330220" y="365432"/>
                    <a:pt x="330220" y="411311"/>
                    <a:pt x="358940" y="439986"/>
                  </a:cubicBezTo>
                  <a:cubicBezTo>
                    <a:pt x="387661" y="468660"/>
                    <a:pt x="435049" y="468660"/>
                    <a:pt x="462333" y="439986"/>
                  </a:cubicBezTo>
                  <a:cubicBezTo>
                    <a:pt x="491053" y="411311"/>
                    <a:pt x="491053" y="365432"/>
                    <a:pt x="462333" y="336757"/>
                  </a:cubicBezTo>
                  <a:cubicBezTo>
                    <a:pt x="448691" y="322420"/>
                    <a:pt x="430023" y="315251"/>
                    <a:pt x="411175" y="315251"/>
                  </a:cubicBezTo>
                  <a:close/>
                  <a:moveTo>
                    <a:pt x="410816" y="276182"/>
                  </a:moveTo>
                  <a:cubicBezTo>
                    <a:pt x="439716" y="276182"/>
                    <a:pt x="468795" y="287293"/>
                    <a:pt x="491053" y="309516"/>
                  </a:cubicBezTo>
                  <a:cubicBezTo>
                    <a:pt x="525517" y="342492"/>
                    <a:pt x="532697" y="394106"/>
                    <a:pt x="514029" y="435685"/>
                  </a:cubicBezTo>
                  <a:lnTo>
                    <a:pt x="578649" y="500203"/>
                  </a:lnTo>
                  <a:lnTo>
                    <a:pt x="522645" y="556118"/>
                  </a:lnTo>
                  <a:lnTo>
                    <a:pt x="458025" y="491600"/>
                  </a:lnTo>
                  <a:cubicBezTo>
                    <a:pt x="416381" y="510239"/>
                    <a:pt x="366121" y="503070"/>
                    <a:pt x="331656" y="468660"/>
                  </a:cubicBezTo>
                  <a:cubicBezTo>
                    <a:pt x="287140" y="424215"/>
                    <a:pt x="287140" y="352528"/>
                    <a:pt x="331656" y="309516"/>
                  </a:cubicBezTo>
                  <a:cubicBezTo>
                    <a:pt x="353197" y="287293"/>
                    <a:pt x="381917" y="276182"/>
                    <a:pt x="410816" y="276182"/>
                  </a:cubicBezTo>
                  <a:close/>
                  <a:moveTo>
                    <a:pt x="134949" y="20001"/>
                  </a:moveTo>
                  <a:lnTo>
                    <a:pt x="134949" y="144835"/>
                  </a:lnTo>
                  <a:lnTo>
                    <a:pt x="17242" y="144835"/>
                  </a:lnTo>
                  <a:close/>
                  <a:moveTo>
                    <a:pt x="172278" y="0"/>
                  </a:moveTo>
                  <a:lnTo>
                    <a:pt x="480943" y="0"/>
                  </a:lnTo>
                  <a:lnTo>
                    <a:pt x="480943" y="276591"/>
                  </a:lnTo>
                  <a:cubicBezTo>
                    <a:pt x="460844" y="263693"/>
                    <a:pt x="436438" y="256527"/>
                    <a:pt x="410596" y="256527"/>
                  </a:cubicBezTo>
                  <a:cubicBezTo>
                    <a:pt x="381883" y="256527"/>
                    <a:pt x="354606" y="265126"/>
                    <a:pt x="331636" y="282323"/>
                  </a:cubicBezTo>
                  <a:lnTo>
                    <a:pt x="81832" y="282323"/>
                  </a:lnTo>
                  <a:lnTo>
                    <a:pt x="81832" y="322450"/>
                  </a:lnTo>
                  <a:lnTo>
                    <a:pt x="295744" y="322450"/>
                  </a:lnTo>
                  <a:cubicBezTo>
                    <a:pt x="288566" y="335348"/>
                    <a:pt x="282823" y="351112"/>
                    <a:pt x="279952" y="366877"/>
                  </a:cubicBezTo>
                  <a:lnTo>
                    <a:pt x="81832" y="366877"/>
                  </a:lnTo>
                  <a:lnTo>
                    <a:pt x="81832" y="407004"/>
                  </a:lnTo>
                  <a:lnTo>
                    <a:pt x="279952" y="407004"/>
                  </a:lnTo>
                  <a:cubicBezTo>
                    <a:pt x="281388" y="422768"/>
                    <a:pt x="287130" y="438532"/>
                    <a:pt x="294309" y="451430"/>
                  </a:cubicBezTo>
                  <a:lnTo>
                    <a:pt x="81832" y="451430"/>
                  </a:lnTo>
                  <a:lnTo>
                    <a:pt x="81832" y="491557"/>
                  </a:lnTo>
                  <a:lnTo>
                    <a:pt x="327329" y="491557"/>
                  </a:lnTo>
                  <a:cubicBezTo>
                    <a:pt x="350299" y="511621"/>
                    <a:pt x="380448" y="521653"/>
                    <a:pt x="410596" y="521653"/>
                  </a:cubicBezTo>
                  <a:cubicBezTo>
                    <a:pt x="424953" y="521653"/>
                    <a:pt x="439309" y="518786"/>
                    <a:pt x="453666" y="514487"/>
                  </a:cubicBezTo>
                  <a:lnTo>
                    <a:pt x="480943" y="543149"/>
                  </a:lnTo>
                  <a:lnTo>
                    <a:pt x="480943" y="594741"/>
                  </a:lnTo>
                  <a:lnTo>
                    <a:pt x="0" y="594741"/>
                  </a:lnTo>
                  <a:lnTo>
                    <a:pt x="0" y="180572"/>
                  </a:lnTo>
                  <a:lnTo>
                    <a:pt x="172278" y="1805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7" name="ïṣḷîḍé">
              <a:extLst>
                <a:ext uri="{FF2B5EF4-FFF2-40B4-BE49-F238E27FC236}">
                  <a16:creationId xmlns:a16="http://schemas.microsoft.com/office/drawing/2014/main" id="{82C79DBE-BA83-447A-AB32-8CFBD38716BF}"/>
                </a:ext>
              </a:extLst>
            </p:cNvPr>
            <p:cNvSpPr/>
            <p:nvPr/>
          </p:nvSpPr>
          <p:spPr>
            <a:xfrm>
              <a:off x="5608035" y="3382156"/>
              <a:ext cx="503908" cy="454408"/>
            </a:xfrm>
            <a:custGeom>
              <a:avLst/>
              <a:gdLst>
                <a:gd name="connsiteX0" fmla="*/ 521432 w 608344"/>
                <a:gd name="connsiteY0" fmla="*/ 370453 h 548582"/>
                <a:gd name="connsiteX1" fmla="*/ 465737 w 608344"/>
                <a:gd name="connsiteY1" fmla="*/ 425787 h 548582"/>
                <a:gd name="connsiteX2" fmla="*/ 442491 w 608344"/>
                <a:gd name="connsiteY2" fmla="*/ 402479 h 548582"/>
                <a:gd name="connsiteX3" fmla="*/ 418201 w 608344"/>
                <a:gd name="connsiteY3" fmla="*/ 426545 h 548582"/>
                <a:gd name="connsiteX4" fmla="*/ 441447 w 608344"/>
                <a:gd name="connsiteY4" fmla="*/ 449948 h 548582"/>
                <a:gd name="connsiteX5" fmla="*/ 465642 w 608344"/>
                <a:gd name="connsiteY5" fmla="*/ 474204 h 548582"/>
                <a:gd name="connsiteX6" fmla="*/ 489932 w 608344"/>
                <a:gd name="connsiteY6" fmla="*/ 450043 h 548582"/>
                <a:gd name="connsiteX7" fmla="*/ 545532 w 608344"/>
                <a:gd name="connsiteY7" fmla="*/ 394709 h 548582"/>
                <a:gd name="connsiteX8" fmla="*/ 481962 w 608344"/>
                <a:gd name="connsiteY8" fmla="*/ 296170 h 548582"/>
                <a:gd name="connsiteX9" fmla="*/ 608344 w 608344"/>
                <a:gd name="connsiteY9" fmla="*/ 422376 h 548582"/>
                <a:gd name="connsiteX10" fmla="*/ 481962 w 608344"/>
                <a:gd name="connsiteY10" fmla="*/ 548582 h 548582"/>
                <a:gd name="connsiteX11" fmla="*/ 355579 w 608344"/>
                <a:gd name="connsiteY11" fmla="*/ 422376 h 548582"/>
                <a:gd name="connsiteX12" fmla="*/ 481962 w 608344"/>
                <a:gd name="connsiteY12" fmla="*/ 296170 h 548582"/>
                <a:gd name="connsiteX13" fmla="*/ 255835 w 608344"/>
                <a:gd name="connsiteY13" fmla="*/ 446 h 548582"/>
                <a:gd name="connsiteX14" fmla="*/ 317801 w 608344"/>
                <a:gd name="connsiteY14" fmla="*/ 13616 h 548582"/>
                <a:gd name="connsiteX15" fmla="*/ 348072 w 608344"/>
                <a:gd name="connsiteY15" fmla="*/ 41661 h 548582"/>
                <a:gd name="connsiteX16" fmla="*/ 381190 w 608344"/>
                <a:gd name="connsiteY16" fmla="*/ 146831 h 548582"/>
                <a:gd name="connsiteX17" fmla="*/ 378913 w 608344"/>
                <a:gd name="connsiteY17" fmla="*/ 156211 h 548582"/>
                <a:gd name="connsiteX18" fmla="*/ 387833 w 608344"/>
                <a:gd name="connsiteY18" fmla="*/ 200458 h 548582"/>
                <a:gd name="connsiteX19" fmla="*/ 366387 w 608344"/>
                <a:gd name="connsiteY19" fmla="*/ 237694 h 548582"/>
                <a:gd name="connsiteX20" fmla="*/ 351393 w 608344"/>
                <a:gd name="connsiteY20" fmla="*/ 278720 h 548582"/>
                <a:gd name="connsiteX21" fmla="*/ 351393 w 608344"/>
                <a:gd name="connsiteY21" fmla="*/ 322873 h 548582"/>
                <a:gd name="connsiteX22" fmla="*/ 317611 w 608344"/>
                <a:gd name="connsiteY22" fmla="*/ 422358 h 548582"/>
                <a:gd name="connsiteX23" fmla="*/ 376635 w 608344"/>
                <a:gd name="connsiteY23" fmla="*/ 548088 h 548582"/>
                <a:gd name="connsiteX24" fmla="*/ 26855 w 608344"/>
                <a:gd name="connsiteY24" fmla="*/ 548088 h 548582"/>
                <a:gd name="connsiteX25" fmla="*/ 0 w 608344"/>
                <a:gd name="connsiteY25" fmla="*/ 521274 h 548582"/>
                <a:gd name="connsiteX26" fmla="*/ 0 w 608344"/>
                <a:gd name="connsiteY26" fmla="*/ 473806 h 548582"/>
                <a:gd name="connsiteX27" fmla="*/ 19453 w 608344"/>
                <a:gd name="connsiteY27" fmla="*/ 432969 h 548582"/>
                <a:gd name="connsiteX28" fmla="*/ 173751 w 608344"/>
                <a:gd name="connsiteY28" fmla="*/ 334242 h 548582"/>
                <a:gd name="connsiteX29" fmla="*/ 176408 w 608344"/>
                <a:gd name="connsiteY29" fmla="*/ 329884 h 548582"/>
                <a:gd name="connsiteX30" fmla="*/ 176408 w 608344"/>
                <a:gd name="connsiteY30" fmla="*/ 278720 h 548582"/>
                <a:gd name="connsiteX31" fmla="*/ 161320 w 608344"/>
                <a:gd name="connsiteY31" fmla="*/ 237694 h 548582"/>
                <a:gd name="connsiteX32" fmla="*/ 139969 w 608344"/>
                <a:gd name="connsiteY32" fmla="*/ 200458 h 548582"/>
                <a:gd name="connsiteX33" fmla="*/ 148320 w 608344"/>
                <a:gd name="connsiteY33" fmla="*/ 156211 h 548582"/>
                <a:gd name="connsiteX34" fmla="*/ 146042 w 608344"/>
                <a:gd name="connsiteY34" fmla="*/ 146736 h 548582"/>
                <a:gd name="connsiteX35" fmla="*/ 145758 w 608344"/>
                <a:gd name="connsiteY35" fmla="*/ 95099 h 548582"/>
                <a:gd name="connsiteX36" fmla="*/ 176029 w 608344"/>
                <a:gd name="connsiteY36" fmla="*/ 42135 h 548582"/>
                <a:gd name="connsiteX37" fmla="*/ 203928 w 608344"/>
                <a:gd name="connsiteY37" fmla="*/ 19017 h 548582"/>
                <a:gd name="connsiteX38" fmla="*/ 231162 w 608344"/>
                <a:gd name="connsiteY38" fmla="*/ 5089 h 548582"/>
                <a:gd name="connsiteX39" fmla="*/ 255835 w 608344"/>
                <a:gd name="connsiteY39" fmla="*/ 446 h 54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8344" h="548582">
                  <a:moveTo>
                    <a:pt x="521432" y="370453"/>
                  </a:moveTo>
                  <a:lnTo>
                    <a:pt x="465737" y="425787"/>
                  </a:lnTo>
                  <a:lnTo>
                    <a:pt x="442491" y="402479"/>
                  </a:lnTo>
                  <a:lnTo>
                    <a:pt x="418201" y="426545"/>
                  </a:lnTo>
                  <a:lnTo>
                    <a:pt x="441447" y="449948"/>
                  </a:lnTo>
                  <a:lnTo>
                    <a:pt x="465642" y="474204"/>
                  </a:lnTo>
                  <a:lnTo>
                    <a:pt x="489932" y="450043"/>
                  </a:lnTo>
                  <a:lnTo>
                    <a:pt x="545532" y="394709"/>
                  </a:lnTo>
                  <a:close/>
                  <a:moveTo>
                    <a:pt x="481962" y="296170"/>
                  </a:moveTo>
                  <a:cubicBezTo>
                    <a:pt x="551795" y="296170"/>
                    <a:pt x="608344" y="352641"/>
                    <a:pt x="608344" y="422376"/>
                  </a:cubicBezTo>
                  <a:cubicBezTo>
                    <a:pt x="608344" y="492111"/>
                    <a:pt x="551795" y="548582"/>
                    <a:pt x="481962" y="548582"/>
                  </a:cubicBezTo>
                  <a:cubicBezTo>
                    <a:pt x="412129" y="548582"/>
                    <a:pt x="355579" y="492111"/>
                    <a:pt x="355579" y="422376"/>
                  </a:cubicBezTo>
                  <a:cubicBezTo>
                    <a:pt x="355579" y="352641"/>
                    <a:pt x="412129" y="296170"/>
                    <a:pt x="481962" y="296170"/>
                  </a:cubicBezTo>
                  <a:close/>
                  <a:moveTo>
                    <a:pt x="255835" y="446"/>
                  </a:moveTo>
                  <a:cubicBezTo>
                    <a:pt x="282785" y="-1828"/>
                    <a:pt x="303187" y="4899"/>
                    <a:pt x="317801" y="13616"/>
                  </a:cubicBezTo>
                  <a:cubicBezTo>
                    <a:pt x="339721" y="25744"/>
                    <a:pt x="348072" y="41661"/>
                    <a:pt x="348072" y="41661"/>
                  </a:cubicBezTo>
                  <a:cubicBezTo>
                    <a:pt x="348072" y="41661"/>
                    <a:pt x="398176" y="45167"/>
                    <a:pt x="381190" y="146831"/>
                  </a:cubicBezTo>
                  <a:cubicBezTo>
                    <a:pt x="380621" y="149863"/>
                    <a:pt x="379862" y="153085"/>
                    <a:pt x="378913" y="156211"/>
                  </a:cubicBezTo>
                  <a:cubicBezTo>
                    <a:pt x="388592" y="156211"/>
                    <a:pt x="398271" y="163507"/>
                    <a:pt x="387833" y="200458"/>
                  </a:cubicBezTo>
                  <a:cubicBezTo>
                    <a:pt x="379672" y="229262"/>
                    <a:pt x="372080" y="237221"/>
                    <a:pt x="366387" y="237694"/>
                  </a:cubicBezTo>
                  <a:cubicBezTo>
                    <a:pt x="364394" y="250675"/>
                    <a:pt x="359175" y="265076"/>
                    <a:pt x="351393" y="278720"/>
                  </a:cubicBezTo>
                  <a:lnTo>
                    <a:pt x="351393" y="322873"/>
                  </a:lnTo>
                  <a:cubicBezTo>
                    <a:pt x="330232" y="350539"/>
                    <a:pt x="317611" y="385027"/>
                    <a:pt x="317611" y="422358"/>
                  </a:cubicBezTo>
                  <a:cubicBezTo>
                    <a:pt x="317611" y="472764"/>
                    <a:pt x="340480" y="518053"/>
                    <a:pt x="376635" y="548088"/>
                  </a:cubicBezTo>
                  <a:lnTo>
                    <a:pt x="26855" y="548088"/>
                  </a:lnTo>
                  <a:cubicBezTo>
                    <a:pt x="12052" y="548088"/>
                    <a:pt x="0" y="536055"/>
                    <a:pt x="0" y="521274"/>
                  </a:cubicBezTo>
                  <a:lnTo>
                    <a:pt x="0" y="473806"/>
                  </a:lnTo>
                  <a:cubicBezTo>
                    <a:pt x="0" y="457983"/>
                    <a:pt x="7212" y="443013"/>
                    <a:pt x="19453" y="432969"/>
                  </a:cubicBezTo>
                  <a:cubicBezTo>
                    <a:pt x="86638" y="377921"/>
                    <a:pt x="159043" y="341443"/>
                    <a:pt x="173751" y="334242"/>
                  </a:cubicBezTo>
                  <a:cubicBezTo>
                    <a:pt x="175365" y="333484"/>
                    <a:pt x="176408" y="331779"/>
                    <a:pt x="176408" y="329884"/>
                  </a:cubicBezTo>
                  <a:lnTo>
                    <a:pt x="176408" y="278720"/>
                  </a:lnTo>
                  <a:cubicBezTo>
                    <a:pt x="168437" y="265076"/>
                    <a:pt x="163313" y="250675"/>
                    <a:pt x="161320" y="237694"/>
                  </a:cubicBezTo>
                  <a:cubicBezTo>
                    <a:pt x="155627" y="237221"/>
                    <a:pt x="148035" y="229072"/>
                    <a:pt x="139969" y="200458"/>
                  </a:cubicBezTo>
                  <a:cubicBezTo>
                    <a:pt x="129531" y="164170"/>
                    <a:pt x="138925" y="156496"/>
                    <a:pt x="148320" y="156211"/>
                  </a:cubicBezTo>
                  <a:cubicBezTo>
                    <a:pt x="147371" y="153085"/>
                    <a:pt x="146612" y="149863"/>
                    <a:pt x="146042" y="146736"/>
                  </a:cubicBezTo>
                  <a:cubicBezTo>
                    <a:pt x="142436" y="128450"/>
                    <a:pt x="141487" y="111396"/>
                    <a:pt x="145758" y="95099"/>
                  </a:cubicBezTo>
                  <a:cubicBezTo>
                    <a:pt x="150787" y="73212"/>
                    <a:pt x="162744" y="55684"/>
                    <a:pt x="176029" y="42135"/>
                  </a:cubicBezTo>
                  <a:cubicBezTo>
                    <a:pt x="184379" y="33134"/>
                    <a:pt x="193869" y="25459"/>
                    <a:pt x="203928" y="19017"/>
                  </a:cubicBezTo>
                  <a:cubicBezTo>
                    <a:pt x="212183" y="13332"/>
                    <a:pt x="221293" y="8405"/>
                    <a:pt x="231162" y="5089"/>
                  </a:cubicBezTo>
                  <a:cubicBezTo>
                    <a:pt x="238849" y="2625"/>
                    <a:pt x="247105" y="825"/>
                    <a:pt x="255835" y="4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/>
            </a:p>
          </p:txBody>
        </p:sp>
        <p:sp>
          <p:nvSpPr>
            <p:cNvPr id="18" name="iSḷíḋè">
              <a:extLst>
                <a:ext uri="{FF2B5EF4-FFF2-40B4-BE49-F238E27FC236}">
                  <a16:creationId xmlns:a16="http://schemas.microsoft.com/office/drawing/2014/main" id="{61B54ED5-E145-462E-9546-3D19E834F5CB}"/>
                </a:ext>
              </a:extLst>
            </p:cNvPr>
            <p:cNvSpPr/>
            <p:nvPr/>
          </p:nvSpPr>
          <p:spPr bwMode="auto">
            <a:xfrm>
              <a:off x="10823985" y="2524939"/>
              <a:ext cx="462346" cy="461644"/>
            </a:xfrm>
            <a:custGeom>
              <a:avLst/>
              <a:gdLst>
                <a:gd name="connsiteX0" fmla="*/ 377627 w 607991"/>
                <a:gd name="connsiteY0" fmla="*/ 294539 h 607074"/>
                <a:gd name="connsiteX1" fmla="*/ 294976 w 607991"/>
                <a:gd name="connsiteY1" fmla="*/ 377063 h 607074"/>
                <a:gd name="connsiteX2" fmla="*/ 377627 w 607991"/>
                <a:gd name="connsiteY2" fmla="*/ 459588 h 607074"/>
                <a:gd name="connsiteX3" fmla="*/ 460355 w 607991"/>
                <a:gd name="connsiteY3" fmla="*/ 377063 h 607074"/>
                <a:gd name="connsiteX4" fmla="*/ 377627 w 607991"/>
                <a:gd name="connsiteY4" fmla="*/ 294539 h 607074"/>
                <a:gd name="connsiteX5" fmla="*/ 359653 w 607991"/>
                <a:gd name="connsiteY5" fmla="*/ 147129 h 607074"/>
                <a:gd name="connsiteX6" fmla="*/ 395678 w 607991"/>
                <a:gd name="connsiteY6" fmla="*/ 147129 h 607074"/>
                <a:gd name="connsiteX7" fmla="*/ 423869 w 607991"/>
                <a:gd name="connsiteY7" fmla="*/ 175277 h 607074"/>
                <a:gd name="connsiteX8" fmla="*/ 423869 w 607991"/>
                <a:gd name="connsiteY8" fmla="*/ 197288 h 607074"/>
                <a:gd name="connsiteX9" fmla="*/ 435698 w 607991"/>
                <a:gd name="connsiteY9" fmla="*/ 212474 h 607074"/>
                <a:gd name="connsiteX10" fmla="*/ 453212 w 607991"/>
                <a:gd name="connsiteY10" fmla="*/ 219760 h 607074"/>
                <a:gd name="connsiteX11" fmla="*/ 460970 w 607991"/>
                <a:gd name="connsiteY11" fmla="*/ 221447 h 607074"/>
                <a:gd name="connsiteX12" fmla="*/ 472185 w 607991"/>
                <a:gd name="connsiteY12" fmla="*/ 217459 h 607074"/>
                <a:gd name="connsiteX13" fmla="*/ 487931 w 607991"/>
                <a:gd name="connsiteY13" fmla="*/ 201737 h 607074"/>
                <a:gd name="connsiteX14" fmla="*/ 507826 w 607991"/>
                <a:gd name="connsiteY14" fmla="*/ 193530 h 607074"/>
                <a:gd name="connsiteX15" fmla="*/ 527798 w 607991"/>
                <a:gd name="connsiteY15" fmla="*/ 201737 h 607074"/>
                <a:gd name="connsiteX16" fmla="*/ 553300 w 607991"/>
                <a:gd name="connsiteY16" fmla="*/ 227200 h 607074"/>
                <a:gd name="connsiteX17" fmla="*/ 553300 w 607991"/>
                <a:gd name="connsiteY17" fmla="*/ 267005 h 607074"/>
                <a:gd name="connsiteX18" fmla="*/ 537553 w 607991"/>
                <a:gd name="connsiteY18" fmla="*/ 282727 h 607074"/>
                <a:gd name="connsiteX19" fmla="*/ 535249 w 607991"/>
                <a:gd name="connsiteY19" fmla="*/ 301671 h 607074"/>
                <a:gd name="connsiteX20" fmla="*/ 542546 w 607991"/>
                <a:gd name="connsiteY20" fmla="*/ 319158 h 607074"/>
                <a:gd name="connsiteX21" fmla="*/ 557755 w 607991"/>
                <a:gd name="connsiteY21" fmla="*/ 330969 h 607074"/>
                <a:gd name="connsiteX22" fmla="*/ 579800 w 607991"/>
                <a:gd name="connsiteY22" fmla="*/ 330969 h 607074"/>
                <a:gd name="connsiteX23" fmla="*/ 607991 w 607991"/>
                <a:gd name="connsiteY23" fmla="*/ 359116 h 607074"/>
                <a:gd name="connsiteX24" fmla="*/ 607991 w 607991"/>
                <a:gd name="connsiteY24" fmla="*/ 395087 h 607074"/>
                <a:gd name="connsiteX25" fmla="*/ 579800 w 607991"/>
                <a:gd name="connsiteY25" fmla="*/ 423234 h 607074"/>
                <a:gd name="connsiteX26" fmla="*/ 557755 w 607991"/>
                <a:gd name="connsiteY26" fmla="*/ 423234 h 607074"/>
                <a:gd name="connsiteX27" fmla="*/ 542546 w 607991"/>
                <a:gd name="connsiteY27" fmla="*/ 435045 h 607074"/>
                <a:gd name="connsiteX28" fmla="*/ 535249 w 607991"/>
                <a:gd name="connsiteY28" fmla="*/ 452532 h 607074"/>
                <a:gd name="connsiteX29" fmla="*/ 537630 w 607991"/>
                <a:gd name="connsiteY29" fmla="*/ 471476 h 607074"/>
                <a:gd name="connsiteX30" fmla="*/ 553300 w 607991"/>
                <a:gd name="connsiteY30" fmla="*/ 487199 h 607074"/>
                <a:gd name="connsiteX31" fmla="*/ 553300 w 607991"/>
                <a:gd name="connsiteY31" fmla="*/ 527004 h 607074"/>
                <a:gd name="connsiteX32" fmla="*/ 527798 w 607991"/>
                <a:gd name="connsiteY32" fmla="*/ 552467 h 607074"/>
                <a:gd name="connsiteX33" fmla="*/ 507826 w 607991"/>
                <a:gd name="connsiteY33" fmla="*/ 560750 h 607074"/>
                <a:gd name="connsiteX34" fmla="*/ 487931 w 607991"/>
                <a:gd name="connsiteY34" fmla="*/ 552467 h 607074"/>
                <a:gd name="connsiteX35" fmla="*/ 472261 w 607991"/>
                <a:gd name="connsiteY35" fmla="*/ 536821 h 607074"/>
                <a:gd name="connsiteX36" fmla="*/ 460970 w 607991"/>
                <a:gd name="connsiteY36" fmla="*/ 532756 h 607074"/>
                <a:gd name="connsiteX37" fmla="*/ 453212 w 607991"/>
                <a:gd name="connsiteY37" fmla="*/ 534443 h 607074"/>
                <a:gd name="connsiteX38" fmla="*/ 435698 w 607991"/>
                <a:gd name="connsiteY38" fmla="*/ 541729 h 607074"/>
                <a:gd name="connsiteX39" fmla="*/ 423869 w 607991"/>
                <a:gd name="connsiteY39" fmla="*/ 556915 h 607074"/>
                <a:gd name="connsiteX40" fmla="*/ 423869 w 607991"/>
                <a:gd name="connsiteY40" fmla="*/ 578927 h 607074"/>
                <a:gd name="connsiteX41" fmla="*/ 395678 w 607991"/>
                <a:gd name="connsiteY41" fmla="*/ 607074 h 607074"/>
                <a:gd name="connsiteX42" fmla="*/ 359653 w 607991"/>
                <a:gd name="connsiteY42" fmla="*/ 607074 h 607074"/>
                <a:gd name="connsiteX43" fmla="*/ 331462 w 607991"/>
                <a:gd name="connsiteY43" fmla="*/ 578927 h 607074"/>
                <a:gd name="connsiteX44" fmla="*/ 331462 w 607991"/>
                <a:gd name="connsiteY44" fmla="*/ 556915 h 607074"/>
                <a:gd name="connsiteX45" fmla="*/ 319633 w 607991"/>
                <a:gd name="connsiteY45" fmla="*/ 541729 h 607074"/>
                <a:gd name="connsiteX46" fmla="*/ 302119 w 607991"/>
                <a:gd name="connsiteY46" fmla="*/ 534443 h 607074"/>
                <a:gd name="connsiteX47" fmla="*/ 294361 w 607991"/>
                <a:gd name="connsiteY47" fmla="*/ 532756 h 607074"/>
                <a:gd name="connsiteX48" fmla="*/ 283146 w 607991"/>
                <a:gd name="connsiteY48" fmla="*/ 536821 h 607074"/>
                <a:gd name="connsiteX49" fmla="*/ 267400 w 607991"/>
                <a:gd name="connsiteY49" fmla="*/ 552467 h 607074"/>
                <a:gd name="connsiteX50" fmla="*/ 247505 w 607991"/>
                <a:gd name="connsiteY50" fmla="*/ 560750 h 607074"/>
                <a:gd name="connsiteX51" fmla="*/ 227533 w 607991"/>
                <a:gd name="connsiteY51" fmla="*/ 552467 h 607074"/>
                <a:gd name="connsiteX52" fmla="*/ 202031 w 607991"/>
                <a:gd name="connsiteY52" fmla="*/ 527004 h 607074"/>
                <a:gd name="connsiteX53" fmla="*/ 202031 w 607991"/>
                <a:gd name="connsiteY53" fmla="*/ 487199 h 607074"/>
                <a:gd name="connsiteX54" fmla="*/ 217701 w 607991"/>
                <a:gd name="connsiteY54" fmla="*/ 471476 h 607074"/>
                <a:gd name="connsiteX55" fmla="*/ 220082 w 607991"/>
                <a:gd name="connsiteY55" fmla="*/ 452532 h 607074"/>
                <a:gd name="connsiteX56" fmla="*/ 212785 w 607991"/>
                <a:gd name="connsiteY56" fmla="*/ 435045 h 607074"/>
                <a:gd name="connsiteX57" fmla="*/ 197576 w 607991"/>
                <a:gd name="connsiteY57" fmla="*/ 423234 h 607074"/>
                <a:gd name="connsiteX58" fmla="*/ 175531 w 607991"/>
                <a:gd name="connsiteY58" fmla="*/ 423234 h 607074"/>
                <a:gd name="connsiteX59" fmla="*/ 147340 w 607991"/>
                <a:gd name="connsiteY59" fmla="*/ 395087 h 607074"/>
                <a:gd name="connsiteX60" fmla="*/ 147340 w 607991"/>
                <a:gd name="connsiteY60" fmla="*/ 359116 h 607074"/>
                <a:gd name="connsiteX61" fmla="*/ 175531 w 607991"/>
                <a:gd name="connsiteY61" fmla="*/ 330969 h 607074"/>
                <a:gd name="connsiteX62" fmla="*/ 197576 w 607991"/>
                <a:gd name="connsiteY62" fmla="*/ 330969 h 607074"/>
                <a:gd name="connsiteX63" fmla="*/ 212785 w 607991"/>
                <a:gd name="connsiteY63" fmla="*/ 319158 h 607074"/>
                <a:gd name="connsiteX64" fmla="*/ 220082 w 607991"/>
                <a:gd name="connsiteY64" fmla="*/ 301671 h 607074"/>
                <a:gd name="connsiteX65" fmla="*/ 217701 w 607991"/>
                <a:gd name="connsiteY65" fmla="*/ 282727 h 607074"/>
                <a:gd name="connsiteX66" fmla="*/ 202031 w 607991"/>
                <a:gd name="connsiteY66" fmla="*/ 267005 h 607074"/>
                <a:gd name="connsiteX67" fmla="*/ 193735 w 607991"/>
                <a:gd name="connsiteY67" fmla="*/ 247141 h 607074"/>
                <a:gd name="connsiteX68" fmla="*/ 202031 w 607991"/>
                <a:gd name="connsiteY68" fmla="*/ 227200 h 607074"/>
                <a:gd name="connsiteX69" fmla="*/ 227533 w 607991"/>
                <a:gd name="connsiteY69" fmla="*/ 201737 h 607074"/>
                <a:gd name="connsiteX70" fmla="*/ 247505 w 607991"/>
                <a:gd name="connsiteY70" fmla="*/ 193530 h 607074"/>
                <a:gd name="connsiteX71" fmla="*/ 267400 w 607991"/>
                <a:gd name="connsiteY71" fmla="*/ 201737 h 607074"/>
                <a:gd name="connsiteX72" fmla="*/ 283070 w 607991"/>
                <a:gd name="connsiteY72" fmla="*/ 217383 h 607074"/>
                <a:gd name="connsiteX73" fmla="*/ 294361 w 607991"/>
                <a:gd name="connsiteY73" fmla="*/ 221447 h 607074"/>
                <a:gd name="connsiteX74" fmla="*/ 302119 w 607991"/>
                <a:gd name="connsiteY74" fmla="*/ 219760 h 607074"/>
                <a:gd name="connsiteX75" fmla="*/ 319633 w 607991"/>
                <a:gd name="connsiteY75" fmla="*/ 212474 h 607074"/>
                <a:gd name="connsiteX76" fmla="*/ 331462 w 607991"/>
                <a:gd name="connsiteY76" fmla="*/ 197288 h 607074"/>
                <a:gd name="connsiteX77" fmla="*/ 331462 w 607991"/>
                <a:gd name="connsiteY77" fmla="*/ 175277 h 607074"/>
                <a:gd name="connsiteX78" fmla="*/ 359653 w 607991"/>
                <a:gd name="connsiteY78" fmla="*/ 147129 h 607074"/>
                <a:gd name="connsiteX79" fmla="*/ 119929 w 607991"/>
                <a:gd name="connsiteY79" fmla="*/ 83135 h 607074"/>
                <a:gd name="connsiteX80" fmla="*/ 83282 w 607991"/>
                <a:gd name="connsiteY80" fmla="*/ 119717 h 607074"/>
                <a:gd name="connsiteX81" fmla="*/ 119929 w 607991"/>
                <a:gd name="connsiteY81" fmla="*/ 156223 h 607074"/>
                <a:gd name="connsiteX82" fmla="*/ 156499 w 607991"/>
                <a:gd name="connsiteY82" fmla="*/ 119717 h 607074"/>
                <a:gd name="connsiteX83" fmla="*/ 119929 w 607991"/>
                <a:gd name="connsiteY83" fmla="*/ 83135 h 607074"/>
                <a:gd name="connsiteX84" fmla="*/ 110863 w 607991"/>
                <a:gd name="connsiteY84" fmla="*/ 0 h 607074"/>
                <a:gd name="connsiteX85" fmla="*/ 128918 w 607991"/>
                <a:gd name="connsiteY85" fmla="*/ 0 h 607074"/>
                <a:gd name="connsiteX86" fmla="*/ 147741 w 607991"/>
                <a:gd name="connsiteY86" fmla="*/ 18790 h 607074"/>
                <a:gd name="connsiteX87" fmla="*/ 147741 w 607991"/>
                <a:gd name="connsiteY87" fmla="*/ 29834 h 607074"/>
                <a:gd name="connsiteX88" fmla="*/ 150507 w 607991"/>
                <a:gd name="connsiteY88" fmla="*/ 32978 h 607074"/>
                <a:gd name="connsiteX89" fmla="*/ 159726 w 607991"/>
                <a:gd name="connsiteY89" fmla="*/ 36813 h 607074"/>
                <a:gd name="connsiteX90" fmla="*/ 161570 w 607991"/>
                <a:gd name="connsiteY90" fmla="*/ 37196 h 607074"/>
                <a:gd name="connsiteX91" fmla="*/ 163875 w 607991"/>
                <a:gd name="connsiteY91" fmla="*/ 36583 h 607074"/>
                <a:gd name="connsiteX92" fmla="*/ 171711 w 607991"/>
                <a:gd name="connsiteY92" fmla="*/ 28683 h 607074"/>
                <a:gd name="connsiteX93" fmla="*/ 185002 w 607991"/>
                <a:gd name="connsiteY93" fmla="*/ 23238 h 607074"/>
                <a:gd name="connsiteX94" fmla="*/ 198294 w 607991"/>
                <a:gd name="connsiteY94" fmla="*/ 28683 h 607074"/>
                <a:gd name="connsiteX95" fmla="*/ 211047 w 607991"/>
                <a:gd name="connsiteY95" fmla="*/ 41414 h 607074"/>
                <a:gd name="connsiteX96" fmla="*/ 211047 w 607991"/>
                <a:gd name="connsiteY96" fmla="*/ 67950 h 607074"/>
                <a:gd name="connsiteX97" fmla="*/ 203211 w 607991"/>
                <a:gd name="connsiteY97" fmla="*/ 75849 h 607074"/>
                <a:gd name="connsiteX98" fmla="*/ 202903 w 607991"/>
                <a:gd name="connsiteY98" fmla="*/ 79914 h 607074"/>
                <a:gd name="connsiteX99" fmla="*/ 206822 w 607991"/>
                <a:gd name="connsiteY99" fmla="*/ 89117 h 607074"/>
                <a:gd name="connsiteX100" fmla="*/ 209972 w 607991"/>
                <a:gd name="connsiteY100" fmla="*/ 91878 h 607074"/>
                <a:gd name="connsiteX101" fmla="*/ 220958 w 607991"/>
                <a:gd name="connsiteY101" fmla="*/ 91878 h 607074"/>
                <a:gd name="connsiteX102" fmla="*/ 239781 w 607991"/>
                <a:gd name="connsiteY102" fmla="*/ 110668 h 607074"/>
                <a:gd name="connsiteX103" fmla="*/ 239781 w 607991"/>
                <a:gd name="connsiteY103" fmla="*/ 128691 h 607074"/>
                <a:gd name="connsiteX104" fmla="*/ 220958 w 607991"/>
                <a:gd name="connsiteY104" fmla="*/ 147480 h 607074"/>
                <a:gd name="connsiteX105" fmla="*/ 209972 w 607991"/>
                <a:gd name="connsiteY105" fmla="*/ 147480 h 607074"/>
                <a:gd name="connsiteX106" fmla="*/ 206822 w 607991"/>
                <a:gd name="connsiteY106" fmla="*/ 150241 h 607074"/>
                <a:gd name="connsiteX107" fmla="*/ 202903 w 607991"/>
                <a:gd name="connsiteY107" fmla="*/ 159444 h 607074"/>
                <a:gd name="connsiteX108" fmla="*/ 203211 w 607991"/>
                <a:gd name="connsiteY108" fmla="*/ 163586 h 607074"/>
                <a:gd name="connsiteX109" fmla="*/ 211047 w 607991"/>
                <a:gd name="connsiteY109" fmla="*/ 171408 h 607074"/>
                <a:gd name="connsiteX110" fmla="*/ 211047 w 607991"/>
                <a:gd name="connsiteY110" fmla="*/ 197944 h 607074"/>
                <a:gd name="connsiteX111" fmla="*/ 198294 w 607991"/>
                <a:gd name="connsiteY111" fmla="*/ 210675 h 607074"/>
                <a:gd name="connsiteX112" fmla="*/ 185002 w 607991"/>
                <a:gd name="connsiteY112" fmla="*/ 216197 h 607074"/>
                <a:gd name="connsiteX113" fmla="*/ 171711 w 607991"/>
                <a:gd name="connsiteY113" fmla="*/ 210675 h 607074"/>
                <a:gd name="connsiteX114" fmla="*/ 163875 w 607991"/>
                <a:gd name="connsiteY114" fmla="*/ 202852 h 607074"/>
                <a:gd name="connsiteX115" fmla="*/ 161570 w 607991"/>
                <a:gd name="connsiteY115" fmla="*/ 202239 h 607074"/>
                <a:gd name="connsiteX116" fmla="*/ 159726 w 607991"/>
                <a:gd name="connsiteY116" fmla="*/ 202546 h 607074"/>
                <a:gd name="connsiteX117" fmla="*/ 150507 w 607991"/>
                <a:gd name="connsiteY117" fmla="*/ 206457 h 607074"/>
                <a:gd name="connsiteX118" fmla="*/ 147741 w 607991"/>
                <a:gd name="connsiteY118" fmla="*/ 209601 h 607074"/>
                <a:gd name="connsiteX119" fmla="*/ 147741 w 607991"/>
                <a:gd name="connsiteY119" fmla="*/ 220568 h 607074"/>
                <a:gd name="connsiteX120" fmla="*/ 128918 w 607991"/>
                <a:gd name="connsiteY120" fmla="*/ 239358 h 607074"/>
                <a:gd name="connsiteX121" fmla="*/ 110863 w 607991"/>
                <a:gd name="connsiteY121" fmla="*/ 239358 h 607074"/>
                <a:gd name="connsiteX122" fmla="*/ 92117 w 607991"/>
                <a:gd name="connsiteY122" fmla="*/ 220568 h 607074"/>
                <a:gd name="connsiteX123" fmla="*/ 92117 w 607991"/>
                <a:gd name="connsiteY123" fmla="*/ 209601 h 607074"/>
                <a:gd name="connsiteX124" fmla="*/ 89274 w 607991"/>
                <a:gd name="connsiteY124" fmla="*/ 206457 h 607074"/>
                <a:gd name="connsiteX125" fmla="*/ 80055 w 607991"/>
                <a:gd name="connsiteY125" fmla="*/ 202546 h 607074"/>
                <a:gd name="connsiteX126" fmla="*/ 78211 w 607991"/>
                <a:gd name="connsiteY126" fmla="*/ 202239 h 607074"/>
                <a:gd name="connsiteX127" fmla="*/ 75983 w 607991"/>
                <a:gd name="connsiteY127" fmla="*/ 202852 h 607074"/>
                <a:gd name="connsiteX128" fmla="*/ 68070 w 607991"/>
                <a:gd name="connsiteY128" fmla="*/ 210675 h 607074"/>
                <a:gd name="connsiteX129" fmla="*/ 54779 w 607991"/>
                <a:gd name="connsiteY129" fmla="*/ 216197 h 607074"/>
                <a:gd name="connsiteX130" fmla="*/ 41487 w 607991"/>
                <a:gd name="connsiteY130" fmla="*/ 210675 h 607074"/>
                <a:gd name="connsiteX131" fmla="*/ 28734 w 607991"/>
                <a:gd name="connsiteY131" fmla="*/ 197944 h 607074"/>
                <a:gd name="connsiteX132" fmla="*/ 23279 w 607991"/>
                <a:gd name="connsiteY132" fmla="*/ 184676 h 607074"/>
                <a:gd name="connsiteX133" fmla="*/ 28734 w 607991"/>
                <a:gd name="connsiteY133" fmla="*/ 171408 h 607074"/>
                <a:gd name="connsiteX134" fmla="*/ 36570 w 607991"/>
                <a:gd name="connsiteY134" fmla="*/ 163586 h 607074"/>
                <a:gd name="connsiteX135" fmla="*/ 36878 w 607991"/>
                <a:gd name="connsiteY135" fmla="*/ 159444 h 607074"/>
                <a:gd name="connsiteX136" fmla="*/ 33036 w 607991"/>
                <a:gd name="connsiteY136" fmla="*/ 150241 h 607074"/>
                <a:gd name="connsiteX137" fmla="*/ 29886 w 607991"/>
                <a:gd name="connsiteY137" fmla="*/ 147480 h 607074"/>
                <a:gd name="connsiteX138" fmla="*/ 18823 w 607991"/>
                <a:gd name="connsiteY138" fmla="*/ 147480 h 607074"/>
                <a:gd name="connsiteX139" fmla="*/ 0 w 607991"/>
                <a:gd name="connsiteY139" fmla="*/ 128691 h 607074"/>
                <a:gd name="connsiteX140" fmla="*/ 0 w 607991"/>
                <a:gd name="connsiteY140" fmla="*/ 110668 h 607074"/>
                <a:gd name="connsiteX141" fmla="*/ 18823 w 607991"/>
                <a:gd name="connsiteY141" fmla="*/ 91955 h 607074"/>
                <a:gd name="connsiteX142" fmla="*/ 29886 w 607991"/>
                <a:gd name="connsiteY142" fmla="*/ 91955 h 607074"/>
                <a:gd name="connsiteX143" fmla="*/ 33036 w 607991"/>
                <a:gd name="connsiteY143" fmla="*/ 89194 h 607074"/>
                <a:gd name="connsiteX144" fmla="*/ 36878 w 607991"/>
                <a:gd name="connsiteY144" fmla="*/ 79914 h 607074"/>
                <a:gd name="connsiteX145" fmla="*/ 36570 w 607991"/>
                <a:gd name="connsiteY145" fmla="*/ 75849 h 607074"/>
                <a:gd name="connsiteX146" fmla="*/ 28734 w 607991"/>
                <a:gd name="connsiteY146" fmla="*/ 67950 h 607074"/>
                <a:gd name="connsiteX147" fmla="*/ 28734 w 607991"/>
                <a:gd name="connsiteY147" fmla="*/ 41414 h 607074"/>
                <a:gd name="connsiteX148" fmla="*/ 41487 w 607991"/>
                <a:gd name="connsiteY148" fmla="*/ 28683 h 607074"/>
                <a:gd name="connsiteX149" fmla="*/ 54779 w 607991"/>
                <a:gd name="connsiteY149" fmla="*/ 23238 h 607074"/>
                <a:gd name="connsiteX150" fmla="*/ 68070 w 607991"/>
                <a:gd name="connsiteY150" fmla="*/ 28683 h 607074"/>
                <a:gd name="connsiteX151" fmla="*/ 75983 w 607991"/>
                <a:gd name="connsiteY151" fmla="*/ 36583 h 607074"/>
                <a:gd name="connsiteX152" fmla="*/ 78211 w 607991"/>
                <a:gd name="connsiteY152" fmla="*/ 37196 h 607074"/>
                <a:gd name="connsiteX153" fmla="*/ 80055 w 607991"/>
                <a:gd name="connsiteY153" fmla="*/ 36813 h 607074"/>
                <a:gd name="connsiteX154" fmla="*/ 89351 w 607991"/>
                <a:gd name="connsiteY154" fmla="*/ 32978 h 607074"/>
                <a:gd name="connsiteX155" fmla="*/ 92117 w 607991"/>
                <a:gd name="connsiteY155" fmla="*/ 29834 h 607074"/>
                <a:gd name="connsiteX156" fmla="*/ 92117 w 607991"/>
                <a:gd name="connsiteY156" fmla="*/ 18790 h 607074"/>
                <a:gd name="connsiteX157" fmla="*/ 110863 w 607991"/>
                <a:gd name="connsiteY157" fmla="*/ 0 h 60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607991" h="607074">
                  <a:moveTo>
                    <a:pt x="377627" y="294539"/>
                  </a:moveTo>
                  <a:cubicBezTo>
                    <a:pt x="332077" y="294539"/>
                    <a:pt x="294976" y="331583"/>
                    <a:pt x="294976" y="377063"/>
                  </a:cubicBezTo>
                  <a:cubicBezTo>
                    <a:pt x="294976" y="422621"/>
                    <a:pt x="332077" y="459588"/>
                    <a:pt x="377627" y="459588"/>
                  </a:cubicBezTo>
                  <a:cubicBezTo>
                    <a:pt x="423254" y="459588"/>
                    <a:pt x="460355" y="422621"/>
                    <a:pt x="460355" y="377063"/>
                  </a:cubicBezTo>
                  <a:cubicBezTo>
                    <a:pt x="460355" y="331583"/>
                    <a:pt x="423254" y="294539"/>
                    <a:pt x="377627" y="294539"/>
                  </a:cubicBezTo>
                  <a:close/>
                  <a:moveTo>
                    <a:pt x="359653" y="147129"/>
                  </a:moveTo>
                  <a:lnTo>
                    <a:pt x="395678" y="147129"/>
                  </a:lnTo>
                  <a:cubicBezTo>
                    <a:pt x="411271" y="147129"/>
                    <a:pt x="423869" y="159707"/>
                    <a:pt x="423869" y="175277"/>
                  </a:cubicBezTo>
                  <a:lnTo>
                    <a:pt x="423869" y="197288"/>
                  </a:lnTo>
                  <a:cubicBezTo>
                    <a:pt x="423869" y="203270"/>
                    <a:pt x="429323" y="210173"/>
                    <a:pt x="435698" y="212474"/>
                  </a:cubicBezTo>
                  <a:cubicBezTo>
                    <a:pt x="441613" y="214545"/>
                    <a:pt x="447527" y="216999"/>
                    <a:pt x="453212" y="219760"/>
                  </a:cubicBezTo>
                  <a:cubicBezTo>
                    <a:pt x="455516" y="220834"/>
                    <a:pt x="458205" y="221447"/>
                    <a:pt x="460970" y="221447"/>
                  </a:cubicBezTo>
                  <a:cubicBezTo>
                    <a:pt x="465502" y="221447"/>
                    <a:pt x="469727" y="219913"/>
                    <a:pt x="472185" y="217459"/>
                  </a:cubicBezTo>
                  <a:lnTo>
                    <a:pt x="487931" y="201737"/>
                  </a:lnTo>
                  <a:cubicBezTo>
                    <a:pt x="493232" y="196445"/>
                    <a:pt x="500298" y="193530"/>
                    <a:pt x="507826" y="193530"/>
                  </a:cubicBezTo>
                  <a:cubicBezTo>
                    <a:pt x="515431" y="193530"/>
                    <a:pt x="522498" y="196445"/>
                    <a:pt x="527798" y="201737"/>
                  </a:cubicBezTo>
                  <a:lnTo>
                    <a:pt x="553300" y="227200"/>
                  </a:lnTo>
                  <a:cubicBezTo>
                    <a:pt x="564284" y="238167"/>
                    <a:pt x="564284" y="256037"/>
                    <a:pt x="553300" y="267005"/>
                  </a:cubicBezTo>
                  <a:lnTo>
                    <a:pt x="537553" y="282727"/>
                  </a:lnTo>
                  <a:cubicBezTo>
                    <a:pt x="533405" y="286946"/>
                    <a:pt x="532253" y="295612"/>
                    <a:pt x="535249" y="301671"/>
                  </a:cubicBezTo>
                  <a:cubicBezTo>
                    <a:pt x="538014" y="307347"/>
                    <a:pt x="540472" y="313252"/>
                    <a:pt x="542546" y="319158"/>
                  </a:cubicBezTo>
                  <a:cubicBezTo>
                    <a:pt x="544850" y="325524"/>
                    <a:pt x="551764" y="330969"/>
                    <a:pt x="557755" y="330969"/>
                  </a:cubicBezTo>
                  <a:lnTo>
                    <a:pt x="579800" y="330969"/>
                  </a:lnTo>
                  <a:cubicBezTo>
                    <a:pt x="595317" y="330969"/>
                    <a:pt x="607991" y="343547"/>
                    <a:pt x="607991" y="359116"/>
                  </a:cubicBezTo>
                  <a:lnTo>
                    <a:pt x="607991" y="395087"/>
                  </a:lnTo>
                  <a:cubicBezTo>
                    <a:pt x="607991" y="410656"/>
                    <a:pt x="595394" y="423234"/>
                    <a:pt x="579800" y="423234"/>
                  </a:cubicBezTo>
                  <a:lnTo>
                    <a:pt x="557755" y="423234"/>
                  </a:lnTo>
                  <a:cubicBezTo>
                    <a:pt x="551764" y="423234"/>
                    <a:pt x="544850" y="428680"/>
                    <a:pt x="542546" y="435045"/>
                  </a:cubicBezTo>
                  <a:cubicBezTo>
                    <a:pt x="540472" y="440951"/>
                    <a:pt x="538014" y="446857"/>
                    <a:pt x="535249" y="452532"/>
                  </a:cubicBezTo>
                  <a:cubicBezTo>
                    <a:pt x="532330" y="458591"/>
                    <a:pt x="533405" y="467258"/>
                    <a:pt x="537630" y="471476"/>
                  </a:cubicBezTo>
                  <a:lnTo>
                    <a:pt x="553300" y="487199"/>
                  </a:lnTo>
                  <a:cubicBezTo>
                    <a:pt x="564284" y="498166"/>
                    <a:pt x="564284" y="516036"/>
                    <a:pt x="553300" y="527004"/>
                  </a:cubicBezTo>
                  <a:lnTo>
                    <a:pt x="527798" y="552467"/>
                  </a:lnTo>
                  <a:cubicBezTo>
                    <a:pt x="522498" y="557759"/>
                    <a:pt x="515431" y="560750"/>
                    <a:pt x="507826" y="560750"/>
                  </a:cubicBezTo>
                  <a:cubicBezTo>
                    <a:pt x="500298" y="560750"/>
                    <a:pt x="493232" y="557759"/>
                    <a:pt x="487931" y="552467"/>
                  </a:cubicBezTo>
                  <a:lnTo>
                    <a:pt x="472261" y="536821"/>
                  </a:lnTo>
                  <a:cubicBezTo>
                    <a:pt x="469727" y="534290"/>
                    <a:pt x="465502" y="532756"/>
                    <a:pt x="460970" y="532756"/>
                  </a:cubicBezTo>
                  <a:cubicBezTo>
                    <a:pt x="458205" y="532756"/>
                    <a:pt x="455439" y="533369"/>
                    <a:pt x="453212" y="534443"/>
                  </a:cubicBezTo>
                  <a:cubicBezTo>
                    <a:pt x="447527" y="537204"/>
                    <a:pt x="441613" y="539658"/>
                    <a:pt x="435698" y="541729"/>
                  </a:cubicBezTo>
                  <a:cubicBezTo>
                    <a:pt x="429323" y="544030"/>
                    <a:pt x="423869" y="550933"/>
                    <a:pt x="423869" y="556915"/>
                  </a:cubicBezTo>
                  <a:lnTo>
                    <a:pt x="423869" y="578927"/>
                  </a:lnTo>
                  <a:cubicBezTo>
                    <a:pt x="423869" y="594496"/>
                    <a:pt x="411271" y="607074"/>
                    <a:pt x="395678" y="607074"/>
                  </a:cubicBezTo>
                  <a:lnTo>
                    <a:pt x="359653" y="607074"/>
                  </a:lnTo>
                  <a:cubicBezTo>
                    <a:pt x="344060" y="607074"/>
                    <a:pt x="331462" y="594496"/>
                    <a:pt x="331462" y="578927"/>
                  </a:cubicBezTo>
                  <a:lnTo>
                    <a:pt x="331462" y="556915"/>
                  </a:lnTo>
                  <a:cubicBezTo>
                    <a:pt x="331462" y="550933"/>
                    <a:pt x="326008" y="544030"/>
                    <a:pt x="319633" y="541729"/>
                  </a:cubicBezTo>
                  <a:cubicBezTo>
                    <a:pt x="313718" y="539658"/>
                    <a:pt x="307804" y="537204"/>
                    <a:pt x="302119" y="534443"/>
                  </a:cubicBezTo>
                  <a:cubicBezTo>
                    <a:pt x="299892" y="533369"/>
                    <a:pt x="297203" y="532756"/>
                    <a:pt x="294361" y="532756"/>
                  </a:cubicBezTo>
                  <a:cubicBezTo>
                    <a:pt x="289829" y="532756"/>
                    <a:pt x="285681" y="534290"/>
                    <a:pt x="283146" y="536821"/>
                  </a:cubicBezTo>
                  <a:lnTo>
                    <a:pt x="267400" y="552467"/>
                  </a:lnTo>
                  <a:cubicBezTo>
                    <a:pt x="262099" y="557759"/>
                    <a:pt x="255033" y="560750"/>
                    <a:pt x="247505" y="560750"/>
                  </a:cubicBezTo>
                  <a:cubicBezTo>
                    <a:pt x="239977" y="560750"/>
                    <a:pt x="232834" y="557759"/>
                    <a:pt x="227533" y="552467"/>
                  </a:cubicBezTo>
                  <a:lnTo>
                    <a:pt x="202031" y="527004"/>
                  </a:lnTo>
                  <a:cubicBezTo>
                    <a:pt x="191047" y="516036"/>
                    <a:pt x="191047" y="498166"/>
                    <a:pt x="202031" y="487199"/>
                  </a:cubicBezTo>
                  <a:lnTo>
                    <a:pt x="217701" y="471476"/>
                  </a:lnTo>
                  <a:cubicBezTo>
                    <a:pt x="221926" y="467258"/>
                    <a:pt x="223001" y="458591"/>
                    <a:pt x="220082" y="452532"/>
                  </a:cubicBezTo>
                  <a:cubicBezTo>
                    <a:pt x="217317" y="446780"/>
                    <a:pt x="214859" y="440951"/>
                    <a:pt x="212785" y="435045"/>
                  </a:cubicBezTo>
                  <a:cubicBezTo>
                    <a:pt x="210481" y="428603"/>
                    <a:pt x="203568" y="423234"/>
                    <a:pt x="197576" y="423234"/>
                  </a:cubicBezTo>
                  <a:lnTo>
                    <a:pt x="175531" y="423234"/>
                  </a:lnTo>
                  <a:cubicBezTo>
                    <a:pt x="159937" y="423234"/>
                    <a:pt x="147340" y="410579"/>
                    <a:pt x="147340" y="395087"/>
                  </a:cubicBezTo>
                  <a:lnTo>
                    <a:pt x="147340" y="359116"/>
                  </a:lnTo>
                  <a:cubicBezTo>
                    <a:pt x="147340" y="343547"/>
                    <a:pt x="159937" y="330969"/>
                    <a:pt x="175531" y="330969"/>
                  </a:cubicBezTo>
                  <a:lnTo>
                    <a:pt x="197576" y="330969"/>
                  </a:lnTo>
                  <a:cubicBezTo>
                    <a:pt x="203568" y="330969"/>
                    <a:pt x="210481" y="325524"/>
                    <a:pt x="212785" y="319158"/>
                  </a:cubicBezTo>
                  <a:cubicBezTo>
                    <a:pt x="214859" y="313252"/>
                    <a:pt x="217317" y="307347"/>
                    <a:pt x="220082" y="301671"/>
                  </a:cubicBezTo>
                  <a:cubicBezTo>
                    <a:pt x="223001" y="295612"/>
                    <a:pt x="221926" y="286946"/>
                    <a:pt x="217701" y="282727"/>
                  </a:cubicBezTo>
                  <a:lnTo>
                    <a:pt x="202031" y="267005"/>
                  </a:lnTo>
                  <a:cubicBezTo>
                    <a:pt x="196731" y="261713"/>
                    <a:pt x="193735" y="254657"/>
                    <a:pt x="193735" y="247141"/>
                  </a:cubicBezTo>
                  <a:cubicBezTo>
                    <a:pt x="193735" y="239624"/>
                    <a:pt x="196731" y="232492"/>
                    <a:pt x="202031" y="227200"/>
                  </a:cubicBezTo>
                  <a:lnTo>
                    <a:pt x="227533" y="201737"/>
                  </a:lnTo>
                  <a:cubicBezTo>
                    <a:pt x="232834" y="196445"/>
                    <a:pt x="239977" y="193530"/>
                    <a:pt x="247505" y="193530"/>
                  </a:cubicBezTo>
                  <a:cubicBezTo>
                    <a:pt x="255033" y="193530"/>
                    <a:pt x="262099" y="196445"/>
                    <a:pt x="267400" y="201737"/>
                  </a:cubicBezTo>
                  <a:lnTo>
                    <a:pt x="283070" y="217383"/>
                  </a:lnTo>
                  <a:cubicBezTo>
                    <a:pt x="285604" y="219913"/>
                    <a:pt x="289829" y="221447"/>
                    <a:pt x="294361" y="221447"/>
                  </a:cubicBezTo>
                  <a:cubicBezTo>
                    <a:pt x="297126" y="221447"/>
                    <a:pt x="299892" y="220834"/>
                    <a:pt x="302119" y="219760"/>
                  </a:cubicBezTo>
                  <a:cubicBezTo>
                    <a:pt x="307804" y="216999"/>
                    <a:pt x="313718" y="214545"/>
                    <a:pt x="319633" y="212474"/>
                  </a:cubicBezTo>
                  <a:cubicBezTo>
                    <a:pt x="326008" y="210173"/>
                    <a:pt x="331462" y="203270"/>
                    <a:pt x="331462" y="197288"/>
                  </a:cubicBezTo>
                  <a:lnTo>
                    <a:pt x="331462" y="175277"/>
                  </a:lnTo>
                  <a:cubicBezTo>
                    <a:pt x="331462" y="159707"/>
                    <a:pt x="344060" y="147129"/>
                    <a:pt x="359653" y="147129"/>
                  </a:cubicBezTo>
                  <a:close/>
                  <a:moveTo>
                    <a:pt x="119929" y="83135"/>
                  </a:moveTo>
                  <a:cubicBezTo>
                    <a:pt x="99723" y="83135"/>
                    <a:pt x="83282" y="99547"/>
                    <a:pt x="83282" y="119717"/>
                  </a:cubicBezTo>
                  <a:cubicBezTo>
                    <a:pt x="83282" y="139888"/>
                    <a:pt x="99723" y="156223"/>
                    <a:pt x="119929" y="156223"/>
                  </a:cubicBezTo>
                  <a:cubicBezTo>
                    <a:pt x="140135" y="156223"/>
                    <a:pt x="156499" y="139888"/>
                    <a:pt x="156499" y="119717"/>
                  </a:cubicBezTo>
                  <a:cubicBezTo>
                    <a:pt x="156499" y="99547"/>
                    <a:pt x="140135" y="83135"/>
                    <a:pt x="119929" y="83135"/>
                  </a:cubicBezTo>
                  <a:close/>
                  <a:moveTo>
                    <a:pt x="110863" y="0"/>
                  </a:moveTo>
                  <a:lnTo>
                    <a:pt x="128918" y="0"/>
                  </a:lnTo>
                  <a:cubicBezTo>
                    <a:pt x="139290" y="0"/>
                    <a:pt x="147741" y="8436"/>
                    <a:pt x="147741" y="18790"/>
                  </a:cubicBezTo>
                  <a:lnTo>
                    <a:pt x="147741" y="29834"/>
                  </a:lnTo>
                  <a:cubicBezTo>
                    <a:pt x="147741" y="30677"/>
                    <a:pt x="148970" y="32441"/>
                    <a:pt x="150507" y="32978"/>
                  </a:cubicBezTo>
                  <a:cubicBezTo>
                    <a:pt x="153580" y="34052"/>
                    <a:pt x="156730" y="35355"/>
                    <a:pt x="159726" y="36813"/>
                  </a:cubicBezTo>
                  <a:cubicBezTo>
                    <a:pt x="160187" y="37043"/>
                    <a:pt x="160878" y="37196"/>
                    <a:pt x="161570" y="37196"/>
                  </a:cubicBezTo>
                  <a:cubicBezTo>
                    <a:pt x="162799" y="37196"/>
                    <a:pt x="163644" y="36813"/>
                    <a:pt x="163875" y="36583"/>
                  </a:cubicBezTo>
                  <a:lnTo>
                    <a:pt x="171711" y="28683"/>
                  </a:lnTo>
                  <a:cubicBezTo>
                    <a:pt x="175245" y="25155"/>
                    <a:pt x="180009" y="23238"/>
                    <a:pt x="185002" y="23238"/>
                  </a:cubicBezTo>
                  <a:cubicBezTo>
                    <a:pt x="189996" y="23238"/>
                    <a:pt x="194760" y="25155"/>
                    <a:pt x="198294" y="28683"/>
                  </a:cubicBezTo>
                  <a:lnTo>
                    <a:pt x="211047" y="41414"/>
                  </a:lnTo>
                  <a:cubicBezTo>
                    <a:pt x="218346" y="48777"/>
                    <a:pt x="218346" y="60664"/>
                    <a:pt x="211047" y="67950"/>
                  </a:cubicBezTo>
                  <a:lnTo>
                    <a:pt x="203211" y="75849"/>
                  </a:lnTo>
                  <a:cubicBezTo>
                    <a:pt x="202596" y="76386"/>
                    <a:pt x="202212" y="78533"/>
                    <a:pt x="202903" y="79914"/>
                  </a:cubicBezTo>
                  <a:cubicBezTo>
                    <a:pt x="204363" y="82905"/>
                    <a:pt x="205669" y="86049"/>
                    <a:pt x="206822" y="89117"/>
                  </a:cubicBezTo>
                  <a:cubicBezTo>
                    <a:pt x="207359" y="90651"/>
                    <a:pt x="209127" y="91878"/>
                    <a:pt x="209972" y="91878"/>
                  </a:cubicBezTo>
                  <a:lnTo>
                    <a:pt x="220958" y="91878"/>
                  </a:lnTo>
                  <a:cubicBezTo>
                    <a:pt x="231330" y="91878"/>
                    <a:pt x="239781" y="100314"/>
                    <a:pt x="239781" y="110668"/>
                  </a:cubicBezTo>
                  <a:lnTo>
                    <a:pt x="239781" y="128691"/>
                  </a:lnTo>
                  <a:cubicBezTo>
                    <a:pt x="239781" y="139044"/>
                    <a:pt x="231330" y="147480"/>
                    <a:pt x="220958" y="147480"/>
                  </a:cubicBezTo>
                  <a:lnTo>
                    <a:pt x="209972" y="147480"/>
                  </a:lnTo>
                  <a:cubicBezTo>
                    <a:pt x="209127" y="147480"/>
                    <a:pt x="207359" y="148707"/>
                    <a:pt x="206822" y="150241"/>
                  </a:cubicBezTo>
                  <a:cubicBezTo>
                    <a:pt x="205669" y="153309"/>
                    <a:pt x="204363" y="156453"/>
                    <a:pt x="202903" y="159444"/>
                  </a:cubicBezTo>
                  <a:cubicBezTo>
                    <a:pt x="202212" y="160825"/>
                    <a:pt x="202596" y="162972"/>
                    <a:pt x="203211" y="163586"/>
                  </a:cubicBezTo>
                  <a:lnTo>
                    <a:pt x="211047" y="171408"/>
                  </a:lnTo>
                  <a:cubicBezTo>
                    <a:pt x="218346" y="178694"/>
                    <a:pt x="218346" y="190658"/>
                    <a:pt x="211047" y="197944"/>
                  </a:cubicBezTo>
                  <a:lnTo>
                    <a:pt x="198294" y="210675"/>
                  </a:lnTo>
                  <a:cubicBezTo>
                    <a:pt x="194760" y="214203"/>
                    <a:pt x="189996" y="216197"/>
                    <a:pt x="185002" y="216197"/>
                  </a:cubicBezTo>
                  <a:cubicBezTo>
                    <a:pt x="180009" y="216197"/>
                    <a:pt x="175245" y="214203"/>
                    <a:pt x="171711" y="210675"/>
                  </a:cubicBezTo>
                  <a:lnTo>
                    <a:pt x="163875" y="202852"/>
                  </a:lnTo>
                  <a:cubicBezTo>
                    <a:pt x="163644" y="202622"/>
                    <a:pt x="162799" y="202239"/>
                    <a:pt x="161570" y="202239"/>
                  </a:cubicBezTo>
                  <a:cubicBezTo>
                    <a:pt x="160878" y="202239"/>
                    <a:pt x="160187" y="202316"/>
                    <a:pt x="159726" y="202546"/>
                  </a:cubicBezTo>
                  <a:cubicBezTo>
                    <a:pt x="156730" y="204003"/>
                    <a:pt x="153580" y="205307"/>
                    <a:pt x="150507" y="206457"/>
                  </a:cubicBezTo>
                  <a:cubicBezTo>
                    <a:pt x="148970" y="206994"/>
                    <a:pt x="147741" y="208758"/>
                    <a:pt x="147741" y="209601"/>
                  </a:cubicBezTo>
                  <a:lnTo>
                    <a:pt x="147741" y="220568"/>
                  </a:lnTo>
                  <a:cubicBezTo>
                    <a:pt x="147741" y="230922"/>
                    <a:pt x="139290" y="239358"/>
                    <a:pt x="128918" y="239358"/>
                  </a:cubicBezTo>
                  <a:lnTo>
                    <a:pt x="110863" y="239358"/>
                  </a:lnTo>
                  <a:cubicBezTo>
                    <a:pt x="100491" y="239358"/>
                    <a:pt x="92117" y="230922"/>
                    <a:pt x="92117" y="220568"/>
                  </a:cubicBezTo>
                  <a:lnTo>
                    <a:pt x="92117" y="209601"/>
                  </a:lnTo>
                  <a:cubicBezTo>
                    <a:pt x="92117" y="208758"/>
                    <a:pt x="90811" y="206917"/>
                    <a:pt x="89274" y="206457"/>
                  </a:cubicBezTo>
                  <a:cubicBezTo>
                    <a:pt x="86201" y="205307"/>
                    <a:pt x="83051" y="204003"/>
                    <a:pt x="80055" y="202546"/>
                  </a:cubicBezTo>
                  <a:cubicBezTo>
                    <a:pt x="79594" y="202316"/>
                    <a:pt x="78903" y="202239"/>
                    <a:pt x="78211" y="202239"/>
                  </a:cubicBezTo>
                  <a:cubicBezTo>
                    <a:pt x="77059" y="202239"/>
                    <a:pt x="76214" y="202622"/>
                    <a:pt x="75983" y="202852"/>
                  </a:cubicBezTo>
                  <a:lnTo>
                    <a:pt x="68070" y="210675"/>
                  </a:lnTo>
                  <a:cubicBezTo>
                    <a:pt x="64536" y="214203"/>
                    <a:pt x="59849" y="216197"/>
                    <a:pt x="54779" y="216197"/>
                  </a:cubicBezTo>
                  <a:cubicBezTo>
                    <a:pt x="49785" y="216197"/>
                    <a:pt x="45021" y="214203"/>
                    <a:pt x="41487" y="210675"/>
                  </a:cubicBezTo>
                  <a:lnTo>
                    <a:pt x="28734" y="197944"/>
                  </a:lnTo>
                  <a:cubicBezTo>
                    <a:pt x="25200" y="194416"/>
                    <a:pt x="23279" y="189661"/>
                    <a:pt x="23279" y="184676"/>
                  </a:cubicBezTo>
                  <a:cubicBezTo>
                    <a:pt x="23279" y="179691"/>
                    <a:pt x="25200" y="174936"/>
                    <a:pt x="28734" y="171408"/>
                  </a:cubicBezTo>
                  <a:lnTo>
                    <a:pt x="36570" y="163586"/>
                  </a:lnTo>
                  <a:cubicBezTo>
                    <a:pt x="37185" y="162972"/>
                    <a:pt x="37569" y="160825"/>
                    <a:pt x="36878" y="159444"/>
                  </a:cubicBezTo>
                  <a:cubicBezTo>
                    <a:pt x="35418" y="156453"/>
                    <a:pt x="34112" y="153386"/>
                    <a:pt x="33036" y="150241"/>
                  </a:cubicBezTo>
                  <a:cubicBezTo>
                    <a:pt x="32498" y="148707"/>
                    <a:pt x="30654" y="147480"/>
                    <a:pt x="29886" y="147480"/>
                  </a:cubicBezTo>
                  <a:lnTo>
                    <a:pt x="18823" y="147480"/>
                  </a:lnTo>
                  <a:cubicBezTo>
                    <a:pt x="8451" y="147480"/>
                    <a:pt x="0" y="139044"/>
                    <a:pt x="0" y="128691"/>
                  </a:cubicBezTo>
                  <a:lnTo>
                    <a:pt x="0" y="110668"/>
                  </a:lnTo>
                  <a:cubicBezTo>
                    <a:pt x="0" y="100314"/>
                    <a:pt x="8451" y="91955"/>
                    <a:pt x="18823" y="91955"/>
                  </a:cubicBezTo>
                  <a:lnTo>
                    <a:pt x="29886" y="91955"/>
                  </a:lnTo>
                  <a:cubicBezTo>
                    <a:pt x="30654" y="91955"/>
                    <a:pt x="32498" y="90651"/>
                    <a:pt x="33036" y="89194"/>
                  </a:cubicBezTo>
                  <a:cubicBezTo>
                    <a:pt x="34112" y="86049"/>
                    <a:pt x="35418" y="82905"/>
                    <a:pt x="36878" y="79914"/>
                  </a:cubicBezTo>
                  <a:cubicBezTo>
                    <a:pt x="37569" y="78533"/>
                    <a:pt x="37185" y="76386"/>
                    <a:pt x="36570" y="75849"/>
                  </a:cubicBezTo>
                  <a:lnTo>
                    <a:pt x="28734" y="67950"/>
                  </a:lnTo>
                  <a:cubicBezTo>
                    <a:pt x="21435" y="60664"/>
                    <a:pt x="21435" y="48777"/>
                    <a:pt x="28734" y="41414"/>
                  </a:cubicBezTo>
                  <a:lnTo>
                    <a:pt x="41487" y="28683"/>
                  </a:lnTo>
                  <a:cubicBezTo>
                    <a:pt x="45021" y="25155"/>
                    <a:pt x="49785" y="23238"/>
                    <a:pt x="54779" y="23238"/>
                  </a:cubicBezTo>
                  <a:cubicBezTo>
                    <a:pt x="59849" y="23238"/>
                    <a:pt x="64536" y="25155"/>
                    <a:pt x="68070" y="28683"/>
                  </a:cubicBezTo>
                  <a:lnTo>
                    <a:pt x="75983" y="36583"/>
                  </a:lnTo>
                  <a:cubicBezTo>
                    <a:pt x="76214" y="36813"/>
                    <a:pt x="77059" y="37196"/>
                    <a:pt x="78211" y="37196"/>
                  </a:cubicBezTo>
                  <a:cubicBezTo>
                    <a:pt x="78903" y="37196"/>
                    <a:pt x="79594" y="37043"/>
                    <a:pt x="80055" y="36813"/>
                  </a:cubicBezTo>
                  <a:cubicBezTo>
                    <a:pt x="83051" y="35355"/>
                    <a:pt x="86201" y="34052"/>
                    <a:pt x="89351" y="32978"/>
                  </a:cubicBezTo>
                  <a:cubicBezTo>
                    <a:pt x="90811" y="32441"/>
                    <a:pt x="92117" y="30677"/>
                    <a:pt x="92117" y="29834"/>
                  </a:cubicBezTo>
                  <a:lnTo>
                    <a:pt x="92117" y="18790"/>
                  </a:lnTo>
                  <a:cubicBezTo>
                    <a:pt x="92117" y="8436"/>
                    <a:pt x="100491" y="0"/>
                    <a:pt x="11086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grpSp>
          <p:nvGrpSpPr>
            <p:cNvPr id="19" name="íṥḻïdè">
              <a:extLst>
                <a:ext uri="{FF2B5EF4-FFF2-40B4-BE49-F238E27FC236}">
                  <a16:creationId xmlns:a16="http://schemas.microsoft.com/office/drawing/2014/main" id="{D5890A2F-C310-43D5-96AC-7DDA1F9F23B0}"/>
                </a:ext>
              </a:extLst>
            </p:cNvPr>
            <p:cNvGrpSpPr/>
            <p:nvPr/>
          </p:nvGrpSpPr>
          <p:grpSpPr>
            <a:xfrm>
              <a:off x="655713" y="4616734"/>
              <a:ext cx="4735848" cy="2030732"/>
              <a:chOff x="669925" y="2112827"/>
              <a:chExt cx="4735848" cy="2030732"/>
            </a:xfrm>
          </p:grpSpPr>
          <p:sp>
            <p:nvSpPr>
              <p:cNvPr id="29" name="íṩ1îḍê">
                <a:extLst>
                  <a:ext uri="{FF2B5EF4-FFF2-40B4-BE49-F238E27FC236}">
                    <a16:creationId xmlns:a16="http://schemas.microsoft.com/office/drawing/2014/main" id="{C01E5CF9-947B-444F-980F-D2AC73F1A14F}"/>
                  </a:ext>
                </a:extLst>
              </p:cNvPr>
              <p:cNvSpPr/>
              <p:nvPr/>
            </p:nvSpPr>
            <p:spPr bwMode="auto">
              <a:xfrm>
                <a:off x="669926" y="2554631"/>
                <a:ext cx="4735847" cy="15889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zh-CN" dirty="0"/>
                  <a:t>用户将不被允许直接在书籍页面选择订单提交，而是可以将心仪的书籍加入购物车备选。每一个用户的购物车将被独立保管，用户可以在购物车中选中想要购买的书籍的数目，设置收货地址等信息，并最终提交订单。值得注意的是，当前库存小于购买量时，用户的订单将无法被提交。订单信息可能会涉及到并发的设计。用户的会员将会决定购买的单价。</a:t>
                </a:r>
              </a:p>
            </p:txBody>
          </p:sp>
          <p:sp>
            <p:nvSpPr>
              <p:cNvPr id="30" name="îşľîḓé">
                <a:extLst>
                  <a:ext uri="{FF2B5EF4-FFF2-40B4-BE49-F238E27FC236}">
                    <a16:creationId xmlns:a16="http://schemas.microsoft.com/office/drawing/2014/main" id="{1E6C4472-04E0-4414-BB88-CAA67673ABD1}"/>
                  </a:ext>
                </a:extLst>
              </p:cNvPr>
              <p:cNvSpPr txBox="1"/>
              <p:nvPr/>
            </p:nvSpPr>
            <p:spPr bwMode="auto">
              <a:xfrm>
                <a:off x="669925" y="2112827"/>
                <a:ext cx="312247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2000" b="1" dirty="0"/>
                  <a:t>购物车、订单提交功能</a:t>
                </a:r>
                <a:endParaRPr lang="en-US" altLang="zh-CN" sz="2000" b="1" dirty="0"/>
              </a:p>
            </p:txBody>
          </p:sp>
        </p:grpSp>
        <p:grpSp>
          <p:nvGrpSpPr>
            <p:cNvPr id="20" name="iṧlîḍê">
              <a:extLst>
                <a:ext uri="{FF2B5EF4-FFF2-40B4-BE49-F238E27FC236}">
                  <a16:creationId xmlns:a16="http://schemas.microsoft.com/office/drawing/2014/main" id="{759AA7A9-8D35-4EB4-BE19-5DF5BACA7FAB}"/>
                </a:ext>
              </a:extLst>
            </p:cNvPr>
            <p:cNvGrpSpPr/>
            <p:nvPr/>
          </p:nvGrpSpPr>
          <p:grpSpPr>
            <a:xfrm>
              <a:off x="2914096" y="2168191"/>
              <a:ext cx="2494403" cy="1276945"/>
              <a:chOff x="669925" y="2112827"/>
              <a:chExt cx="3122475" cy="1276945"/>
            </a:xfrm>
          </p:grpSpPr>
          <p:sp>
            <p:nvSpPr>
              <p:cNvPr id="27" name="ïṥlídê">
                <a:extLst>
                  <a:ext uri="{FF2B5EF4-FFF2-40B4-BE49-F238E27FC236}">
                    <a16:creationId xmlns:a16="http://schemas.microsoft.com/office/drawing/2014/main" id="{C01E5CF9-947B-444F-980F-D2AC73F1A14F}"/>
                  </a:ext>
                </a:extLst>
              </p:cNvPr>
              <p:cNvSpPr/>
              <p:nvPr/>
            </p:nvSpPr>
            <p:spPr bwMode="auto">
              <a:xfrm>
                <a:off x="669928" y="2554631"/>
                <a:ext cx="2852241" cy="835141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书</a:t>
                </a:r>
                <a:r>
                  <a:rPr lang="en-US" altLang="zh-CN" sz="1100" dirty="0"/>
                  <a:t>1	- 1 +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书</a:t>
                </a:r>
                <a:r>
                  <a:rPr lang="en-US" altLang="zh-CN" sz="1100" dirty="0"/>
                  <a:t>2	- 1 +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书</a:t>
                </a:r>
                <a:r>
                  <a:rPr lang="en-US" altLang="zh-CN" sz="1100" dirty="0"/>
                  <a:t>3	- 1 +</a:t>
                </a:r>
              </a:p>
            </p:txBody>
          </p:sp>
          <p:sp>
            <p:nvSpPr>
              <p:cNvPr id="28" name="íš1ídè">
                <a:extLst>
                  <a:ext uri="{FF2B5EF4-FFF2-40B4-BE49-F238E27FC236}">
                    <a16:creationId xmlns:a16="http://schemas.microsoft.com/office/drawing/2014/main" id="{1E6C4472-04E0-4414-BB88-CAA67673ABD1}"/>
                  </a:ext>
                </a:extLst>
              </p:cNvPr>
              <p:cNvSpPr txBox="1"/>
              <p:nvPr/>
            </p:nvSpPr>
            <p:spPr bwMode="auto">
              <a:xfrm>
                <a:off x="669925" y="2112827"/>
                <a:ext cx="312247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/>
                  <a:t>购物车</a:t>
                </a:r>
                <a:endParaRPr lang="en-US" altLang="zh-CN" sz="2000" b="1" dirty="0"/>
              </a:p>
            </p:txBody>
          </p:sp>
        </p:grpSp>
        <p:grpSp>
          <p:nvGrpSpPr>
            <p:cNvPr id="21" name="íṣ1íḑe">
              <a:extLst>
                <a:ext uri="{FF2B5EF4-FFF2-40B4-BE49-F238E27FC236}">
                  <a16:creationId xmlns:a16="http://schemas.microsoft.com/office/drawing/2014/main" id="{D1BECD79-7ACE-452D-9C0A-179A7802CF52}"/>
                </a:ext>
              </a:extLst>
            </p:cNvPr>
            <p:cNvGrpSpPr/>
            <p:nvPr/>
          </p:nvGrpSpPr>
          <p:grpSpPr>
            <a:xfrm>
              <a:off x="5649611" y="4061122"/>
              <a:ext cx="3122475" cy="1276945"/>
              <a:chOff x="669925" y="2112827"/>
              <a:chExt cx="3122475" cy="1276945"/>
            </a:xfrm>
          </p:grpSpPr>
          <p:sp>
            <p:nvSpPr>
              <p:cNvPr id="25" name="íṣļïďe">
                <a:extLst>
                  <a:ext uri="{FF2B5EF4-FFF2-40B4-BE49-F238E27FC236}">
                    <a16:creationId xmlns:a16="http://schemas.microsoft.com/office/drawing/2014/main" id="{C01E5CF9-947B-444F-980F-D2AC73F1A14F}"/>
                  </a:ext>
                </a:extLst>
              </p:cNvPr>
              <p:cNvSpPr/>
              <p:nvPr/>
            </p:nvSpPr>
            <p:spPr bwMode="auto">
              <a:xfrm>
                <a:off x="669927" y="2554631"/>
                <a:ext cx="3122473" cy="835141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姓名</a:t>
                </a:r>
                <a:endParaRPr lang="en-US" altLang="zh-CN" sz="11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地址</a:t>
                </a:r>
                <a:endParaRPr lang="en-US" altLang="zh-CN" sz="11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电话</a:t>
                </a:r>
                <a:endParaRPr lang="en-US" altLang="zh-CN" sz="1100" dirty="0"/>
              </a:p>
            </p:txBody>
          </p:sp>
          <p:sp>
            <p:nvSpPr>
              <p:cNvPr id="26" name="iṣ1íḑê">
                <a:extLst>
                  <a:ext uri="{FF2B5EF4-FFF2-40B4-BE49-F238E27FC236}">
                    <a16:creationId xmlns:a16="http://schemas.microsoft.com/office/drawing/2014/main" id="{1E6C4472-04E0-4414-BB88-CAA67673ABD1}"/>
                  </a:ext>
                </a:extLst>
              </p:cNvPr>
              <p:cNvSpPr txBox="1"/>
              <p:nvPr/>
            </p:nvSpPr>
            <p:spPr bwMode="auto">
              <a:xfrm>
                <a:off x="669925" y="2112827"/>
                <a:ext cx="312247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/>
                  <a:t>收货信息</a:t>
                </a:r>
                <a:endParaRPr lang="en-US" altLang="zh-CN" sz="2000" b="1" dirty="0"/>
              </a:p>
            </p:txBody>
          </p:sp>
        </p:grpSp>
        <p:grpSp>
          <p:nvGrpSpPr>
            <p:cNvPr id="22" name="îṩḻíďé">
              <a:extLst>
                <a:ext uri="{FF2B5EF4-FFF2-40B4-BE49-F238E27FC236}">
                  <a16:creationId xmlns:a16="http://schemas.microsoft.com/office/drawing/2014/main" id="{D6A40CB1-272F-4273-9A03-186116DE6837}"/>
                </a:ext>
              </a:extLst>
            </p:cNvPr>
            <p:cNvGrpSpPr/>
            <p:nvPr/>
          </p:nvGrpSpPr>
          <p:grpSpPr>
            <a:xfrm>
              <a:off x="8202172" y="1311102"/>
              <a:ext cx="2494403" cy="1276945"/>
              <a:chOff x="669925" y="2112827"/>
              <a:chExt cx="3122475" cy="1276945"/>
            </a:xfrm>
          </p:grpSpPr>
          <p:sp>
            <p:nvSpPr>
              <p:cNvPr id="23" name="îṡḷîḑe">
                <a:extLst>
                  <a:ext uri="{FF2B5EF4-FFF2-40B4-BE49-F238E27FC236}">
                    <a16:creationId xmlns:a16="http://schemas.microsoft.com/office/drawing/2014/main" id="{C01E5CF9-947B-444F-980F-D2AC73F1A14F}"/>
                  </a:ext>
                </a:extLst>
              </p:cNvPr>
              <p:cNvSpPr/>
              <p:nvPr/>
            </p:nvSpPr>
            <p:spPr bwMode="auto">
              <a:xfrm>
                <a:off x="669927" y="2554631"/>
                <a:ext cx="3122473" cy="835141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原价</a:t>
                </a:r>
                <a:r>
                  <a:rPr lang="en-US" altLang="zh-CN" sz="1100" dirty="0"/>
                  <a:t>		xxx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会员减免</a:t>
                </a:r>
                <a:r>
                  <a:rPr lang="en-US" altLang="zh-CN" sz="1100" dirty="0"/>
                  <a:t>		xxx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实付</a:t>
                </a:r>
                <a:r>
                  <a:rPr lang="en-US" altLang="zh-CN" sz="1100" dirty="0"/>
                  <a:t>		xxx</a:t>
                </a:r>
              </a:p>
            </p:txBody>
          </p:sp>
          <p:sp>
            <p:nvSpPr>
              <p:cNvPr id="24" name="ïsḻiďê">
                <a:extLst>
                  <a:ext uri="{FF2B5EF4-FFF2-40B4-BE49-F238E27FC236}">
                    <a16:creationId xmlns:a16="http://schemas.microsoft.com/office/drawing/2014/main" id="{1E6C4472-04E0-4414-BB88-CAA67673ABD1}"/>
                  </a:ext>
                </a:extLst>
              </p:cNvPr>
              <p:cNvSpPr txBox="1"/>
              <p:nvPr/>
            </p:nvSpPr>
            <p:spPr bwMode="auto">
              <a:xfrm>
                <a:off x="669925" y="2112827"/>
                <a:ext cx="312247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/>
                  <a:t>付款</a:t>
                </a:r>
                <a:endParaRPr lang="en-US" altLang="zh-CN" sz="2000" b="1" dirty="0"/>
              </a:p>
            </p:txBody>
          </p:sp>
        </p:grp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558ED1D0-32DF-4D40-8E7B-801BA2544397}"/>
              </a:ext>
            </a:extLst>
          </p:cNvPr>
          <p:cNvSpPr txBox="1"/>
          <p:nvPr/>
        </p:nvSpPr>
        <p:spPr>
          <a:xfrm>
            <a:off x="3986039" y="3585935"/>
            <a:ext cx="1206584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/>
              <a:t>提交订单</a:t>
            </a: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9CBBFDA7-7755-4460-834E-DD08FEC6359F}"/>
              </a:ext>
            </a:extLst>
          </p:cNvPr>
          <p:cNvSpPr/>
          <p:nvPr/>
        </p:nvSpPr>
        <p:spPr>
          <a:xfrm>
            <a:off x="6525087" y="4616734"/>
            <a:ext cx="772358" cy="118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6037F808-991E-4D86-8B91-7A7F63B65977}"/>
              </a:ext>
            </a:extLst>
          </p:cNvPr>
          <p:cNvSpPr/>
          <p:nvPr/>
        </p:nvSpPr>
        <p:spPr>
          <a:xfrm>
            <a:off x="6525087" y="4871903"/>
            <a:ext cx="772358" cy="118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6ADB7DF2-C075-42B4-9D69-BF378F43A760}"/>
              </a:ext>
            </a:extLst>
          </p:cNvPr>
          <p:cNvSpPr/>
          <p:nvPr/>
        </p:nvSpPr>
        <p:spPr>
          <a:xfrm>
            <a:off x="6525087" y="5125715"/>
            <a:ext cx="772358" cy="118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C5B72FCA-2F23-48F1-A54A-429D1B2F742E}"/>
              </a:ext>
            </a:extLst>
          </p:cNvPr>
          <p:cNvSpPr txBox="1"/>
          <p:nvPr/>
        </p:nvSpPr>
        <p:spPr>
          <a:xfrm>
            <a:off x="7825136" y="5473710"/>
            <a:ext cx="946950" cy="3792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/>
              <a:t>去支付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5B6DF8C0-3567-4B11-888A-C66743CB803C}"/>
              </a:ext>
            </a:extLst>
          </p:cNvPr>
          <p:cNvSpPr txBox="1"/>
          <p:nvPr/>
        </p:nvSpPr>
        <p:spPr>
          <a:xfrm>
            <a:off x="9944289" y="2803536"/>
            <a:ext cx="752286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dirty="0"/>
              <a:t>付款</a:t>
            </a:r>
          </a:p>
        </p:txBody>
      </p:sp>
      <mc:AlternateContent xmlns:mc="http://schemas.openxmlformats.org/markup-compatibility/2006" xmlns:p14="http://schemas.microsoft.com/office/powerpoint/2010/main" xmlns:iact="http://schemas.microsoft.com/office/powerpoint/2014/inkAction">
        <mc:Choice Requires="p14 iact">
          <p:contentPart p14:bwMode="auto" r:id="rId4">
            <p14:nvContentPartPr>
              <p14:cNvPr id="39" name="墨迹 38">
                <a:extLst>
                  <a:ext uri="{FF2B5EF4-FFF2-40B4-BE49-F238E27FC236}">
                    <a16:creationId xmlns:a16="http://schemas.microsoft.com/office/drawing/2014/main" id="{12A4EC46-59F0-437F-A4A7-41110CCE4D5E}"/>
                  </a:ext>
                </a:extLst>
              </p14:cNvPr>
              <p14:cNvContentPartPr/>
              <p14:nvPr>
                <p:extLst>
                  <p:ext uri="{42D2F446-02D8-4167-A562-619A0277C38B}">
                    <p15:isNarration xmlns:p15="http://schemas.microsoft.com/office/powerpoint/2012/main" val="1"/>
                  </p:ext>
                </p:extLst>
              </p14:nvPr>
            </p14:nvContentPartPr>
            <p14:xfrm>
              <a:off x="773280" y="6008040"/>
              <a:ext cx="4418280" cy="212760"/>
            </p14:xfrm>
          </p:contentPart>
        </mc:Choice>
        <mc:Fallback xmlns="">
          <p:pic>
            <p:nvPicPr>
              <p:cNvPr id="39" name="墨迹 38">
                <a:extLst>
                  <a:ext uri="{FF2B5EF4-FFF2-40B4-BE49-F238E27FC236}">
                    <a16:creationId xmlns:a16="http://schemas.microsoft.com/office/drawing/2014/main" id="{12A4EC46-59F0-437F-A4A7-41110CCE4D5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57440" y="5944680"/>
                <a:ext cx="4449600" cy="339480"/>
              </a:xfrm>
              <a:prstGeom prst="rect">
                <a:avLst/>
              </a:prstGeom>
            </p:spPr>
          </p:pic>
        </mc:Fallback>
      </mc:AlternateContent>
      <p:pic>
        <p:nvPicPr>
          <p:cNvPr id="40" name="音频 39">
            <a:hlinkClick r:id="" action="ppaction://media"/>
            <a:extLst>
              <a:ext uri="{FF2B5EF4-FFF2-40B4-BE49-F238E27FC236}">
                <a16:creationId xmlns:a16="http://schemas.microsoft.com/office/drawing/2014/main" id="{5303C44E-9A92-462F-812E-9280980F0A0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187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737"/>
    </mc:Choice>
    <mc:Fallback xmlns="">
      <p:transition spd="slow" advTm="3673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5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cmd type="call" cmd="playFrom(0.0)">
                                      <p:cBhvr>
                                        <p:cTn id="9" dur="1" fill="hold"/>
                                        <p:tgtEl>
                                          <p:spTgt spid="3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0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3C37C3-9AAC-4A55-9678-FA1076F13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管理员后台操作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1EFF571-CF82-4C90-B15C-66C6476DF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179914C-8FD4-4E17-BBCF-368DF82B7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5" name="20423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CAC8C18-1B93-4428-B936-D1FA95ECFCA5}"/>
              </a:ext>
            </a:extLst>
          </p:cNvPr>
          <p:cNvGrpSpPr>
            <a:grpSpLocks noChangeAspect="1"/>
          </p:cNvGrpSpPr>
          <p:nvPr/>
        </p:nvGrpSpPr>
        <p:grpSpPr>
          <a:xfrm>
            <a:off x="660400" y="1228725"/>
            <a:ext cx="10858500" cy="4905375"/>
            <a:chOff x="660400" y="1228725"/>
            <a:chExt cx="10858500" cy="4905375"/>
          </a:xfrm>
        </p:grpSpPr>
        <p:sp>
          <p:nvSpPr>
            <p:cNvPr id="6" name="íṥļíḍé">
              <a:extLst>
                <a:ext uri="{FF2B5EF4-FFF2-40B4-BE49-F238E27FC236}">
                  <a16:creationId xmlns:a16="http://schemas.microsoft.com/office/drawing/2014/main" id="{A220AC3C-3C72-462D-A9AA-4157B2D0E2E6}"/>
                </a:ext>
              </a:extLst>
            </p:cNvPr>
            <p:cNvSpPr/>
            <p:nvPr/>
          </p:nvSpPr>
          <p:spPr>
            <a:xfrm>
              <a:off x="4066232" y="1228725"/>
              <a:ext cx="4046837" cy="20750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9" y="0"/>
                  </a:moveTo>
                  <a:lnTo>
                    <a:pt x="0" y="21600"/>
                  </a:lnTo>
                  <a:lnTo>
                    <a:pt x="5400" y="21600"/>
                  </a:lnTo>
                  <a:lnTo>
                    <a:pt x="10799" y="10800"/>
                  </a:lnTo>
                  <a:lnTo>
                    <a:pt x="16200" y="21600"/>
                  </a:lnTo>
                  <a:lnTo>
                    <a:pt x="21600" y="21600"/>
                  </a:lnTo>
                  <a:lnTo>
                    <a:pt x="10799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8" name="ïṡ1ídè">
              <a:extLst>
                <a:ext uri="{FF2B5EF4-FFF2-40B4-BE49-F238E27FC236}">
                  <a16:creationId xmlns:a16="http://schemas.microsoft.com/office/drawing/2014/main" id="{0EBC85AF-E5D8-4932-984A-B9011F0B7AA3}"/>
                </a:ext>
              </a:extLst>
            </p:cNvPr>
            <p:cNvSpPr/>
            <p:nvPr/>
          </p:nvSpPr>
          <p:spPr>
            <a:xfrm>
              <a:off x="4251213" y="2358649"/>
              <a:ext cx="3676875" cy="18854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9" y="0"/>
                  </a:moveTo>
                  <a:lnTo>
                    <a:pt x="0" y="21600"/>
                  </a:lnTo>
                  <a:lnTo>
                    <a:pt x="5400" y="21600"/>
                  </a:lnTo>
                  <a:lnTo>
                    <a:pt x="10799" y="10800"/>
                  </a:lnTo>
                  <a:lnTo>
                    <a:pt x="16200" y="21600"/>
                  </a:lnTo>
                  <a:lnTo>
                    <a:pt x="21600" y="21600"/>
                  </a:lnTo>
                  <a:lnTo>
                    <a:pt x="1079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10" name="íślîḓê">
              <a:extLst>
                <a:ext uri="{FF2B5EF4-FFF2-40B4-BE49-F238E27FC236}">
                  <a16:creationId xmlns:a16="http://schemas.microsoft.com/office/drawing/2014/main" id="{BC4D2AFD-9B51-4D08-AB60-51A66A6DD188}"/>
                </a:ext>
              </a:extLst>
            </p:cNvPr>
            <p:cNvSpPr/>
            <p:nvPr/>
          </p:nvSpPr>
          <p:spPr>
            <a:xfrm>
              <a:off x="4537912" y="3384997"/>
              <a:ext cx="3103475" cy="15914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9" y="0"/>
                  </a:moveTo>
                  <a:lnTo>
                    <a:pt x="0" y="21600"/>
                  </a:lnTo>
                  <a:lnTo>
                    <a:pt x="5400" y="21600"/>
                  </a:lnTo>
                  <a:lnTo>
                    <a:pt x="10799" y="10800"/>
                  </a:lnTo>
                  <a:lnTo>
                    <a:pt x="16200" y="21600"/>
                  </a:lnTo>
                  <a:lnTo>
                    <a:pt x="21600" y="21600"/>
                  </a:lnTo>
                  <a:lnTo>
                    <a:pt x="10799" y="0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12" name="íŝļîḋê">
              <a:extLst>
                <a:ext uri="{FF2B5EF4-FFF2-40B4-BE49-F238E27FC236}">
                  <a16:creationId xmlns:a16="http://schemas.microsoft.com/office/drawing/2014/main" id="{32014B65-487C-44E5-A158-1050E5C3DEF4}"/>
                </a:ext>
              </a:extLst>
            </p:cNvPr>
            <p:cNvSpPr/>
            <p:nvPr/>
          </p:nvSpPr>
          <p:spPr>
            <a:xfrm>
              <a:off x="4867587" y="4261915"/>
              <a:ext cx="2444091" cy="12532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9" y="0"/>
                  </a:moveTo>
                  <a:lnTo>
                    <a:pt x="0" y="21600"/>
                  </a:lnTo>
                  <a:lnTo>
                    <a:pt x="5400" y="21600"/>
                  </a:lnTo>
                  <a:lnTo>
                    <a:pt x="10799" y="10800"/>
                  </a:lnTo>
                  <a:lnTo>
                    <a:pt x="16200" y="21600"/>
                  </a:lnTo>
                  <a:lnTo>
                    <a:pt x="21600" y="21600"/>
                  </a:lnTo>
                  <a:lnTo>
                    <a:pt x="1079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sp>
          <p:nvSpPr>
            <p:cNvPr id="14" name="îṣḻídé">
              <a:extLst>
                <a:ext uri="{FF2B5EF4-FFF2-40B4-BE49-F238E27FC236}">
                  <a16:creationId xmlns:a16="http://schemas.microsoft.com/office/drawing/2014/main" id="{C178EE81-3879-45FC-9BB1-59CFF80C2388}"/>
                </a:ext>
              </a:extLst>
            </p:cNvPr>
            <p:cNvSpPr/>
            <p:nvPr/>
          </p:nvSpPr>
          <p:spPr>
            <a:xfrm>
              <a:off x="4957898" y="4963889"/>
              <a:ext cx="2263503" cy="11606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99" y="0"/>
                  </a:moveTo>
                  <a:lnTo>
                    <a:pt x="0" y="21600"/>
                  </a:lnTo>
                  <a:lnTo>
                    <a:pt x="5400" y="21600"/>
                  </a:lnTo>
                  <a:lnTo>
                    <a:pt x="10799" y="10800"/>
                  </a:lnTo>
                  <a:lnTo>
                    <a:pt x="16200" y="21600"/>
                  </a:lnTo>
                  <a:lnTo>
                    <a:pt x="21600" y="21600"/>
                  </a:lnTo>
                  <a:lnTo>
                    <a:pt x="10799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t">
              <a:normAutofit/>
            </a:bodyPr>
            <a:lstStyle/>
            <a:p>
              <a:endParaRPr/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15AA33C4-5F5D-4054-B953-F34494DE217A}"/>
                </a:ext>
              </a:extLst>
            </p:cNvPr>
            <p:cNvCxnSpPr/>
            <p:nvPr/>
          </p:nvCxnSpPr>
          <p:spPr>
            <a:xfrm flipH="1">
              <a:off x="660400" y="3303786"/>
              <a:ext cx="340583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DBD04355-146F-4AD9-B93E-93CCB670509B}"/>
                </a:ext>
              </a:extLst>
            </p:cNvPr>
            <p:cNvCxnSpPr/>
            <p:nvPr/>
          </p:nvCxnSpPr>
          <p:spPr>
            <a:xfrm>
              <a:off x="7928088" y="4244092"/>
              <a:ext cx="359081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539FE345-A974-4328-9EA5-B28B5F76BDE3}"/>
                </a:ext>
              </a:extLst>
            </p:cNvPr>
            <p:cNvCxnSpPr/>
            <p:nvPr/>
          </p:nvCxnSpPr>
          <p:spPr>
            <a:xfrm flipH="1">
              <a:off x="660400" y="4963889"/>
              <a:ext cx="387751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C2D2D694-1A10-4C59-BFE1-1132CEE302E2}"/>
                </a:ext>
              </a:extLst>
            </p:cNvPr>
            <p:cNvCxnSpPr/>
            <p:nvPr/>
          </p:nvCxnSpPr>
          <p:spPr>
            <a:xfrm>
              <a:off x="7311678" y="5515206"/>
              <a:ext cx="4207222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5EE67026-91A0-4A8D-AE54-C08E32FD014D}"/>
                </a:ext>
              </a:extLst>
            </p:cNvPr>
            <p:cNvCxnSpPr/>
            <p:nvPr/>
          </p:nvCxnSpPr>
          <p:spPr>
            <a:xfrm flipH="1">
              <a:off x="660400" y="6134100"/>
              <a:ext cx="4297498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ïṡlídè">
              <a:extLst>
                <a:ext uri="{FF2B5EF4-FFF2-40B4-BE49-F238E27FC236}">
                  <a16:creationId xmlns:a16="http://schemas.microsoft.com/office/drawing/2014/main" id="{1E6C4472-04E0-4414-BB88-CAA67673ABD1}"/>
                </a:ext>
              </a:extLst>
            </p:cNvPr>
            <p:cNvSpPr txBox="1"/>
            <p:nvPr/>
          </p:nvSpPr>
          <p:spPr bwMode="auto">
            <a:xfrm>
              <a:off x="660400" y="2026841"/>
              <a:ext cx="3405832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000" b="1" dirty="0"/>
                <a:t>独立的登录窗口</a:t>
              </a:r>
              <a:endParaRPr lang="en-US" altLang="zh-CN" sz="2000" b="1" dirty="0"/>
            </a:p>
          </p:txBody>
        </p:sp>
        <p:sp>
          <p:nvSpPr>
            <p:cNvPr id="33" name="iṣľîde">
              <a:extLst>
                <a:ext uri="{FF2B5EF4-FFF2-40B4-BE49-F238E27FC236}">
                  <a16:creationId xmlns:a16="http://schemas.microsoft.com/office/drawing/2014/main" id="{1E6C4472-04E0-4414-BB88-CAA67673ABD1}"/>
                </a:ext>
              </a:extLst>
            </p:cNvPr>
            <p:cNvSpPr txBox="1"/>
            <p:nvPr/>
          </p:nvSpPr>
          <p:spPr bwMode="auto">
            <a:xfrm>
              <a:off x="660400" y="3686944"/>
              <a:ext cx="3405832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000" b="1" dirty="0"/>
                <a:t>修改用户的会员信息</a:t>
              </a:r>
              <a:endParaRPr lang="en-US" altLang="zh-CN" sz="2000" b="1" dirty="0"/>
            </a:p>
          </p:txBody>
        </p:sp>
        <p:sp>
          <p:nvSpPr>
            <p:cNvPr id="31" name="iṣḷídê">
              <a:extLst>
                <a:ext uri="{FF2B5EF4-FFF2-40B4-BE49-F238E27FC236}">
                  <a16:creationId xmlns:a16="http://schemas.microsoft.com/office/drawing/2014/main" id="{1E6C4472-04E0-4414-BB88-CAA67673ABD1}"/>
                </a:ext>
              </a:extLst>
            </p:cNvPr>
            <p:cNvSpPr txBox="1"/>
            <p:nvPr/>
          </p:nvSpPr>
          <p:spPr bwMode="auto">
            <a:xfrm>
              <a:off x="8113068" y="2967147"/>
              <a:ext cx="3405832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2000" b="1" dirty="0"/>
                <a:t>审核并通过订单</a:t>
              </a:r>
              <a:endParaRPr lang="en-US" altLang="zh-CN" sz="2000" b="1" dirty="0"/>
            </a:p>
          </p:txBody>
        </p:sp>
        <p:grpSp>
          <p:nvGrpSpPr>
            <p:cNvPr id="24" name="îṡľiḋé">
              <a:extLst>
                <a:ext uri="{FF2B5EF4-FFF2-40B4-BE49-F238E27FC236}">
                  <a16:creationId xmlns:a16="http://schemas.microsoft.com/office/drawing/2014/main" id="{3710897A-735A-4B13-B9AC-9FD7B83E9A53}"/>
                </a:ext>
              </a:extLst>
            </p:cNvPr>
            <p:cNvGrpSpPr/>
            <p:nvPr/>
          </p:nvGrpSpPr>
          <p:grpSpPr>
            <a:xfrm>
              <a:off x="8113068" y="4238261"/>
              <a:ext cx="3405832" cy="1276945"/>
              <a:chOff x="669925" y="2112827"/>
              <a:chExt cx="3122475" cy="1276945"/>
            </a:xfrm>
          </p:grpSpPr>
          <p:sp>
            <p:nvSpPr>
              <p:cNvPr id="28" name="ïṡľïďé">
                <a:extLst>
                  <a:ext uri="{FF2B5EF4-FFF2-40B4-BE49-F238E27FC236}">
                    <a16:creationId xmlns:a16="http://schemas.microsoft.com/office/drawing/2014/main" id="{C01E5CF9-947B-444F-980F-D2AC73F1A14F}"/>
                  </a:ext>
                </a:extLst>
              </p:cNvPr>
              <p:cNvSpPr/>
              <p:nvPr/>
            </p:nvSpPr>
            <p:spPr bwMode="auto">
              <a:xfrm>
                <a:off x="669927" y="2554631"/>
                <a:ext cx="3122473" cy="8351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</p:txBody>
          </p:sp>
          <p:sp>
            <p:nvSpPr>
              <p:cNvPr id="29" name="íṡļîḋê">
                <a:extLst>
                  <a:ext uri="{FF2B5EF4-FFF2-40B4-BE49-F238E27FC236}">
                    <a16:creationId xmlns:a16="http://schemas.microsoft.com/office/drawing/2014/main" id="{1E6C4472-04E0-4414-BB88-CAA67673ABD1}"/>
                  </a:ext>
                </a:extLst>
              </p:cNvPr>
              <p:cNvSpPr txBox="1"/>
              <p:nvPr/>
            </p:nvSpPr>
            <p:spPr bwMode="auto">
              <a:xfrm>
                <a:off x="669925" y="2112827"/>
                <a:ext cx="312247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zh-CN" altLang="en-US" sz="2000" b="1" dirty="0"/>
                  <a:t>增删库存信息以及图书信息</a:t>
                </a:r>
                <a:endParaRPr lang="en-US" altLang="zh-CN" sz="2000" b="1" dirty="0"/>
              </a:p>
            </p:txBody>
          </p:sp>
        </p:grpSp>
        <p:sp>
          <p:nvSpPr>
            <p:cNvPr id="27" name="îṧ1îḍè">
              <a:extLst>
                <a:ext uri="{FF2B5EF4-FFF2-40B4-BE49-F238E27FC236}">
                  <a16:creationId xmlns:a16="http://schemas.microsoft.com/office/drawing/2014/main" id="{A3553F11-A43B-40C7-AB5D-652C6B9B1115}"/>
                </a:ext>
              </a:extLst>
            </p:cNvPr>
            <p:cNvSpPr txBox="1"/>
            <p:nvPr/>
          </p:nvSpPr>
          <p:spPr bwMode="auto">
            <a:xfrm>
              <a:off x="660400" y="5082925"/>
              <a:ext cx="3405795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000" b="1" dirty="0"/>
                <a:t>查看用户的订单信息</a:t>
              </a:r>
              <a:endParaRPr lang="en-US" altLang="zh-CN" sz="2000" b="1" dirty="0"/>
            </a:p>
          </p:txBody>
        </p:sp>
      </p:grpSp>
      <p:pic>
        <p:nvPicPr>
          <p:cNvPr id="13" name="音频 12">
            <a:hlinkClick r:id="" action="ppaction://media"/>
            <a:extLst>
              <a:ext uri="{FF2B5EF4-FFF2-40B4-BE49-F238E27FC236}">
                <a16:creationId xmlns:a16="http://schemas.microsoft.com/office/drawing/2014/main" id="{37BC9B96-FEB9-46C7-9528-02C73845346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3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857"/>
    </mc:Choice>
    <mc:Fallback xmlns="">
      <p:transition spd="slow" advTm="885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Q&amp;A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067425" y="250861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F9082C7C-4131-4C95-8EF1-95B543B9BA17}"/>
              </a:ext>
            </a:extLst>
          </p:cNvPr>
          <p:cNvCxnSpPr>
            <a:cxnSpLocks/>
          </p:cNvCxnSpPr>
          <p:nvPr/>
        </p:nvCxnSpPr>
        <p:spPr>
          <a:xfrm>
            <a:off x="6048375" y="3536829"/>
            <a:ext cx="40825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>
            <a:extLst>
              <a:ext uri="{FF2B5EF4-FFF2-40B4-BE49-F238E27FC236}">
                <a16:creationId xmlns:a16="http://schemas.microsoft.com/office/drawing/2014/main" id="{65EFAD19-9E3C-482E-9288-529AF64C9B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4531" y="3675140"/>
            <a:ext cx="2816440" cy="2816440"/>
          </a:xfrm>
          <a:prstGeom prst="rect">
            <a:avLst/>
          </a:prstGeom>
        </p:spPr>
      </p:pic>
      <p:pic>
        <p:nvPicPr>
          <p:cNvPr id="8" name="音频 7">
            <a:hlinkClick r:id="" action="ppaction://media"/>
            <a:extLst>
              <a:ext uri="{FF2B5EF4-FFF2-40B4-BE49-F238E27FC236}">
                <a16:creationId xmlns:a16="http://schemas.microsoft.com/office/drawing/2014/main" id="{C08EC960-F937-4F4F-B2D0-B4FAF6EA643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400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117"/>
    </mc:Choice>
    <mc:Fallback xmlns="">
      <p:transition spd="slow" advTm="811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CEEF0A5-0070-455B-BDD1-A52CE9791FBD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240463"/>
            <a:ext cx="4140200" cy="206375"/>
          </a:xfr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4D3ACCA-5D02-4194-8A7D-2628A19BB40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grpSp>
        <p:nvGrpSpPr>
          <p:cNvPr id="5" name="27759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F8A10D3-13F3-4A85-A829-C6C01BF308B8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130296"/>
            <a:ext cx="12177668" cy="5763027"/>
            <a:chOff x="0" y="1130300"/>
            <a:chExt cx="12177669" cy="5763027"/>
          </a:xfrm>
        </p:grpSpPr>
        <p:grpSp>
          <p:nvGrpSpPr>
            <p:cNvPr id="6" name="iṡlíḍê">
              <a:extLst>
                <a:ext uri="{FF2B5EF4-FFF2-40B4-BE49-F238E27FC236}">
                  <a16:creationId xmlns:a16="http://schemas.microsoft.com/office/drawing/2014/main" id="{99044E65-71C2-4B92-8DDC-1AD787D09245}"/>
                </a:ext>
              </a:extLst>
            </p:cNvPr>
            <p:cNvGrpSpPr/>
            <p:nvPr/>
          </p:nvGrpSpPr>
          <p:grpSpPr>
            <a:xfrm>
              <a:off x="0" y="4452500"/>
              <a:ext cx="12177669" cy="2440827"/>
              <a:chOff x="0" y="4466341"/>
              <a:chExt cx="9144000" cy="1832773"/>
            </a:xfrm>
          </p:grpSpPr>
          <p:sp>
            <p:nvSpPr>
              <p:cNvPr id="44" name="işḷîḓé">
                <a:extLst>
                  <a:ext uri="{FF2B5EF4-FFF2-40B4-BE49-F238E27FC236}">
                    <a16:creationId xmlns:a16="http://schemas.microsoft.com/office/drawing/2014/main" id="{C96AB7A6-6F11-47F9-A08C-BEE0B06BA360}"/>
                  </a:ext>
                </a:extLst>
              </p:cNvPr>
              <p:cNvSpPr/>
              <p:nvPr/>
            </p:nvSpPr>
            <p:spPr bwMode="auto">
              <a:xfrm>
                <a:off x="772875" y="4678733"/>
                <a:ext cx="4359944" cy="1392352"/>
              </a:xfrm>
              <a:custGeom>
                <a:avLst/>
                <a:gdLst>
                  <a:gd name="T0" fmla="*/ 1027 w 1478"/>
                  <a:gd name="T1" fmla="*/ 471 h 473"/>
                  <a:gd name="T2" fmla="*/ 972 w 1478"/>
                  <a:gd name="T3" fmla="*/ 473 h 473"/>
                  <a:gd name="T4" fmla="*/ 970 w 1478"/>
                  <a:gd name="T5" fmla="*/ 473 h 473"/>
                  <a:gd name="T6" fmla="*/ 995 w 1478"/>
                  <a:gd name="T7" fmla="*/ 117 h 473"/>
                  <a:gd name="T8" fmla="*/ 996 w 1478"/>
                  <a:gd name="T9" fmla="*/ 105 h 473"/>
                  <a:gd name="T10" fmla="*/ 1006 w 1478"/>
                  <a:gd name="T11" fmla="*/ 117 h 473"/>
                  <a:gd name="T12" fmla="*/ 1010 w 1478"/>
                  <a:gd name="T13" fmla="*/ 471 h 473"/>
                  <a:gd name="T14" fmla="*/ 1461 w 1478"/>
                  <a:gd name="T15" fmla="*/ 105 h 473"/>
                  <a:gd name="T16" fmla="*/ 1465 w 1478"/>
                  <a:gd name="T17" fmla="*/ 105 h 473"/>
                  <a:gd name="T18" fmla="*/ 1475 w 1478"/>
                  <a:gd name="T19" fmla="*/ 155 h 473"/>
                  <a:gd name="T20" fmla="*/ 1478 w 1478"/>
                  <a:gd name="T21" fmla="*/ 473 h 473"/>
                  <a:gd name="T22" fmla="*/ 1465 w 1478"/>
                  <a:gd name="T23" fmla="*/ 473 h 473"/>
                  <a:gd name="T24" fmla="*/ 1423 w 1478"/>
                  <a:gd name="T25" fmla="*/ 473 h 473"/>
                  <a:gd name="T26" fmla="*/ 1415 w 1478"/>
                  <a:gd name="T27" fmla="*/ 207 h 473"/>
                  <a:gd name="T28" fmla="*/ 1423 w 1478"/>
                  <a:gd name="T29" fmla="*/ 155 h 473"/>
                  <a:gd name="T30" fmla="*/ 1427 w 1478"/>
                  <a:gd name="T31" fmla="*/ 105 h 473"/>
                  <a:gd name="T32" fmla="*/ 1442 w 1478"/>
                  <a:gd name="T33" fmla="*/ 23 h 473"/>
                  <a:gd name="T34" fmla="*/ 1461 w 1478"/>
                  <a:gd name="T35" fmla="*/ 105 h 473"/>
                  <a:gd name="T36" fmla="*/ 1285 w 1478"/>
                  <a:gd name="T37" fmla="*/ 190 h 473"/>
                  <a:gd name="T38" fmla="*/ 1335 w 1478"/>
                  <a:gd name="T39" fmla="*/ 473 h 473"/>
                  <a:gd name="T40" fmla="*/ 1285 w 1478"/>
                  <a:gd name="T41" fmla="*/ 190 h 473"/>
                  <a:gd name="T42" fmla="*/ 1176 w 1478"/>
                  <a:gd name="T43" fmla="*/ 243 h 473"/>
                  <a:gd name="T44" fmla="*/ 1216 w 1478"/>
                  <a:gd name="T45" fmla="*/ 473 h 473"/>
                  <a:gd name="T46" fmla="*/ 1176 w 1478"/>
                  <a:gd name="T47" fmla="*/ 243 h 473"/>
                  <a:gd name="T48" fmla="*/ 1083 w 1478"/>
                  <a:gd name="T49" fmla="*/ 167 h 473"/>
                  <a:gd name="T50" fmla="*/ 1125 w 1478"/>
                  <a:gd name="T51" fmla="*/ 473 h 473"/>
                  <a:gd name="T52" fmla="*/ 1083 w 1478"/>
                  <a:gd name="T53" fmla="*/ 167 h 473"/>
                  <a:gd name="T54" fmla="*/ 849 w 1478"/>
                  <a:gd name="T55" fmla="*/ 295 h 473"/>
                  <a:gd name="T56" fmla="*/ 884 w 1478"/>
                  <a:gd name="T57" fmla="*/ 473 h 473"/>
                  <a:gd name="T58" fmla="*/ 849 w 1478"/>
                  <a:gd name="T59" fmla="*/ 295 h 473"/>
                  <a:gd name="T60" fmla="*/ 631 w 1478"/>
                  <a:gd name="T61" fmla="*/ 373 h 473"/>
                  <a:gd name="T62" fmla="*/ 643 w 1478"/>
                  <a:gd name="T63" fmla="*/ 318 h 473"/>
                  <a:gd name="T64" fmla="*/ 667 w 1478"/>
                  <a:gd name="T65" fmla="*/ 306 h 473"/>
                  <a:gd name="T66" fmla="*/ 702 w 1478"/>
                  <a:gd name="T67" fmla="*/ 234 h 473"/>
                  <a:gd name="T68" fmla="*/ 723 w 1478"/>
                  <a:gd name="T69" fmla="*/ 306 h 473"/>
                  <a:gd name="T70" fmla="*/ 702 w 1478"/>
                  <a:gd name="T71" fmla="*/ 473 h 473"/>
                  <a:gd name="T72" fmla="*/ 687 w 1478"/>
                  <a:gd name="T73" fmla="*/ 473 h 473"/>
                  <a:gd name="T74" fmla="*/ 643 w 1478"/>
                  <a:gd name="T75" fmla="*/ 473 h 473"/>
                  <a:gd name="T76" fmla="*/ 631 w 1478"/>
                  <a:gd name="T77" fmla="*/ 373 h 473"/>
                  <a:gd name="T78" fmla="*/ 581 w 1478"/>
                  <a:gd name="T79" fmla="*/ 255 h 473"/>
                  <a:gd name="T80" fmla="*/ 623 w 1478"/>
                  <a:gd name="T81" fmla="*/ 473 h 473"/>
                  <a:gd name="T82" fmla="*/ 581 w 1478"/>
                  <a:gd name="T83" fmla="*/ 255 h 473"/>
                  <a:gd name="T84" fmla="*/ 532 w 1478"/>
                  <a:gd name="T85" fmla="*/ 314 h 473"/>
                  <a:gd name="T86" fmla="*/ 557 w 1478"/>
                  <a:gd name="T87" fmla="*/ 356 h 473"/>
                  <a:gd name="T88" fmla="*/ 532 w 1478"/>
                  <a:gd name="T89" fmla="*/ 473 h 473"/>
                  <a:gd name="T90" fmla="*/ 455 w 1478"/>
                  <a:gd name="T91" fmla="*/ 473 h 473"/>
                  <a:gd name="T92" fmla="*/ 455 w 1478"/>
                  <a:gd name="T93" fmla="*/ 302 h 473"/>
                  <a:gd name="T94" fmla="*/ 488 w 1478"/>
                  <a:gd name="T95" fmla="*/ 356 h 473"/>
                  <a:gd name="T96" fmla="*/ 532 w 1478"/>
                  <a:gd name="T97" fmla="*/ 314 h 473"/>
                  <a:gd name="T98" fmla="*/ 360 w 1478"/>
                  <a:gd name="T99" fmla="*/ 293 h 473"/>
                  <a:gd name="T100" fmla="*/ 426 w 1478"/>
                  <a:gd name="T101" fmla="*/ 473 h 473"/>
                  <a:gd name="T102" fmla="*/ 360 w 1478"/>
                  <a:gd name="T103" fmla="*/ 293 h 473"/>
                  <a:gd name="T104" fmla="*/ 287 w 1478"/>
                  <a:gd name="T105" fmla="*/ 209 h 473"/>
                  <a:gd name="T106" fmla="*/ 350 w 1478"/>
                  <a:gd name="T107" fmla="*/ 473 h 473"/>
                  <a:gd name="T108" fmla="*/ 287 w 1478"/>
                  <a:gd name="T109" fmla="*/ 209 h 473"/>
                  <a:gd name="T110" fmla="*/ 195 w 1478"/>
                  <a:gd name="T111" fmla="*/ 184 h 473"/>
                  <a:gd name="T112" fmla="*/ 241 w 1478"/>
                  <a:gd name="T113" fmla="*/ 473 h 473"/>
                  <a:gd name="T114" fmla="*/ 195 w 1478"/>
                  <a:gd name="T115" fmla="*/ 184 h 473"/>
                  <a:gd name="T116" fmla="*/ 31 w 1478"/>
                  <a:gd name="T117" fmla="*/ 264 h 473"/>
                  <a:gd name="T118" fmla="*/ 92 w 1478"/>
                  <a:gd name="T119" fmla="*/ 473 h 473"/>
                  <a:gd name="T120" fmla="*/ 31 w 1478"/>
                  <a:gd name="T121" fmla="*/ 473 h 473"/>
                  <a:gd name="T122" fmla="*/ 0 w 1478"/>
                  <a:gd name="T123" fmla="*/ 331 h 473"/>
                  <a:gd name="T124" fmla="*/ 31 w 1478"/>
                  <a:gd name="T125" fmla="*/ 264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78" h="473">
                    <a:moveTo>
                      <a:pt x="1010" y="471"/>
                    </a:moveTo>
                    <a:lnTo>
                      <a:pt x="1027" y="471"/>
                    </a:lnTo>
                    <a:lnTo>
                      <a:pt x="1027" y="473"/>
                    </a:lnTo>
                    <a:lnTo>
                      <a:pt x="972" y="473"/>
                    </a:lnTo>
                    <a:lnTo>
                      <a:pt x="972" y="473"/>
                    </a:lnTo>
                    <a:lnTo>
                      <a:pt x="970" y="473"/>
                    </a:lnTo>
                    <a:lnTo>
                      <a:pt x="970" y="117"/>
                    </a:lnTo>
                    <a:lnTo>
                      <a:pt x="995" y="117"/>
                    </a:lnTo>
                    <a:lnTo>
                      <a:pt x="996" y="75"/>
                    </a:lnTo>
                    <a:lnTo>
                      <a:pt x="996" y="105"/>
                    </a:lnTo>
                    <a:lnTo>
                      <a:pt x="1002" y="105"/>
                    </a:lnTo>
                    <a:lnTo>
                      <a:pt x="1006" y="117"/>
                    </a:lnTo>
                    <a:lnTo>
                      <a:pt x="1010" y="117"/>
                    </a:lnTo>
                    <a:lnTo>
                      <a:pt x="1010" y="471"/>
                    </a:lnTo>
                    <a:lnTo>
                      <a:pt x="1010" y="471"/>
                    </a:lnTo>
                    <a:close/>
                    <a:moveTo>
                      <a:pt x="1461" y="105"/>
                    </a:moveTo>
                    <a:lnTo>
                      <a:pt x="1463" y="0"/>
                    </a:lnTo>
                    <a:lnTo>
                      <a:pt x="1465" y="105"/>
                    </a:lnTo>
                    <a:lnTo>
                      <a:pt x="1475" y="105"/>
                    </a:lnTo>
                    <a:lnTo>
                      <a:pt x="1475" y="155"/>
                    </a:lnTo>
                    <a:lnTo>
                      <a:pt x="1478" y="155"/>
                    </a:lnTo>
                    <a:lnTo>
                      <a:pt x="1478" y="473"/>
                    </a:lnTo>
                    <a:lnTo>
                      <a:pt x="1475" y="473"/>
                    </a:lnTo>
                    <a:lnTo>
                      <a:pt x="1465" y="473"/>
                    </a:lnTo>
                    <a:lnTo>
                      <a:pt x="1427" y="473"/>
                    </a:lnTo>
                    <a:lnTo>
                      <a:pt x="1423" y="473"/>
                    </a:lnTo>
                    <a:lnTo>
                      <a:pt x="1415" y="473"/>
                    </a:lnTo>
                    <a:lnTo>
                      <a:pt x="1415" y="207"/>
                    </a:lnTo>
                    <a:lnTo>
                      <a:pt x="1423" y="207"/>
                    </a:lnTo>
                    <a:lnTo>
                      <a:pt x="1423" y="155"/>
                    </a:lnTo>
                    <a:lnTo>
                      <a:pt x="1427" y="155"/>
                    </a:lnTo>
                    <a:lnTo>
                      <a:pt x="1427" y="105"/>
                    </a:lnTo>
                    <a:lnTo>
                      <a:pt x="1440" y="105"/>
                    </a:lnTo>
                    <a:lnTo>
                      <a:pt x="1442" y="23"/>
                    </a:lnTo>
                    <a:lnTo>
                      <a:pt x="1444" y="105"/>
                    </a:lnTo>
                    <a:lnTo>
                      <a:pt x="1461" y="105"/>
                    </a:lnTo>
                    <a:lnTo>
                      <a:pt x="1461" y="105"/>
                    </a:lnTo>
                    <a:close/>
                    <a:moveTo>
                      <a:pt x="1285" y="190"/>
                    </a:moveTo>
                    <a:lnTo>
                      <a:pt x="1335" y="190"/>
                    </a:lnTo>
                    <a:lnTo>
                      <a:pt x="1335" y="473"/>
                    </a:lnTo>
                    <a:lnTo>
                      <a:pt x="1285" y="473"/>
                    </a:lnTo>
                    <a:lnTo>
                      <a:pt x="1285" y="190"/>
                    </a:lnTo>
                    <a:lnTo>
                      <a:pt x="1285" y="190"/>
                    </a:lnTo>
                    <a:close/>
                    <a:moveTo>
                      <a:pt x="1176" y="243"/>
                    </a:moveTo>
                    <a:lnTo>
                      <a:pt x="1216" y="243"/>
                    </a:lnTo>
                    <a:lnTo>
                      <a:pt x="1216" y="473"/>
                    </a:lnTo>
                    <a:lnTo>
                      <a:pt x="1176" y="473"/>
                    </a:lnTo>
                    <a:lnTo>
                      <a:pt x="1176" y="243"/>
                    </a:lnTo>
                    <a:lnTo>
                      <a:pt x="1176" y="243"/>
                    </a:lnTo>
                    <a:close/>
                    <a:moveTo>
                      <a:pt x="1083" y="167"/>
                    </a:moveTo>
                    <a:lnTo>
                      <a:pt x="1125" y="167"/>
                    </a:lnTo>
                    <a:lnTo>
                      <a:pt x="1125" y="473"/>
                    </a:lnTo>
                    <a:lnTo>
                      <a:pt x="1083" y="473"/>
                    </a:lnTo>
                    <a:lnTo>
                      <a:pt x="1083" y="167"/>
                    </a:lnTo>
                    <a:lnTo>
                      <a:pt x="1083" y="167"/>
                    </a:lnTo>
                    <a:close/>
                    <a:moveTo>
                      <a:pt x="849" y="295"/>
                    </a:moveTo>
                    <a:lnTo>
                      <a:pt x="884" y="295"/>
                    </a:lnTo>
                    <a:lnTo>
                      <a:pt x="884" y="473"/>
                    </a:lnTo>
                    <a:lnTo>
                      <a:pt x="849" y="473"/>
                    </a:lnTo>
                    <a:lnTo>
                      <a:pt x="849" y="295"/>
                    </a:lnTo>
                    <a:lnTo>
                      <a:pt x="849" y="295"/>
                    </a:lnTo>
                    <a:close/>
                    <a:moveTo>
                      <a:pt x="631" y="373"/>
                    </a:moveTo>
                    <a:lnTo>
                      <a:pt x="643" y="373"/>
                    </a:lnTo>
                    <a:lnTo>
                      <a:pt x="643" y="318"/>
                    </a:lnTo>
                    <a:lnTo>
                      <a:pt x="667" y="318"/>
                    </a:lnTo>
                    <a:lnTo>
                      <a:pt x="667" y="306"/>
                    </a:lnTo>
                    <a:lnTo>
                      <a:pt x="667" y="234"/>
                    </a:lnTo>
                    <a:lnTo>
                      <a:pt x="702" y="234"/>
                    </a:lnTo>
                    <a:lnTo>
                      <a:pt x="702" y="306"/>
                    </a:lnTo>
                    <a:lnTo>
                      <a:pt x="723" y="306"/>
                    </a:lnTo>
                    <a:lnTo>
                      <a:pt x="723" y="473"/>
                    </a:lnTo>
                    <a:lnTo>
                      <a:pt x="702" y="473"/>
                    </a:lnTo>
                    <a:lnTo>
                      <a:pt x="698" y="473"/>
                    </a:lnTo>
                    <a:lnTo>
                      <a:pt x="687" y="473"/>
                    </a:lnTo>
                    <a:lnTo>
                      <a:pt x="667" y="473"/>
                    </a:lnTo>
                    <a:lnTo>
                      <a:pt x="643" y="473"/>
                    </a:lnTo>
                    <a:lnTo>
                      <a:pt x="631" y="473"/>
                    </a:lnTo>
                    <a:lnTo>
                      <a:pt x="631" y="373"/>
                    </a:lnTo>
                    <a:lnTo>
                      <a:pt x="631" y="373"/>
                    </a:lnTo>
                    <a:close/>
                    <a:moveTo>
                      <a:pt x="581" y="255"/>
                    </a:moveTo>
                    <a:lnTo>
                      <a:pt x="623" y="255"/>
                    </a:lnTo>
                    <a:lnTo>
                      <a:pt x="623" y="473"/>
                    </a:lnTo>
                    <a:lnTo>
                      <a:pt x="581" y="473"/>
                    </a:lnTo>
                    <a:lnTo>
                      <a:pt x="581" y="255"/>
                    </a:lnTo>
                    <a:lnTo>
                      <a:pt x="581" y="255"/>
                    </a:lnTo>
                    <a:close/>
                    <a:moveTo>
                      <a:pt x="532" y="314"/>
                    </a:moveTo>
                    <a:lnTo>
                      <a:pt x="557" y="314"/>
                    </a:lnTo>
                    <a:lnTo>
                      <a:pt x="557" y="356"/>
                    </a:lnTo>
                    <a:lnTo>
                      <a:pt x="557" y="473"/>
                    </a:lnTo>
                    <a:lnTo>
                      <a:pt x="532" y="473"/>
                    </a:lnTo>
                    <a:lnTo>
                      <a:pt x="488" y="473"/>
                    </a:lnTo>
                    <a:lnTo>
                      <a:pt x="455" y="473"/>
                    </a:lnTo>
                    <a:lnTo>
                      <a:pt x="455" y="356"/>
                    </a:lnTo>
                    <a:lnTo>
                      <a:pt x="455" y="302"/>
                    </a:lnTo>
                    <a:lnTo>
                      <a:pt x="488" y="302"/>
                    </a:lnTo>
                    <a:lnTo>
                      <a:pt x="488" y="356"/>
                    </a:lnTo>
                    <a:lnTo>
                      <a:pt x="532" y="356"/>
                    </a:lnTo>
                    <a:lnTo>
                      <a:pt x="532" y="314"/>
                    </a:lnTo>
                    <a:lnTo>
                      <a:pt x="532" y="314"/>
                    </a:lnTo>
                    <a:close/>
                    <a:moveTo>
                      <a:pt x="360" y="293"/>
                    </a:moveTo>
                    <a:lnTo>
                      <a:pt x="426" y="293"/>
                    </a:lnTo>
                    <a:lnTo>
                      <a:pt x="426" y="473"/>
                    </a:lnTo>
                    <a:lnTo>
                      <a:pt x="360" y="473"/>
                    </a:lnTo>
                    <a:lnTo>
                      <a:pt x="360" y="293"/>
                    </a:lnTo>
                    <a:lnTo>
                      <a:pt x="360" y="293"/>
                    </a:lnTo>
                    <a:close/>
                    <a:moveTo>
                      <a:pt x="287" y="209"/>
                    </a:moveTo>
                    <a:lnTo>
                      <a:pt x="350" y="209"/>
                    </a:lnTo>
                    <a:lnTo>
                      <a:pt x="350" y="473"/>
                    </a:lnTo>
                    <a:lnTo>
                      <a:pt x="287" y="473"/>
                    </a:lnTo>
                    <a:lnTo>
                      <a:pt x="287" y="209"/>
                    </a:lnTo>
                    <a:lnTo>
                      <a:pt x="287" y="209"/>
                    </a:lnTo>
                    <a:close/>
                    <a:moveTo>
                      <a:pt x="195" y="184"/>
                    </a:moveTo>
                    <a:lnTo>
                      <a:pt x="241" y="184"/>
                    </a:lnTo>
                    <a:lnTo>
                      <a:pt x="241" y="473"/>
                    </a:lnTo>
                    <a:lnTo>
                      <a:pt x="195" y="473"/>
                    </a:lnTo>
                    <a:lnTo>
                      <a:pt x="195" y="184"/>
                    </a:lnTo>
                    <a:lnTo>
                      <a:pt x="195" y="184"/>
                    </a:lnTo>
                    <a:close/>
                    <a:moveTo>
                      <a:pt x="31" y="264"/>
                    </a:moveTo>
                    <a:lnTo>
                      <a:pt x="92" y="264"/>
                    </a:lnTo>
                    <a:lnTo>
                      <a:pt x="92" y="473"/>
                    </a:lnTo>
                    <a:lnTo>
                      <a:pt x="61" y="473"/>
                    </a:lnTo>
                    <a:lnTo>
                      <a:pt x="31" y="473"/>
                    </a:lnTo>
                    <a:lnTo>
                      <a:pt x="0" y="473"/>
                    </a:lnTo>
                    <a:lnTo>
                      <a:pt x="0" y="331"/>
                    </a:lnTo>
                    <a:lnTo>
                      <a:pt x="31" y="331"/>
                    </a:lnTo>
                    <a:lnTo>
                      <a:pt x="31" y="264"/>
                    </a:lnTo>
                    <a:lnTo>
                      <a:pt x="31" y="264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5" name="íṧlîḋè">
                <a:extLst>
                  <a:ext uri="{FF2B5EF4-FFF2-40B4-BE49-F238E27FC236}">
                    <a16:creationId xmlns:a16="http://schemas.microsoft.com/office/drawing/2014/main" id="{0235A7A7-B055-43F4-808D-987A934AB16E}"/>
                  </a:ext>
                </a:extLst>
              </p:cNvPr>
              <p:cNvSpPr/>
              <p:nvPr/>
            </p:nvSpPr>
            <p:spPr bwMode="auto">
              <a:xfrm>
                <a:off x="117996" y="5321000"/>
                <a:ext cx="5994189" cy="750090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6" name="îṥ1iḋè">
                <a:extLst>
                  <a:ext uri="{FF2B5EF4-FFF2-40B4-BE49-F238E27FC236}">
                    <a16:creationId xmlns:a16="http://schemas.microsoft.com/office/drawing/2014/main" id="{2BFFCD75-73D8-4335-B57B-3F31CF8EA2AA}"/>
                  </a:ext>
                </a:extLst>
              </p:cNvPr>
              <p:cNvSpPr/>
              <p:nvPr/>
            </p:nvSpPr>
            <p:spPr bwMode="auto">
              <a:xfrm>
                <a:off x="430686" y="4891127"/>
                <a:ext cx="306789" cy="1162261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7" name="îṧliḓe">
                <a:extLst>
                  <a:ext uri="{FF2B5EF4-FFF2-40B4-BE49-F238E27FC236}">
                    <a16:creationId xmlns:a16="http://schemas.microsoft.com/office/drawing/2014/main" id="{A20A5A27-E3A3-48AB-92CF-1E6178DF0008}"/>
                  </a:ext>
                </a:extLst>
              </p:cNvPr>
              <p:cNvSpPr/>
              <p:nvPr/>
            </p:nvSpPr>
            <p:spPr bwMode="auto">
              <a:xfrm>
                <a:off x="908568" y="5251015"/>
                <a:ext cx="1103260" cy="802372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8" name="ïṡļíḑê">
                <a:extLst>
                  <a:ext uri="{FF2B5EF4-FFF2-40B4-BE49-F238E27FC236}">
                    <a16:creationId xmlns:a16="http://schemas.microsoft.com/office/drawing/2014/main" id="{AFCBC4F1-1055-4876-9F57-6E2A4FE12B01}"/>
                  </a:ext>
                </a:extLst>
              </p:cNvPr>
              <p:cNvSpPr/>
              <p:nvPr/>
            </p:nvSpPr>
            <p:spPr bwMode="auto">
              <a:xfrm>
                <a:off x="2041328" y="5852794"/>
                <a:ext cx="106196" cy="200593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/>
              <a:p>
                <a:endParaRPr lang="en-US"/>
              </a:p>
            </p:txBody>
          </p:sp>
          <p:sp>
            <p:nvSpPr>
              <p:cNvPr id="49" name="íṧ1îďe">
                <a:extLst>
                  <a:ext uri="{FF2B5EF4-FFF2-40B4-BE49-F238E27FC236}">
                    <a16:creationId xmlns:a16="http://schemas.microsoft.com/office/drawing/2014/main" id="{7B67B1F2-C009-483C-AF02-AF7CD9CC0600}"/>
                  </a:ext>
                </a:extLst>
              </p:cNvPr>
              <p:cNvSpPr/>
              <p:nvPr/>
            </p:nvSpPr>
            <p:spPr bwMode="auto">
              <a:xfrm>
                <a:off x="2118028" y="5905891"/>
                <a:ext cx="318589" cy="147496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/>
              </a:p>
            </p:txBody>
          </p:sp>
          <p:sp>
            <p:nvSpPr>
              <p:cNvPr id="50" name="ïṣľîḋê">
                <a:extLst>
                  <a:ext uri="{FF2B5EF4-FFF2-40B4-BE49-F238E27FC236}">
                    <a16:creationId xmlns:a16="http://schemas.microsoft.com/office/drawing/2014/main" id="{BC971B8A-D9C2-4DD4-9715-E1BF4770DCFD}"/>
                  </a:ext>
                </a:extLst>
              </p:cNvPr>
              <p:cNvSpPr/>
              <p:nvPr/>
            </p:nvSpPr>
            <p:spPr bwMode="auto">
              <a:xfrm>
                <a:off x="2348117" y="5522406"/>
                <a:ext cx="277288" cy="530981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51" name="íṡḷîďê">
                <a:extLst>
                  <a:ext uri="{FF2B5EF4-FFF2-40B4-BE49-F238E27FC236}">
                    <a16:creationId xmlns:a16="http://schemas.microsoft.com/office/drawing/2014/main" id="{A0E8778B-4382-4CAE-954E-7697FD0E38F4}"/>
                  </a:ext>
                </a:extLst>
              </p:cNvPr>
              <p:cNvSpPr/>
              <p:nvPr/>
            </p:nvSpPr>
            <p:spPr bwMode="auto">
              <a:xfrm>
                <a:off x="2660808" y="5882292"/>
                <a:ext cx="117995" cy="171096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52" name="iṧľîdé">
                <a:extLst>
                  <a:ext uri="{FF2B5EF4-FFF2-40B4-BE49-F238E27FC236}">
                    <a16:creationId xmlns:a16="http://schemas.microsoft.com/office/drawing/2014/main" id="{4EAA081C-D4C3-49C3-8999-3ADC5B68EAA7}"/>
                  </a:ext>
                </a:extLst>
              </p:cNvPr>
              <p:cNvSpPr/>
              <p:nvPr/>
            </p:nvSpPr>
            <p:spPr bwMode="auto">
              <a:xfrm>
                <a:off x="2796502" y="5823294"/>
                <a:ext cx="112094" cy="230094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53" name="íslíḓè">
                <a:extLst>
                  <a:ext uri="{FF2B5EF4-FFF2-40B4-BE49-F238E27FC236}">
                    <a16:creationId xmlns:a16="http://schemas.microsoft.com/office/drawing/2014/main" id="{13431743-9C0F-4F93-B715-A6A7A5293D14}"/>
                  </a:ext>
                </a:extLst>
              </p:cNvPr>
              <p:cNvSpPr/>
              <p:nvPr/>
            </p:nvSpPr>
            <p:spPr bwMode="auto">
              <a:xfrm>
                <a:off x="3421880" y="5610901"/>
                <a:ext cx="147494" cy="442486"/>
              </a:xfrm>
              <a:custGeom>
                <a:avLst/>
                <a:gdLst>
                  <a:gd name="T0" fmla="*/ 9 w 50"/>
                  <a:gd name="T1" fmla="*/ 23 h 149"/>
                  <a:gd name="T2" fmla="*/ 13 w 50"/>
                  <a:gd name="T3" fmla="*/ 23 h 149"/>
                  <a:gd name="T4" fmla="*/ 23 w 50"/>
                  <a:gd name="T5" fmla="*/ 0 h 149"/>
                  <a:gd name="T6" fmla="*/ 29 w 50"/>
                  <a:gd name="T7" fmla="*/ 0 h 149"/>
                  <a:gd name="T8" fmla="*/ 36 w 50"/>
                  <a:gd name="T9" fmla="*/ 23 h 149"/>
                  <a:gd name="T10" fmla="*/ 42 w 50"/>
                  <a:gd name="T11" fmla="*/ 23 h 149"/>
                  <a:gd name="T12" fmla="*/ 42 w 50"/>
                  <a:gd name="T13" fmla="*/ 36 h 149"/>
                  <a:gd name="T14" fmla="*/ 44 w 50"/>
                  <a:gd name="T15" fmla="*/ 42 h 149"/>
                  <a:gd name="T16" fmla="*/ 50 w 50"/>
                  <a:gd name="T17" fmla="*/ 42 h 149"/>
                  <a:gd name="T18" fmla="*/ 50 w 50"/>
                  <a:gd name="T19" fmla="*/ 149 h 149"/>
                  <a:gd name="T20" fmla="*/ 0 w 50"/>
                  <a:gd name="T21" fmla="*/ 149 h 149"/>
                  <a:gd name="T22" fmla="*/ 0 w 50"/>
                  <a:gd name="T23" fmla="*/ 42 h 149"/>
                  <a:gd name="T24" fmla="*/ 8 w 50"/>
                  <a:gd name="T25" fmla="*/ 42 h 149"/>
                  <a:gd name="T26" fmla="*/ 9 w 50"/>
                  <a:gd name="T27" fmla="*/ 36 h 149"/>
                  <a:gd name="T28" fmla="*/ 9 w 50"/>
                  <a:gd name="T29" fmla="*/ 23 h 149"/>
                  <a:gd name="T30" fmla="*/ 9 w 50"/>
                  <a:gd name="T31" fmla="*/ 23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0" h="149">
                    <a:moveTo>
                      <a:pt x="9" y="23"/>
                    </a:moveTo>
                    <a:lnTo>
                      <a:pt x="13" y="23"/>
                    </a:lnTo>
                    <a:lnTo>
                      <a:pt x="23" y="0"/>
                    </a:lnTo>
                    <a:lnTo>
                      <a:pt x="29" y="0"/>
                    </a:lnTo>
                    <a:lnTo>
                      <a:pt x="36" y="23"/>
                    </a:lnTo>
                    <a:lnTo>
                      <a:pt x="42" y="23"/>
                    </a:lnTo>
                    <a:lnTo>
                      <a:pt x="42" y="36"/>
                    </a:lnTo>
                    <a:lnTo>
                      <a:pt x="44" y="42"/>
                    </a:lnTo>
                    <a:lnTo>
                      <a:pt x="50" y="42"/>
                    </a:lnTo>
                    <a:lnTo>
                      <a:pt x="50" y="149"/>
                    </a:lnTo>
                    <a:lnTo>
                      <a:pt x="0" y="149"/>
                    </a:lnTo>
                    <a:lnTo>
                      <a:pt x="0" y="42"/>
                    </a:lnTo>
                    <a:lnTo>
                      <a:pt x="8" y="42"/>
                    </a:lnTo>
                    <a:lnTo>
                      <a:pt x="9" y="36"/>
                    </a:lnTo>
                    <a:lnTo>
                      <a:pt x="9" y="23"/>
                    </a:lnTo>
                    <a:lnTo>
                      <a:pt x="9" y="2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54" name="ïS1íḍé">
                <a:extLst>
                  <a:ext uri="{FF2B5EF4-FFF2-40B4-BE49-F238E27FC236}">
                    <a16:creationId xmlns:a16="http://schemas.microsoft.com/office/drawing/2014/main" id="{DE94EF8D-D402-4448-8F36-C78900E43B27}"/>
                  </a:ext>
                </a:extLst>
              </p:cNvPr>
              <p:cNvSpPr/>
              <p:nvPr/>
            </p:nvSpPr>
            <p:spPr bwMode="auto">
              <a:xfrm>
                <a:off x="3646071" y="5964889"/>
                <a:ext cx="82597" cy="88498"/>
              </a:xfrm>
              <a:custGeom>
                <a:avLst/>
                <a:gdLst>
                  <a:gd name="T0" fmla="*/ 0 w 28"/>
                  <a:gd name="T1" fmla="*/ 0 h 31"/>
                  <a:gd name="T2" fmla="*/ 28 w 28"/>
                  <a:gd name="T3" fmla="*/ 0 h 31"/>
                  <a:gd name="T4" fmla="*/ 28 w 28"/>
                  <a:gd name="T5" fmla="*/ 31 h 31"/>
                  <a:gd name="T6" fmla="*/ 0 w 28"/>
                  <a:gd name="T7" fmla="*/ 31 h 31"/>
                  <a:gd name="T8" fmla="*/ 0 w 28"/>
                  <a:gd name="T9" fmla="*/ 0 h 31"/>
                  <a:gd name="T10" fmla="*/ 0 w 28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31">
                    <a:moveTo>
                      <a:pt x="0" y="0"/>
                    </a:moveTo>
                    <a:lnTo>
                      <a:pt x="28" y="0"/>
                    </a:lnTo>
                    <a:lnTo>
                      <a:pt x="28" y="31"/>
                    </a:lnTo>
                    <a:lnTo>
                      <a:pt x="0" y="3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/>
              </a:p>
            </p:txBody>
          </p:sp>
          <p:sp>
            <p:nvSpPr>
              <p:cNvPr id="55" name="isļïḋé">
                <a:extLst>
                  <a:ext uri="{FF2B5EF4-FFF2-40B4-BE49-F238E27FC236}">
                    <a16:creationId xmlns:a16="http://schemas.microsoft.com/office/drawing/2014/main" id="{A7914C39-7FFF-4625-8F62-A3561D395C37}"/>
                  </a:ext>
                </a:extLst>
              </p:cNvPr>
              <p:cNvSpPr/>
              <p:nvPr/>
            </p:nvSpPr>
            <p:spPr bwMode="auto">
              <a:xfrm>
                <a:off x="3675572" y="5021474"/>
                <a:ext cx="778773" cy="1031913"/>
              </a:xfrm>
              <a:custGeom>
                <a:avLst/>
                <a:gdLst>
                  <a:gd name="T0" fmla="*/ 124 w 266"/>
                  <a:gd name="T1" fmla="*/ 0 h 476"/>
                  <a:gd name="T2" fmla="*/ 203 w 266"/>
                  <a:gd name="T3" fmla="*/ 0 h 476"/>
                  <a:gd name="T4" fmla="*/ 203 w 266"/>
                  <a:gd name="T5" fmla="*/ 5 h 476"/>
                  <a:gd name="T6" fmla="*/ 209 w 266"/>
                  <a:gd name="T7" fmla="*/ 5 h 476"/>
                  <a:gd name="T8" fmla="*/ 209 w 266"/>
                  <a:gd name="T9" fmla="*/ 9 h 476"/>
                  <a:gd name="T10" fmla="*/ 214 w 266"/>
                  <a:gd name="T11" fmla="*/ 9 h 476"/>
                  <a:gd name="T12" fmla="*/ 214 w 266"/>
                  <a:gd name="T13" fmla="*/ 17 h 476"/>
                  <a:gd name="T14" fmla="*/ 222 w 266"/>
                  <a:gd name="T15" fmla="*/ 17 h 476"/>
                  <a:gd name="T16" fmla="*/ 222 w 266"/>
                  <a:gd name="T17" fmla="*/ 430 h 476"/>
                  <a:gd name="T18" fmla="*/ 230 w 266"/>
                  <a:gd name="T19" fmla="*/ 430 h 476"/>
                  <a:gd name="T20" fmla="*/ 230 w 266"/>
                  <a:gd name="T21" fmla="*/ 453 h 476"/>
                  <a:gd name="T22" fmla="*/ 230 w 266"/>
                  <a:gd name="T23" fmla="*/ 462 h 476"/>
                  <a:gd name="T24" fmla="*/ 266 w 266"/>
                  <a:gd name="T25" fmla="*/ 462 h 476"/>
                  <a:gd name="T26" fmla="*/ 266 w 266"/>
                  <a:gd name="T27" fmla="*/ 476 h 476"/>
                  <a:gd name="T28" fmla="*/ 230 w 266"/>
                  <a:gd name="T29" fmla="*/ 476 h 476"/>
                  <a:gd name="T30" fmla="*/ 222 w 266"/>
                  <a:gd name="T31" fmla="*/ 476 h 476"/>
                  <a:gd name="T32" fmla="*/ 199 w 266"/>
                  <a:gd name="T33" fmla="*/ 476 h 476"/>
                  <a:gd name="T34" fmla="*/ 124 w 266"/>
                  <a:gd name="T35" fmla="*/ 476 h 476"/>
                  <a:gd name="T36" fmla="*/ 48 w 266"/>
                  <a:gd name="T37" fmla="*/ 476 h 476"/>
                  <a:gd name="T38" fmla="*/ 0 w 266"/>
                  <a:gd name="T39" fmla="*/ 476 h 476"/>
                  <a:gd name="T40" fmla="*/ 0 w 266"/>
                  <a:gd name="T41" fmla="*/ 453 h 476"/>
                  <a:gd name="T42" fmla="*/ 0 w 266"/>
                  <a:gd name="T43" fmla="*/ 411 h 476"/>
                  <a:gd name="T44" fmla="*/ 10 w 266"/>
                  <a:gd name="T45" fmla="*/ 411 h 476"/>
                  <a:gd name="T46" fmla="*/ 10 w 266"/>
                  <a:gd name="T47" fmla="*/ 166 h 476"/>
                  <a:gd name="T48" fmla="*/ 17 w 266"/>
                  <a:gd name="T49" fmla="*/ 166 h 476"/>
                  <a:gd name="T50" fmla="*/ 17 w 266"/>
                  <a:gd name="T51" fmla="*/ 155 h 476"/>
                  <a:gd name="T52" fmla="*/ 23 w 266"/>
                  <a:gd name="T53" fmla="*/ 155 h 476"/>
                  <a:gd name="T54" fmla="*/ 23 w 266"/>
                  <a:gd name="T55" fmla="*/ 143 h 476"/>
                  <a:gd name="T56" fmla="*/ 25 w 266"/>
                  <a:gd name="T57" fmla="*/ 143 h 476"/>
                  <a:gd name="T58" fmla="*/ 44 w 266"/>
                  <a:gd name="T59" fmla="*/ 111 h 476"/>
                  <a:gd name="T60" fmla="*/ 46 w 266"/>
                  <a:gd name="T61" fmla="*/ 111 h 476"/>
                  <a:gd name="T62" fmla="*/ 48 w 266"/>
                  <a:gd name="T63" fmla="*/ 111 h 476"/>
                  <a:gd name="T64" fmla="*/ 48 w 266"/>
                  <a:gd name="T65" fmla="*/ 76 h 476"/>
                  <a:gd name="T66" fmla="*/ 50 w 266"/>
                  <a:gd name="T67" fmla="*/ 76 h 476"/>
                  <a:gd name="T68" fmla="*/ 50 w 266"/>
                  <a:gd name="T69" fmla="*/ 113 h 476"/>
                  <a:gd name="T70" fmla="*/ 69 w 266"/>
                  <a:gd name="T71" fmla="*/ 143 h 476"/>
                  <a:gd name="T72" fmla="*/ 71 w 266"/>
                  <a:gd name="T73" fmla="*/ 143 h 476"/>
                  <a:gd name="T74" fmla="*/ 71 w 266"/>
                  <a:gd name="T75" fmla="*/ 155 h 476"/>
                  <a:gd name="T76" fmla="*/ 75 w 266"/>
                  <a:gd name="T77" fmla="*/ 155 h 476"/>
                  <a:gd name="T78" fmla="*/ 75 w 266"/>
                  <a:gd name="T79" fmla="*/ 166 h 476"/>
                  <a:gd name="T80" fmla="*/ 82 w 266"/>
                  <a:gd name="T81" fmla="*/ 166 h 476"/>
                  <a:gd name="T82" fmla="*/ 82 w 266"/>
                  <a:gd name="T83" fmla="*/ 453 h 476"/>
                  <a:gd name="T84" fmla="*/ 124 w 266"/>
                  <a:gd name="T85" fmla="*/ 453 h 476"/>
                  <a:gd name="T86" fmla="*/ 124 w 266"/>
                  <a:gd name="T87" fmla="*/ 23 h 476"/>
                  <a:gd name="T88" fmla="*/ 124 w 266"/>
                  <a:gd name="T89" fmla="*/ 17 h 476"/>
                  <a:gd name="T90" fmla="*/ 124 w 266"/>
                  <a:gd name="T91" fmla="*/ 17 h 476"/>
                  <a:gd name="T92" fmla="*/ 124 w 266"/>
                  <a:gd name="T93" fmla="*/ 11 h 476"/>
                  <a:gd name="T94" fmla="*/ 124 w 266"/>
                  <a:gd name="T95" fmla="*/ 9 h 476"/>
                  <a:gd name="T96" fmla="*/ 124 w 266"/>
                  <a:gd name="T97" fmla="*/ 5 h 476"/>
                  <a:gd name="T98" fmla="*/ 124 w 266"/>
                  <a:gd name="T99" fmla="*/ 0 h 476"/>
                  <a:gd name="T100" fmla="*/ 124 w 266"/>
                  <a:gd name="T101" fmla="*/ 0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476">
                    <a:moveTo>
                      <a:pt x="124" y="0"/>
                    </a:moveTo>
                    <a:lnTo>
                      <a:pt x="203" y="0"/>
                    </a:lnTo>
                    <a:lnTo>
                      <a:pt x="203" y="5"/>
                    </a:lnTo>
                    <a:lnTo>
                      <a:pt x="209" y="5"/>
                    </a:lnTo>
                    <a:lnTo>
                      <a:pt x="209" y="9"/>
                    </a:lnTo>
                    <a:lnTo>
                      <a:pt x="214" y="9"/>
                    </a:lnTo>
                    <a:lnTo>
                      <a:pt x="214" y="17"/>
                    </a:lnTo>
                    <a:lnTo>
                      <a:pt x="222" y="17"/>
                    </a:lnTo>
                    <a:lnTo>
                      <a:pt x="222" y="430"/>
                    </a:lnTo>
                    <a:lnTo>
                      <a:pt x="230" y="430"/>
                    </a:lnTo>
                    <a:lnTo>
                      <a:pt x="230" y="453"/>
                    </a:lnTo>
                    <a:lnTo>
                      <a:pt x="230" y="462"/>
                    </a:lnTo>
                    <a:lnTo>
                      <a:pt x="266" y="462"/>
                    </a:lnTo>
                    <a:lnTo>
                      <a:pt x="266" y="476"/>
                    </a:lnTo>
                    <a:lnTo>
                      <a:pt x="230" y="476"/>
                    </a:lnTo>
                    <a:lnTo>
                      <a:pt x="222" y="476"/>
                    </a:lnTo>
                    <a:lnTo>
                      <a:pt x="199" y="476"/>
                    </a:lnTo>
                    <a:lnTo>
                      <a:pt x="124" y="476"/>
                    </a:lnTo>
                    <a:lnTo>
                      <a:pt x="48" y="476"/>
                    </a:lnTo>
                    <a:lnTo>
                      <a:pt x="0" y="476"/>
                    </a:lnTo>
                    <a:lnTo>
                      <a:pt x="0" y="453"/>
                    </a:lnTo>
                    <a:lnTo>
                      <a:pt x="0" y="411"/>
                    </a:lnTo>
                    <a:lnTo>
                      <a:pt x="10" y="411"/>
                    </a:lnTo>
                    <a:lnTo>
                      <a:pt x="10" y="166"/>
                    </a:lnTo>
                    <a:lnTo>
                      <a:pt x="17" y="166"/>
                    </a:lnTo>
                    <a:lnTo>
                      <a:pt x="17" y="155"/>
                    </a:lnTo>
                    <a:lnTo>
                      <a:pt x="23" y="155"/>
                    </a:lnTo>
                    <a:lnTo>
                      <a:pt x="23" y="143"/>
                    </a:lnTo>
                    <a:lnTo>
                      <a:pt x="25" y="143"/>
                    </a:lnTo>
                    <a:lnTo>
                      <a:pt x="44" y="111"/>
                    </a:lnTo>
                    <a:lnTo>
                      <a:pt x="46" y="111"/>
                    </a:lnTo>
                    <a:lnTo>
                      <a:pt x="48" y="111"/>
                    </a:lnTo>
                    <a:lnTo>
                      <a:pt x="48" y="76"/>
                    </a:lnTo>
                    <a:lnTo>
                      <a:pt x="50" y="76"/>
                    </a:lnTo>
                    <a:lnTo>
                      <a:pt x="50" y="113"/>
                    </a:lnTo>
                    <a:lnTo>
                      <a:pt x="69" y="143"/>
                    </a:lnTo>
                    <a:lnTo>
                      <a:pt x="71" y="143"/>
                    </a:lnTo>
                    <a:lnTo>
                      <a:pt x="71" y="155"/>
                    </a:lnTo>
                    <a:lnTo>
                      <a:pt x="75" y="155"/>
                    </a:lnTo>
                    <a:lnTo>
                      <a:pt x="75" y="166"/>
                    </a:lnTo>
                    <a:lnTo>
                      <a:pt x="82" y="166"/>
                    </a:lnTo>
                    <a:lnTo>
                      <a:pt x="82" y="453"/>
                    </a:lnTo>
                    <a:lnTo>
                      <a:pt x="124" y="453"/>
                    </a:lnTo>
                    <a:lnTo>
                      <a:pt x="124" y="23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24" y="11"/>
                    </a:lnTo>
                    <a:lnTo>
                      <a:pt x="124" y="9"/>
                    </a:lnTo>
                    <a:lnTo>
                      <a:pt x="124" y="5"/>
                    </a:lnTo>
                    <a:lnTo>
                      <a:pt x="124" y="0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56" name="išľîḑè">
                <a:extLst>
                  <a:ext uri="{FF2B5EF4-FFF2-40B4-BE49-F238E27FC236}">
                    <a16:creationId xmlns:a16="http://schemas.microsoft.com/office/drawing/2014/main" id="{376A8BEC-9D7C-4711-820C-E7882ADBEFDA}"/>
                  </a:ext>
                </a:extLst>
              </p:cNvPr>
              <p:cNvSpPr/>
              <p:nvPr/>
            </p:nvSpPr>
            <p:spPr bwMode="auto">
              <a:xfrm>
                <a:off x="4383548" y="5622700"/>
                <a:ext cx="306789" cy="430687"/>
              </a:xfrm>
              <a:custGeom>
                <a:avLst/>
                <a:gdLst>
                  <a:gd name="T0" fmla="*/ 48 w 103"/>
                  <a:gd name="T1" fmla="*/ 112 h 145"/>
                  <a:gd name="T2" fmla="*/ 103 w 103"/>
                  <a:gd name="T3" fmla="*/ 112 h 145"/>
                  <a:gd name="T4" fmla="*/ 103 w 103"/>
                  <a:gd name="T5" fmla="*/ 145 h 145"/>
                  <a:gd name="T6" fmla="*/ 48 w 103"/>
                  <a:gd name="T7" fmla="*/ 145 h 145"/>
                  <a:gd name="T8" fmla="*/ 23 w 103"/>
                  <a:gd name="T9" fmla="*/ 145 h 145"/>
                  <a:gd name="T10" fmla="*/ 0 w 103"/>
                  <a:gd name="T11" fmla="*/ 145 h 145"/>
                  <a:gd name="T12" fmla="*/ 0 w 103"/>
                  <a:gd name="T13" fmla="*/ 11 h 145"/>
                  <a:gd name="T14" fmla="*/ 6 w 103"/>
                  <a:gd name="T15" fmla="*/ 11 h 145"/>
                  <a:gd name="T16" fmla="*/ 6 w 103"/>
                  <a:gd name="T17" fmla="*/ 0 h 145"/>
                  <a:gd name="T18" fmla="*/ 34 w 103"/>
                  <a:gd name="T19" fmla="*/ 0 h 145"/>
                  <a:gd name="T20" fmla="*/ 34 w 103"/>
                  <a:gd name="T21" fmla="*/ 11 h 145"/>
                  <a:gd name="T22" fmla="*/ 48 w 103"/>
                  <a:gd name="T23" fmla="*/ 11 h 145"/>
                  <a:gd name="T24" fmla="*/ 48 w 103"/>
                  <a:gd name="T25" fmla="*/ 112 h 145"/>
                  <a:gd name="T26" fmla="*/ 48 w 103"/>
                  <a:gd name="T27" fmla="*/ 112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145">
                    <a:moveTo>
                      <a:pt x="48" y="112"/>
                    </a:moveTo>
                    <a:lnTo>
                      <a:pt x="103" y="112"/>
                    </a:lnTo>
                    <a:lnTo>
                      <a:pt x="103" y="145"/>
                    </a:lnTo>
                    <a:lnTo>
                      <a:pt x="48" y="145"/>
                    </a:lnTo>
                    <a:lnTo>
                      <a:pt x="23" y="145"/>
                    </a:lnTo>
                    <a:lnTo>
                      <a:pt x="0" y="145"/>
                    </a:lnTo>
                    <a:lnTo>
                      <a:pt x="0" y="11"/>
                    </a:lnTo>
                    <a:lnTo>
                      <a:pt x="6" y="11"/>
                    </a:lnTo>
                    <a:lnTo>
                      <a:pt x="6" y="0"/>
                    </a:lnTo>
                    <a:lnTo>
                      <a:pt x="34" y="0"/>
                    </a:lnTo>
                    <a:lnTo>
                      <a:pt x="34" y="11"/>
                    </a:lnTo>
                    <a:lnTo>
                      <a:pt x="48" y="11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57" name="íṡļïdê">
                <a:extLst>
                  <a:ext uri="{FF2B5EF4-FFF2-40B4-BE49-F238E27FC236}">
                    <a16:creationId xmlns:a16="http://schemas.microsoft.com/office/drawing/2014/main" id="{83CE5A90-E7A3-40C4-AF9A-B2CCE17A1389}"/>
                  </a:ext>
                </a:extLst>
              </p:cNvPr>
              <p:cNvSpPr/>
              <p:nvPr/>
            </p:nvSpPr>
            <p:spPr bwMode="auto">
              <a:xfrm>
                <a:off x="4908627" y="5634500"/>
                <a:ext cx="365788" cy="418888"/>
              </a:xfrm>
              <a:custGeom>
                <a:avLst/>
                <a:gdLst>
                  <a:gd name="T0" fmla="*/ 0 w 124"/>
                  <a:gd name="T1" fmla="*/ 0 h 142"/>
                  <a:gd name="T2" fmla="*/ 124 w 124"/>
                  <a:gd name="T3" fmla="*/ 0 h 142"/>
                  <a:gd name="T4" fmla="*/ 124 w 124"/>
                  <a:gd name="T5" fmla="*/ 142 h 142"/>
                  <a:gd name="T6" fmla="*/ 0 w 124"/>
                  <a:gd name="T7" fmla="*/ 142 h 142"/>
                  <a:gd name="T8" fmla="*/ 0 w 124"/>
                  <a:gd name="T9" fmla="*/ 0 h 142"/>
                  <a:gd name="T10" fmla="*/ 0 w 124"/>
                  <a:gd name="T11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4" h="142">
                    <a:moveTo>
                      <a:pt x="0" y="0"/>
                    </a:moveTo>
                    <a:lnTo>
                      <a:pt x="124" y="0"/>
                    </a:lnTo>
                    <a:lnTo>
                      <a:pt x="124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58" name="íṥḷîḋé">
                <a:extLst>
                  <a:ext uri="{FF2B5EF4-FFF2-40B4-BE49-F238E27FC236}">
                    <a16:creationId xmlns:a16="http://schemas.microsoft.com/office/drawing/2014/main" id="{5ECFB45B-C0BE-4D47-8927-C2688F9BC984}"/>
                  </a:ext>
                </a:extLst>
              </p:cNvPr>
              <p:cNvSpPr/>
              <p:nvPr/>
            </p:nvSpPr>
            <p:spPr bwMode="auto">
              <a:xfrm>
                <a:off x="5303915" y="5410309"/>
                <a:ext cx="873170" cy="643080"/>
              </a:xfrm>
              <a:custGeom>
                <a:avLst/>
                <a:gdLst>
                  <a:gd name="T0" fmla="*/ 84 w 296"/>
                  <a:gd name="T1" fmla="*/ 193 h 218"/>
                  <a:gd name="T2" fmla="*/ 94 w 296"/>
                  <a:gd name="T3" fmla="*/ 193 h 218"/>
                  <a:gd name="T4" fmla="*/ 94 w 296"/>
                  <a:gd name="T5" fmla="*/ 199 h 218"/>
                  <a:gd name="T6" fmla="*/ 113 w 296"/>
                  <a:gd name="T7" fmla="*/ 199 h 218"/>
                  <a:gd name="T8" fmla="*/ 113 w 296"/>
                  <a:gd name="T9" fmla="*/ 206 h 218"/>
                  <a:gd name="T10" fmla="*/ 160 w 296"/>
                  <a:gd name="T11" fmla="*/ 206 h 218"/>
                  <a:gd name="T12" fmla="*/ 160 w 296"/>
                  <a:gd name="T13" fmla="*/ 9 h 218"/>
                  <a:gd name="T14" fmla="*/ 178 w 296"/>
                  <a:gd name="T15" fmla="*/ 9 h 218"/>
                  <a:gd name="T16" fmla="*/ 178 w 296"/>
                  <a:gd name="T17" fmla="*/ 0 h 218"/>
                  <a:gd name="T18" fmla="*/ 218 w 296"/>
                  <a:gd name="T19" fmla="*/ 0 h 218"/>
                  <a:gd name="T20" fmla="*/ 218 w 296"/>
                  <a:gd name="T21" fmla="*/ 9 h 218"/>
                  <a:gd name="T22" fmla="*/ 231 w 296"/>
                  <a:gd name="T23" fmla="*/ 9 h 218"/>
                  <a:gd name="T24" fmla="*/ 231 w 296"/>
                  <a:gd name="T25" fmla="*/ 206 h 218"/>
                  <a:gd name="T26" fmla="*/ 245 w 296"/>
                  <a:gd name="T27" fmla="*/ 206 h 218"/>
                  <a:gd name="T28" fmla="*/ 245 w 296"/>
                  <a:gd name="T29" fmla="*/ 214 h 218"/>
                  <a:gd name="T30" fmla="*/ 296 w 296"/>
                  <a:gd name="T31" fmla="*/ 214 h 218"/>
                  <a:gd name="T32" fmla="*/ 296 w 296"/>
                  <a:gd name="T33" fmla="*/ 218 h 218"/>
                  <a:gd name="T34" fmla="*/ 245 w 296"/>
                  <a:gd name="T35" fmla="*/ 218 h 218"/>
                  <a:gd name="T36" fmla="*/ 231 w 296"/>
                  <a:gd name="T37" fmla="*/ 218 h 218"/>
                  <a:gd name="T38" fmla="*/ 160 w 296"/>
                  <a:gd name="T39" fmla="*/ 218 h 218"/>
                  <a:gd name="T40" fmla="*/ 130 w 296"/>
                  <a:gd name="T41" fmla="*/ 218 h 218"/>
                  <a:gd name="T42" fmla="*/ 84 w 296"/>
                  <a:gd name="T43" fmla="*/ 218 h 218"/>
                  <a:gd name="T44" fmla="*/ 80 w 296"/>
                  <a:gd name="T45" fmla="*/ 218 h 218"/>
                  <a:gd name="T46" fmla="*/ 50 w 296"/>
                  <a:gd name="T47" fmla="*/ 218 h 218"/>
                  <a:gd name="T48" fmla="*/ 0 w 296"/>
                  <a:gd name="T49" fmla="*/ 218 h 218"/>
                  <a:gd name="T50" fmla="*/ 0 w 296"/>
                  <a:gd name="T51" fmla="*/ 4 h 218"/>
                  <a:gd name="T52" fmla="*/ 50 w 296"/>
                  <a:gd name="T53" fmla="*/ 4 h 218"/>
                  <a:gd name="T54" fmla="*/ 50 w 296"/>
                  <a:gd name="T55" fmla="*/ 25 h 218"/>
                  <a:gd name="T56" fmla="*/ 84 w 296"/>
                  <a:gd name="T57" fmla="*/ 25 h 218"/>
                  <a:gd name="T58" fmla="*/ 84 w 296"/>
                  <a:gd name="T59" fmla="*/ 193 h 218"/>
                  <a:gd name="T60" fmla="*/ 84 w 296"/>
                  <a:gd name="T61" fmla="*/ 19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6" h="218">
                    <a:moveTo>
                      <a:pt x="84" y="193"/>
                    </a:moveTo>
                    <a:lnTo>
                      <a:pt x="94" y="193"/>
                    </a:lnTo>
                    <a:lnTo>
                      <a:pt x="94" y="199"/>
                    </a:lnTo>
                    <a:lnTo>
                      <a:pt x="113" y="199"/>
                    </a:lnTo>
                    <a:lnTo>
                      <a:pt x="113" y="206"/>
                    </a:lnTo>
                    <a:lnTo>
                      <a:pt x="160" y="206"/>
                    </a:lnTo>
                    <a:lnTo>
                      <a:pt x="160" y="9"/>
                    </a:lnTo>
                    <a:lnTo>
                      <a:pt x="178" y="9"/>
                    </a:lnTo>
                    <a:lnTo>
                      <a:pt x="178" y="0"/>
                    </a:lnTo>
                    <a:lnTo>
                      <a:pt x="218" y="0"/>
                    </a:lnTo>
                    <a:lnTo>
                      <a:pt x="218" y="9"/>
                    </a:lnTo>
                    <a:lnTo>
                      <a:pt x="231" y="9"/>
                    </a:lnTo>
                    <a:lnTo>
                      <a:pt x="231" y="206"/>
                    </a:lnTo>
                    <a:lnTo>
                      <a:pt x="245" y="206"/>
                    </a:lnTo>
                    <a:lnTo>
                      <a:pt x="245" y="214"/>
                    </a:lnTo>
                    <a:lnTo>
                      <a:pt x="296" y="214"/>
                    </a:lnTo>
                    <a:lnTo>
                      <a:pt x="296" y="218"/>
                    </a:lnTo>
                    <a:lnTo>
                      <a:pt x="245" y="218"/>
                    </a:lnTo>
                    <a:lnTo>
                      <a:pt x="231" y="218"/>
                    </a:lnTo>
                    <a:lnTo>
                      <a:pt x="160" y="218"/>
                    </a:lnTo>
                    <a:lnTo>
                      <a:pt x="130" y="218"/>
                    </a:lnTo>
                    <a:lnTo>
                      <a:pt x="84" y="218"/>
                    </a:lnTo>
                    <a:lnTo>
                      <a:pt x="80" y="218"/>
                    </a:lnTo>
                    <a:lnTo>
                      <a:pt x="50" y="218"/>
                    </a:lnTo>
                    <a:lnTo>
                      <a:pt x="0" y="218"/>
                    </a:lnTo>
                    <a:lnTo>
                      <a:pt x="0" y="4"/>
                    </a:lnTo>
                    <a:lnTo>
                      <a:pt x="50" y="4"/>
                    </a:lnTo>
                    <a:lnTo>
                      <a:pt x="50" y="25"/>
                    </a:lnTo>
                    <a:lnTo>
                      <a:pt x="84" y="25"/>
                    </a:lnTo>
                    <a:lnTo>
                      <a:pt x="84" y="193"/>
                    </a:lnTo>
                    <a:lnTo>
                      <a:pt x="84" y="19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59" name="ïṡḻiḓè">
                <a:extLst>
                  <a:ext uri="{FF2B5EF4-FFF2-40B4-BE49-F238E27FC236}">
                    <a16:creationId xmlns:a16="http://schemas.microsoft.com/office/drawing/2014/main" id="{5511EAEE-6F34-47C0-B55E-003AFDC42AF0}"/>
                  </a:ext>
                </a:extLst>
              </p:cNvPr>
              <p:cNvSpPr/>
              <p:nvPr/>
            </p:nvSpPr>
            <p:spPr bwMode="auto">
              <a:xfrm>
                <a:off x="35399" y="5882292"/>
                <a:ext cx="377587" cy="171096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60" name="îSḻíḍé">
                <a:extLst>
                  <a:ext uri="{FF2B5EF4-FFF2-40B4-BE49-F238E27FC236}">
                    <a16:creationId xmlns:a16="http://schemas.microsoft.com/office/drawing/2014/main" id="{BD52D1FA-6B93-4BBB-AA76-6639FB421281}"/>
                  </a:ext>
                </a:extLst>
              </p:cNvPr>
              <p:cNvSpPr/>
              <p:nvPr/>
            </p:nvSpPr>
            <p:spPr bwMode="auto">
              <a:xfrm>
                <a:off x="2796502" y="4887064"/>
                <a:ext cx="595877" cy="1166323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61" name="iṡļïḑe">
                <a:extLst>
                  <a:ext uri="{FF2B5EF4-FFF2-40B4-BE49-F238E27FC236}">
                    <a16:creationId xmlns:a16="http://schemas.microsoft.com/office/drawing/2014/main" id="{0B15C851-F157-4A57-BC95-4B7A43139144}"/>
                  </a:ext>
                </a:extLst>
              </p:cNvPr>
              <p:cNvSpPr/>
              <p:nvPr/>
            </p:nvSpPr>
            <p:spPr bwMode="auto">
              <a:xfrm>
                <a:off x="4708034" y="6006189"/>
                <a:ext cx="631276" cy="47199"/>
              </a:xfrm>
              <a:custGeom>
                <a:avLst/>
                <a:gdLst>
                  <a:gd name="T0" fmla="*/ 0 w 212"/>
                  <a:gd name="T1" fmla="*/ 0 h 15"/>
                  <a:gd name="T2" fmla="*/ 212 w 212"/>
                  <a:gd name="T3" fmla="*/ 0 h 15"/>
                  <a:gd name="T4" fmla="*/ 212 w 212"/>
                  <a:gd name="T5" fmla="*/ 15 h 15"/>
                  <a:gd name="T6" fmla="*/ 0 w 212"/>
                  <a:gd name="T7" fmla="*/ 15 h 15"/>
                  <a:gd name="T8" fmla="*/ 0 w 212"/>
                  <a:gd name="T9" fmla="*/ 0 h 15"/>
                  <a:gd name="T10" fmla="*/ 0 w 212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2" h="15">
                    <a:moveTo>
                      <a:pt x="0" y="0"/>
                    </a:moveTo>
                    <a:lnTo>
                      <a:pt x="212" y="0"/>
                    </a:lnTo>
                    <a:lnTo>
                      <a:pt x="212" y="1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/>
              </a:p>
            </p:txBody>
          </p:sp>
          <p:sp>
            <p:nvSpPr>
              <p:cNvPr id="62" name="iŝļidè">
                <a:extLst>
                  <a:ext uri="{FF2B5EF4-FFF2-40B4-BE49-F238E27FC236}">
                    <a16:creationId xmlns:a16="http://schemas.microsoft.com/office/drawing/2014/main" id="{24B91648-F27B-4881-A656-9EE49B9927C7}"/>
                  </a:ext>
                </a:extLst>
              </p:cNvPr>
              <p:cNvSpPr/>
              <p:nvPr/>
            </p:nvSpPr>
            <p:spPr bwMode="auto">
              <a:xfrm>
                <a:off x="0" y="5982589"/>
                <a:ext cx="9144000" cy="316525"/>
              </a:xfrm>
              <a:custGeom>
                <a:avLst/>
                <a:gdLst>
                  <a:gd name="T0" fmla="*/ 132 w 2098"/>
                  <a:gd name="T1" fmla="*/ 21 h 101"/>
                  <a:gd name="T2" fmla="*/ 138 w 2098"/>
                  <a:gd name="T3" fmla="*/ 0 h 101"/>
                  <a:gd name="T4" fmla="*/ 281 w 2098"/>
                  <a:gd name="T5" fmla="*/ 21 h 101"/>
                  <a:gd name="T6" fmla="*/ 289 w 2098"/>
                  <a:gd name="T7" fmla="*/ 0 h 101"/>
                  <a:gd name="T8" fmla="*/ 675 w 2098"/>
                  <a:gd name="T9" fmla="*/ 21 h 101"/>
                  <a:gd name="T10" fmla="*/ 685 w 2098"/>
                  <a:gd name="T11" fmla="*/ 0 h 101"/>
                  <a:gd name="T12" fmla="*/ 706 w 2098"/>
                  <a:gd name="T13" fmla="*/ 21 h 101"/>
                  <a:gd name="T14" fmla="*/ 710 w 2098"/>
                  <a:gd name="T15" fmla="*/ 0 h 101"/>
                  <a:gd name="T16" fmla="*/ 819 w 2098"/>
                  <a:gd name="T17" fmla="*/ 21 h 101"/>
                  <a:gd name="T18" fmla="*/ 824 w 2098"/>
                  <a:gd name="T19" fmla="*/ 0 h 101"/>
                  <a:gd name="T20" fmla="*/ 889 w 2098"/>
                  <a:gd name="T21" fmla="*/ 21 h 101"/>
                  <a:gd name="T22" fmla="*/ 895 w 2098"/>
                  <a:gd name="T23" fmla="*/ 0 h 101"/>
                  <a:gd name="T24" fmla="*/ 979 w 2098"/>
                  <a:gd name="T25" fmla="*/ 21 h 101"/>
                  <a:gd name="T26" fmla="*/ 987 w 2098"/>
                  <a:gd name="T27" fmla="*/ 0 h 101"/>
                  <a:gd name="T28" fmla="*/ 1222 w 2098"/>
                  <a:gd name="T29" fmla="*/ 21 h 101"/>
                  <a:gd name="T30" fmla="*/ 1228 w 2098"/>
                  <a:gd name="T31" fmla="*/ 0 h 101"/>
                  <a:gd name="T32" fmla="*/ 1257 w 2098"/>
                  <a:gd name="T33" fmla="*/ 21 h 101"/>
                  <a:gd name="T34" fmla="*/ 1260 w 2098"/>
                  <a:gd name="T35" fmla="*/ 4 h 101"/>
                  <a:gd name="T36" fmla="*/ 1352 w 2098"/>
                  <a:gd name="T37" fmla="*/ 0 h 101"/>
                  <a:gd name="T38" fmla="*/ 1362 w 2098"/>
                  <a:gd name="T39" fmla="*/ 4 h 101"/>
                  <a:gd name="T40" fmla="*/ 1446 w 2098"/>
                  <a:gd name="T41" fmla="*/ 0 h 101"/>
                  <a:gd name="T42" fmla="*/ 1446 w 2098"/>
                  <a:gd name="T43" fmla="*/ 11 h 101"/>
                  <a:gd name="T44" fmla="*/ 1477 w 2098"/>
                  <a:gd name="T45" fmla="*/ 21 h 101"/>
                  <a:gd name="T46" fmla="*/ 1478 w 2098"/>
                  <a:gd name="T47" fmla="*/ 0 h 101"/>
                  <a:gd name="T48" fmla="*/ 1582 w 2098"/>
                  <a:gd name="T49" fmla="*/ 21 h 101"/>
                  <a:gd name="T50" fmla="*/ 1610 w 2098"/>
                  <a:gd name="T51" fmla="*/ 0 h 101"/>
                  <a:gd name="T52" fmla="*/ 1783 w 2098"/>
                  <a:gd name="T53" fmla="*/ 21 h 101"/>
                  <a:gd name="T54" fmla="*/ 1792 w 2098"/>
                  <a:gd name="T55" fmla="*/ 0 h 101"/>
                  <a:gd name="T56" fmla="*/ 1884 w 2098"/>
                  <a:gd name="T57" fmla="*/ 4 h 101"/>
                  <a:gd name="T58" fmla="*/ 1903 w 2098"/>
                  <a:gd name="T59" fmla="*/ 11 h 101"/>
                  <a:gd name="T60" fmla="*/ 1928 w 2098"/>
                  <a:gd name="T61" fmla="*/ 0 h 101"/>
                  <a:gd name="T62" fmla="*/ 2029 w 2098"/>
                  <a:gd name="T63" fmla="*/ 11 h 101"/>
                  <a:gd name="T64" fmla="*/ 2037 w 2098"/>
                  <a:gd name="T65" fmla="*/ 19 h 101"/>
                  <a:gd name="T66" fmla="*/ 2046 w 2098"/>
                  <a:gd name="T67" fmla="*/ 4 h 101"/>
                  <a:gd name="T68" fmla="*/ 2081 w 2098"/>
                  <a:gd name="T69" fmla="*/ 19 h 101"/>
                  <a:gd name="T70" fmla="*/ 2087 w 2098"/>
                  <a:gd name="T71" fmla="*/ 21 h 101"/>
                  <a:gd name="T72" fmla="*/ 2098 w 2098"/>
                  <a:gd name="T73" fmla="*/ 57 h 101"/>
                  <a:gd name="T74" fmla="*/ 2098 w 2098"/>
                  <a:gd name="T75" fmla="*/ 101 h 101"/>
                  <a:gd name="T76" fmla="*/ 0 w 2098"/>
                  <a:gd name="T77" fmla="*/ 101 h 101"/>
                  <a:gd name="T78" fmla="*/ 0 w 2098"/>
                  <a:gd name="T79" fmla="*/ 57 h 101"/>
                  <a:gd name="T80" fmla="*/ 4 w 2098"/>
                  <a:gd name="T81" fmla="*/ 21 h 101"/>
                  <a:gd name="T82" fmla="*/ 132 w 2098"/>
                  <a:gd name="T8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98" h="101">
                    <a:moveTo>
                      <a:pt x="132" y="0"/>
                    </a:moveTo>
                    <a:lnTo>
                      <a:pt x="132" y="21"/>
                    </a:lnTo>
                    <a:lnTo>
                      <a:pt x="138" y="21"/>
                    </a:lnTo>
                    <a:lnTo>
                      <a:pt x="138" y="0"/>
                    </a:lnTo>
                    <a:lnTo>
                      <a:pt x="281" y="0"/>
                    </a:lnTo>
                    <a:lnTo>
                      <a:pt x="281" y="21"/>
                    </a:lnTo>
                    <a:lnTo>
                      <a:pt x="289" y="21"/>
                    </a:lnTo>
                    <a:lnTo>
                      <a:pt x="289" y="0"/>
                    </a:lnTo>
                    <a:lnTo>
                      <a:pt x="675" y="0"/>
                    </a:lnTo>
                    <a:lnTo>
                      <a:pt x="675" y="21"/>
                    </a:lnTo>
                    <a:lnTo>
                      <a:pt x="685" y="21"/>
                    </a:lnTo>
                    <a:lnTo>
                      <a:pt x="685" y="0"/>
                    </a:lnTo>
                    <a:lnTo>
                      <a:pt x="706" y="0"/>
                    </a:lnTo>
                    <a:lnTo>
                      <a:pt x="706" y="21"/>
                    </a:lnTo>
                    <a:lnTo>
                      <a:pt x="710" y="21"/>
                    </a:lnTo>
                    <a:lnTo>
                      <a:pt x="710" y="0"/>
                    </a:lnTo>
                    <a:lnTo>
                      <a:pt x="819" y="0"/>
                    </a:lnTo>
                    <a:lnTo>
                      <a:pt x="819" y="21"/>
                    </a:lnTo>
                    <a:lnTo>
                      <a:pt x="824" y="21"/>
                    </a:lnTo>
                    <a:lnTo>
                      <a:pt x="824" y="0"/>
                    </a:lnTo>
                    <a:lnTo>
                      <a:pt x="889" y="0"/>
                    </a:lnTo>
                    <a:lnTo>
                      <a:pt x="889" y="21"/>
                    </a:lnTo>
                    <a:lnTo>
                      <a:pt x="895" y="21"/>
                    </a:lnTo>
                    <a:lnTo>
                      <a:pt x="895" y="0"/>
                    </a:lnTo>
                    <a:lnTo>
                      <a:pt x="979" y="0"/>
                    </a:lnTo>
                    <a:lnTo>
                      <a:pt x="979" y="21"/>
                    </a:lnTo>
                    <a:lnTo>
                      <a:pt x="987" y="21"/>
                    </a:lnTo>
                    <a:lnTo>
                      <a:pt x="987" y="0"/>
                    </a:lnTo>
                    <a:lnTo>
                      <a:pt x="1222" y="0"/>
                    </a:lnTo>
                    <a:lnTo>
                      <a:pt x="1222" y="21"/>
                    </a:lnTo>
                    <a:lnTo>
                      <a:pt x="1228" y="21"/>
                    </a:lnTo>
                    <a:lnTo>
                      <a:pt x="1228" y="0"/>
                    </a:lnTo>
                    <a:lnTo>
                      <a:pt x="1257" y="0"/>
                    </a:lnTo>
                    <a:lnTo>
                      <a:pt x="1257" y="21"/>
                    </a:lnTo>
                    <a:lnTo>
                      <a:pt x="1260" y="21"/>
                    </a:lnTo>
                    <a:lnTo>
                      <a:pt x="1260" y="4"/>
                    </a:lnTo>
                    <a:lnTo>
                      <a:pt x="1260" y="0"/>
                    </a:lnTo>
                    <a:lnTo>
                      <a:pt x="1352" y="0"/>
                    </a:lnTo>
                    <a:lnTo>
                      <a:pt x="1352" y="4"/>
                    </a:lnTo>
                    <a:lnTo>
                      <a:pt x="1362" y="4"/>
                    </a:lnTo>
                    <a:lnTo>
                      <a:pt x="1362" y="0"/>
                    </a:lnTo>
                    <a:lnTo>
                      <a:pt x="1446" y="0"/>
                    </a:lnTo>
                    <a:lnTo>
                      <a:pt x="1446" y="4"/>
                    </a:lnTo>
                    <a:lnTo>
                      <a:pt x="1446" y="11"/>
                    </a:lnTo>
                    <a:lnTo>
                      <a:pt x="1477" y="11"/>
                    </a:lnTo>
                    <a:lnTo>
                      <a:pt x="1477" y="21"/>
                    </a:lnTo>
                    <a:lnTo>
                      <a:pt x="1478" y="21"/>
                    </a:lnTo>
                    <a:lnTo>
                      <a:pt x="1478" y="0"/>
                    </a:lnTo>
                    <a:lnTo>
                      <a:pt x="1582" y="0"/>
                    </a:lnTo>
                    <a:lnTo>
                      <a:pt x="1582" y="21"/>
                    </a:lnTo>
                    <a:lnTo>
                      <a:pt x="1610" y="21"/>
                    </a:lnTo>
                    <a:lnTo>
                      <a:pt x="1610" y="0"/>
                    </a:lnTo>
                    <a:lnTo>
                      <a:pt x="1783" y="0"/>
                    </a:lnTo>
                    <a:lnTo>
                      <a:pt x="1783" y="21"/>
                    </a:lnTo>
                    <a:lnTo>
                      <a:pt x="1792" y="21"/>
                    </a:lnTo>
                    <a:lnTo>
                      <a:pt x="1792" y="0"/>
                    </a:lnTo>
                    <a:lnTo>
                      <a:pt x="1884" y="0"/>
                    </a:lnTo>
                    <a:lnTo>
                      <a:pt x="1884" y="4"/>
                    </a:lnTo>
                    <a:lnTo>
                      <a:pt x="1903" y="4"/>
                    </a:lnTo>
                    <a:lnTo>
                      <a:pt x="1903" y="11"/>
                    </a:lnTo>
                    <a:lnTo>
                      <a:pt x="1928" y="11"/>
                    </a:lnTo>
                    <a:lnTo>
                      <a:pt x="1928" y="0"/>
                    </a:lnTo>
                    <a:lnTo>
                      <a:pt x="2029" y="0"/>
                    </a:lnTo>
                    <a:lnTo>
                      <a:pt x="2029" y="11"/>
                    </a:lnTo>
                    <a:lnTo>
                      <a:pt x="2037" y="11"/>
                    </a:lnTo>
                    <a:lnTo>
                      <a:pt x="2037" y="19"/>
                    </a:lnTo>
                    <a:lnTo>
                      <a:pt x="2046" y="19"/>
                    </a:lnTo>
                    <a:lnTo>
                      <a:pt x="2046" y="4"/>
                    </a:lnTo>
                    <a:lnTo>
                      <a:pt x="2081" y="4"/>
                    </a:lnTo>
                    <a:lnTo>
                      <a:pt x="2081" y="19"/>
                    </a:lnTo>
                    <a:lnTo>
                      <a:pt x="2087" y="19"/>
                    </a:lnTo>
                    <a:lnTo>
                      <a:pt x="2087" y="21"/>
                    </a:lnTo>
                    <a:lnTo>
                      <a:pt x="2098" y="21"/>
                    </a:lnTo>
                    <a:lnTo>
                      <a:pt x="2098" y="57"/>
                    </a:lnTo>
                    <a:lnTo>
                      <a:pt x="2098" y="57"/>
                    </a:lnTo>
                    <a:lnTo>
                      <a:pt x="2098" y="101"/>
                    </a:lnTo>
                    <a:lnTo>
                      <a:pt x="2098" y="101"/>
                    </a:lnTo>
                    <a:lnTo>
                      <a:pt x="0" y="101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0"/>
                    </a:lnTo>
                    <a:lnTo>
                      <a:pt x="132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63" name="ï$1ídê">
                <a:extLst>
                  <a:ext uri="{FF2B5EF4-FFF2-40B4-BE49-F238E27FC236}">
                    <a16:creationId xmlns:a16="http://schemas.microsoft.com/office/drawing/2014/main" id="{7D1C52A3-3E7F-4F08-A48E-09ECEE8091AA}"/>
                  </a:ext>
                </a:extLst>
              </p:cNvPr>
              <p:cNvSpPr/>
              <p:nvPr/>
            </p:nvSpPr>
            <p:spPr bwMode="auto">
              <a:xfrm>
                <a:off x="6503219" y="4891127"/>
                <a:ext cx="306789" cy="1162261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64" name="îṥḷïdê">
                <a:extLst>
                  <a:ext uri="{FF2B5EF4-FFF2-40B4-BE49-F238E27FC236}">
                    <a16:creationId xmlns:a16="http://schemas.microsoft.com/office/drawing/2014/main" id="{92559AA5-08DB-44A7-8194-5EFE8D5DE668}"/>
                  </a:ext>
                </a:extLst>
              </p:cNvPr>
              <p:cNvSpPr/>
              <p:nvPr/>
            </p:nvSpPr>
            <p:spPr bwMode="auto">
              <a:xfrm>
                <a:off x="6981101" y="5251015"/>
                <a:ext cx="1103260" cy="802372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65" name="îS1iďé">
                <a:extLst>
                  <a:ext uri="{FF2B5EF4-FFF2-40B4-BE49-F238E27FC236}">
                    <a16:creationId xmlns:a16="http://schemas.microsoft.com/office/drawing/2014/main" id="{19020C11-2C81-4A0A-9FED-E40B0F84B121}"/>
                  </a:ext>
                </a:extLst>
              </p:cNvPr>
              <p:cNvSpPr/>
              <p:nvPr/>
            </p:nvSpPr>
            <p:spPr bwMode="auto">
              <a:xfrm>
                <a:off x="8113861" y="5852794"/>
                <a:ext cx="106196" cy="200593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/>
              <a:p>
                <a:endParaRPr lang="en-US"/>
              </a:p>
            </p:txBody>
          </p:sp>
          <p:sp>
            <p:nvSpPr>
              <p:cNvPr id="66" name="ísḻïḑé">
                <a:extLst>
                  <a:ext uri="{FF2B5EF4-FFF2-40B4-BE49-F238E27FC236}">
                    <a16:creationId xmlns:a16="http://schemas.microsoft.com/office/drawing/2014/main" id="{EA7784E9-ABC3-4756-B167-108F78A2870A}"/>
                  </a:ext>
                </a:extLst>
              </p:cNvPr>
              <p:cNvSpPr/>
              <p:nvPr/>
            </p:nvSpPr>
            <p:spPr bwMode="auto">
              <a:xfrm>
                <a:off x="8190561" y="5905891"/>
                <a:ext cx="318589" cy="147496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/>
              </a:p>
            </p:txBody>
          </p:sp>
          <p:sp>
            <p:nvSpPr>
              <p:cNvPr id="67" name="iṣḻîḍé">
                <a:extLst>
                  <a:ext uri="{FF2B5EF4-FFF2-40B4-BE49-F238E27FC236}">
                    <a16:creationId xmlns:a16="http://schemas.microsoft.com/office/drawing/2014/main" id="{FD4DC11B-4B01-4004-A4AA-47368C6483AF}"/>
                  </a:ext>
                </a:extLst>
              </p:cNvPr>
              <p:cNvSpPr/>
              <p:nvPr/>
            </p:nvSpPr>
            <p:spPr bwMode="auto">
              <a:xfrm>
                <a:off x="8420651" y="5522406"/>
                <a:ext cx="277288" cy="530981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68" name="išlîḋè">
                <a:extLst>
                  <a:ext uri="{FF2B5EF4-FFF2-40B4-BE49-F238E27FC236}">
                    <a16:creationId xmlns:a16="http://schemas.microsoft.com/office/drawing/2014/main" id="{DFD680BB-D3CB-46CD-AC82-0EF1E2DFB9B9}"/>
                  </a:ext>
                </a:extLst>
              </p:cNvPr>
              <p:cNvSpPr/>
              <p:nvPr/>
            </p:nvSpPr>
            <p:spPr bwMode="auto">
              <a:xfrm>
                <a:off x="8733341" y="5882292"/>
                <a:ext cx="117995" cy="171096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69" name="i$ḻiḑê">
                <a:extLst>
                  <a:ext uri="{FF2B5EF4-FFF2-40B4-BE49-F238E27FC236}">
                    <a16:creationId xmlns:a16="http://schemas.microsoft.com/office/drawing/2014/main" id="{F3902DE8-F754-4C6A-9A79-2C140CCFFA52}"/>
                  </a:ext>
                </a:extLst>
              </p:cNvPr>
              <p:cNvSpPr/>
              <p:nvPr/>
            </p:nvSpPr>
            <p:spPr bwMode="auto">
              <a:xfrm>
                <a:off x="8869035" y="5823294"/>
                <a:ext cx="112094" cy="230094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70" name="ï$ľîdé">
                <a:extLst>
                  <a:ext uri="{FF2B5EF4-FFF2-40B4-BE49-F238E27FC236}">
                    <a16:creationId xmlns:a16="http://schemas.microsoft.com/office/drawing/2014/main" id="{588F21D5-ADBE-4164-9349-CFA54029E5B8}"/>
                  </a:ext>
                </a:extLst>
              </p:cNvPr>
              <p:cNvSpPr/>
              <p:nvPr/>
            </p:nvSpPr>
            <p:spPr bwMode="auto">
              <a:xfrm>
                <a:off x="6107932" y="5882292"/>
                <a:ext cx="377587" cy="171096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71" name="išḷïḓê">
                <a:extLst>
                  <a:ext uri="{FF2B5EF4-FFF2-40B4-BE49-F238E27FC236}">
                    <a16:creationId xmlns:a16="http://schemas.microsoft.com/office/drawing/2014/main" id="{7D9A3931-2CDB-431C-AC0E-69CCE88C864D}"/>
                  </a:ext>
                </a:extLst>
              </p:cNvPr>
              <p:cNvSpPr/>
              <p:nvPr/>
            </p:nvSpPr>
            <p:spPr bwMode="auto">
              <a:xfrm>
                <a:off x="8454305" y="4466341"/>
                <a:ext cx="595877" cy="1587046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72" name="íşļídè">
                <a:extLst>
                  <a:ext uri="{FF2B5EF4-FFF2-40B4-BE49-F238E27FC236}">
                    <a16:creationId xmlns:a16="http://schemas.microsoft.com/office/drawing/2014/main" id="{D65C478C-F05F-4862-834A-061BC27FD0CE}"/>
                  </a:ext>
                </a:extLst>
              </p:cNvPr>
              <p:cNvSpPr/>
              <p:nvPr/>
            </p:nvSpPr>
            <p:spPr bwMode="auto">
              <a:xfrm>
                <a:off x="3813013" y="5050424"/>
                <a:ext cx="5330987" cy="1020666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</p:grpSp>
        <p:sp>
          <p:nvSpPr>
            <p:cNvPr id="7" name="ïS1iḓe">
              <a:extLst>
                <a:ext uri="{FF2B5EF4-FFF2-40B4-BE49-F238E27FC236}">
                  <a16:creationId xmlns:a16="http://schemas.microsoft.com/office/drawing/2014/main" id="{BF20F748-132E-4C96-BBEB-A70517E9351A}"/>
                </a:ext>
              </a:extLst>
            </p:cNvPr>
            <p:cNvSpPr/>
            <p:nvPr/>
          </p:nvSpPr>
          <p:spPr>
            <a:xfrm>
              <a:off x="4575143" y="1130300"/>
              <a:ext cx="3041714" cy="766916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>
              <a:reflection blurRad="6350" stA="24000" endPos="38500" dist="508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Autofit/>
            </a:bodyPr>
            <a:lstStyle/>
            <a:p>
              <a:pPr algn="ctr"/>
              <a:r>
                <a:rPr lang="en-US" altLang="zh-CN" sz="3200" spc="100" dirty="0"/>
                <a:t>Contents</a:t>
              </a:r>
              <a:endParaRPr lang="zh-CN" altLang="en-US" sz="3200" spc="100" dirty="0"/>
            </a:p>
          </p:txBody>
        </p:sp>
        <p:sp>
          <p:nvSpPr>
            <p:cNvPr id="8" name="î$ḷîďé">
              <a:extLst>
                <a:ext uri="{FF2B5EF4-FFF2-40B4-BE49-F238E27FC236}">
                  <a16:creationId xmlns:a16="http://schemas.microsoft.com/office/drawing/2014/main" id="{9695CD39-70C1-45DC-B79F-6C94062937D5}"/>
                </a:ext>
              </a:extLst>
            </p:cNvPr>
            <p:cNvSpPr/>
            <p:nvPr/>
          </p:nvSpPr>
          <p:spPr>
            <a:xfrm>
              <a:off x="673100" y="3165318"/>
              <a:ext cx="10845800" cy="3168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92500" lnSpcReduction="20000"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42" name="îśļiďè">
              <a:extLst>
                <a:ext uri="{FF2B5EF4-FFF2-40B4-BE49-F238E27FC236}">
                  <a16:creationId xmlns:a16="http://schemas.microsoft.com/office/drawing/2014/main" id="{76763015-7E4A-41CA-B6FC-2756C92E2475}"/>
                </a:ext>
              </a:extLst>
            </p:cNvPr>
            <p:cNvSpPr/>
            <p:nvPr/>
          </p:nvSpPr>
          <p:spPr bwMode="auto">
            <a:xfrm>
              <a:off x="673100" y="3873505"/>
              <a:ext cx="1949341" cy="39211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/>
                <a:t>需求分析</a:t>
              </a:r>
            </a:p>
          </p:txBody>
        </p:sp>
        <p:sp>
          <p:nvSpPr>
            <p:cNvPr id="10" name="ïślídè">
              <a:extLst>
                <a:ext uri="{FF2B5EF4-FFF2-40B4-BE49-F238E27FC236}">
                  <a16:creationId xmlns:a16="http://schemas.microsoft.com/office/drawing/2014/main" id="{2F0F803C-C420-46CD-A88B-57D43DE76715}"/>
                </a:ext>
              </a:extLst>
            </p:cNvPr>
            <p:cNvSpPr/>
            <p:nvPr/>
          </p:nvSpPr>
          <p:spPr bwMode="auto">
            <a:xfrm>
              <a:off x="932229" y="2327817"/>
              <a:ext cx="1431084" cy="39211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600" i="1" u="sng" kern="0"/>
                <a:t>01</a:t>
              </a:r>
              <a:endParaRPr lang="zh-CN" altLang="en-US" sz="1600" i="1" u="sng" kern="0" dirty="0"/>
            </a:p>
          </p:txBody>
        </p:sp>
        <p:grpSp>
          <p:nvGrpSpPr>
            <p:cNvPr id="11" name="iṥļïde">
              <a:extLst>
                <a:ext uri="{FF2B5EF4-FFF2-40B4-BE49-F238E27FC236}">
                  <a16:creationId xmlns:a16="http://schemas.microsoft.com/office/drawing/2014/main" id="{111113D9-38FC-47D1-9056-0237A03CA2D9}"/>
                </a:ext>
              </a:extLst>
            </p:cNvPr>
            <p:cNvGrpSpPr/>
            <p:nvPr/>
          </p:nvGrpSpPr>
          <p:grpSpPr>
            <a:xfrm>
              <a:off x="1245178" y="2871502"/>
              <a:ext cx="805185" cy="904455"/>
              <a:chOff x="1079318" y="2871502"/>
              <a:chExt cx="805185" cy="904455"/>
            </a:xfrm>
          </p:grpSpPr>
          <p:sp>
            <p:nvSpPr>
              <p:cNvPr id="40" name="ïš1îdé">
                <a:extLst>
                  <a:ext uri="{FF2B5EF4-FFF2-40B4-BE49-F238E27FC236}">
                    <a16:creationId xmlns:a16="http://schemas.microsoft.com/office/drawing/2014/main" id="{A91857BE-0F6B-4D6D-BA2B-A4BC36F6D921}"/>
                  </a:ext>
                </a:extLst>
              </p:cNvPr>
              <p:cNvSpPr/>
              <p:nvPr/>
            </p:nvSpPr>
            <p:spPr bwMode="auto">
              <a:xfrm>
                <a:off x="1079318" y="2871502"/>
                <a:ext cx="805185" cy="904455"/>
              </a:xfrm>
              <a:custGeom>
                <a:avLst/>
                <a:gdLst>
                  <a:gd name="T0" fmla="*/ 1488 w 1488"/>
                  <a:gd name="T1" fmla="*/ 498 h 1680"/>
                  <a:gd name="T2" fmla="*/ 1413 w 1488"/>
                  <a:gd name="T3" fmla="*/ 366 h 1680"/>
                  <a:gd name="T4" fmla="*/ 820 w 1488"/>
                  <a:gd name="T5" fmla="*/ 24 h 1680"/>
                  <a:gd name="T6" fmla="*/ 669 w 1488"/>
                  <a:gd name="T7" fmla="*/ 24 h 1680"/>
                  <a:gd name="T8" fmla="*/ 76 w 1488"/>
                  <a:gd name="T9" fmla="*/ 366 h 1680"/>
                  <a:gd name="T10" fmla="*/ 0 w 1488"/>
                  <a:gd name="T11" fmla="*/ 498 h 1680"/>
                  <a:gd name="T12" fmla="*/ 0 w 1488"/>
                  <a:gd name="T13" fmla="*/ 1182 h 1680"/>
                  <a:gd name="T14" fmla="*/ 76 w 1488"/>
                  <a:gd name="T15" fmla="*/ 1314 h 1680"/>
                  <a:gd name="T16" fmla="*/ 669 w 1488"/>
                  <a:gd name="T17" fmla="*/ 1656 h 1680"/>
                  <a:gd name="T18" fmla="*/ 820 w 1488"/>
                  <a:gd name="T19" fmla="*/ 1656 h 1680"/>
                  <a:gd name="T20" fmla="*/ 1413 w 1488"/>
                  <a:gd name="T21" fmla="*/ 1314 h 1680"/>
                  <a:gd name="T22" fmla="*/ 1488 w 1488"/>
                  <a:gd name="T23" fmla="*/ 1182 h 1680"/>
                  <a:gd name="T24" fmla="*/ 1488 w 1488"/>
                  <a:gd name="T25" fmla="*/ 498 h 1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8" h="1680">
                    <a:moveTo>
                      <a:pt x="1488" y="498"/>
                    </a:moveTo>
                    <a:cubicBezTo>
                      <a:pt x="1488" y="450"/>
                      <a:pt x="1454" y="390"/>
                      <a:pt x="1413" y="366"/>
                    </a:cubicBezTo>
                    <a:cubicBezTo>
                      <a:pt x="820" y="24"/>
                      <a:pt x="820" y="24"/>
                      <a:pt x="820" y="24"/>
                    </a:cubicBezTo>
                    <a:cubicBezTo>
                      <a:pt x="779" y="0"/>
                      <a:pt x="710" y="0"/>
                      <a:pt x="669" y="24"/>
                    </a:cubicBezTo>
                    <a:cubicBezTo>
                      <a:pt x="76" y="366"/>
                      <a:pt x="76" y="366"/>
                      <a:pt x="76" y="366"/>
                    </a:cubicBezTo>
                    <a:cubicBezTo>
                      <a:pt x="35" y="390"/>
                      <a:pt x="0" y="450"/>
                      <a:pt x="0" y="498"/>
                    </a:cubicBezTo>
                    <a:cubicBezTo>
                      <a:pt x="0" y="1182"/>
                      <a:pt x="0" y="1182"/>
                      <a:pt x="0" y="1182"/>
                    </a:cubicBezTo>
                    <a:cubicBezTo>
                      <a:pt x="0" y="1231"/>
                      <a:pt x="35" y="1289"/>
                      <a:pt x="76" y="1314"/>
                    </a:cubicBezTo>
                    <a:cubicBezTo>
                      <a:pt x="669" y="1656"/>
                      <a:pt x="669" y="1656"/>
                      <a:pt x="669" y="1656"/>
                    </a:cubicBezTo>
                    <a:cubicBezTo>
                      <a:pt x="710" y="1680"/>
                      <a:pt x="779" y="1680"/>
                      <a:pt x="820" y="1656"/>
                    </a:cubicBezTo>
                    <a:cubicBezTo>
                      <a:pt x="1413" y="1314"/>
                      <a:pt x="1413" y="1314"/>
                      <a:pt x="1413" y="1314"/>
                    </a:cubicBezTo>
                    <a:cubicBezTo>
                      <a:pt x="1454" y="1289"/>
                      <a:pt x="1488" y="1231"/>
                      <a:pt x="1488" y="1182"/>
                    </a:cubicBezTo>
                    <a:lnTo>
                      <a:pt x="1488" y="498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41" name="ïṧľidê">
                <a:extLst>
                  <a:ext uri="{FF2B5EF4-FFF2-40B4-BE49-F238E27FC236}">
                    <a16:creationId xmlns:a16="http://schemas.microsoft.com/office/drawing/2014/main" id="{8A2B55E8-7D24-4F6B-BCBC-4328712B8EFA}"/>
                  </a:ext>
                </a:extLst>
              </p:cNvPr>
              <p:cNvSpPr/>
              <p:nvPr/>
            </p:nvSpPr>
            <p:spPr>
              <a:xfrm>
                <a:off x="1320071" y="3212872"/>
                <a:ext cx="323678" cy="375392"/>
              </a:xfrm>
              <a:custGeom>
                <a:avLst/>
                <a:gdLst>
                  <a:gd name="connsiteX0" fmla="*/ 319112 w 489849"/>
                  <a:gd name="connsiteY0" fmla="*/ 229316 h 568112"/>
                  <a:gd name="connsiteX1" fmla="*/ 466776 w 489849"/>
                  <a:gd name="connsiteY1" fmla="*/ 229316 h 568112"/>
                  <a:gd name="connsiteX2" fmla="*/ 489849 w 489849"/>
                  <a:gd name="connsiteY2" fmla="*/ 252332 h 568112"/>
                  <a:gd name="connsiteX3" fmla="*/ 488926 w 489849"/>
                  <a:gd name="connsiteY3" fmla="*/ 394111 h 568112"/>
                  <a:gd name="connsiteX4" fmla="*/ 465854 w 489849"/>
                  <a:gd name="connsiteY4" fmla="*/ 417127 h 568112"/>
                  <a:gd name="connsiteX5" fmla="*/ 448318 w 489849"/>
                  <a:gd name="connsiteY5" fmla="*/ 407920 h 568112"/>
                  <a:gd name="connsiteX6" fmla="*/ 440012 w 489849"/>
                  <a:gd name="connsiteY6" fmla="*/ 546017 h 568112"/>
                  <a:gd name="connsiteX7" fmla="*/ 416017 w 489849"/>
                  <a:gd name="connsiteY7" fmla="*/ 568112 h 568112"/>
                  <a:gd name="connsiteX8" fmla="*/ 369872 w 489849"/>
                  <a:gd name="connsiteY8" fmla="*/ 568112 h 568112"/>
                  <a:gd name="connsiteX9" fmla="*/ 345877 w 489849"/>
                  <a:gd name="connsiteY9" fmla="*/ 546017 h 568112"/>
                  <a:gd name="connsiteX10" fmla="*/ 336648 w 489849"/>
                  <a:gd name="connsiteY10" fmla="*/ 407920 h 568112"/>
                  <a:gd name="connsiteX11" fmla="*/ 319112 w 489849"/>
                  <a:gd name="connsiteY11" fmla="*/ 417127 h 568112"/>
                  <a:gd name="connsiteX12" fmla="*/ 296963 w 489849"/>
                  <a:gd name="connsiteY12" fmla="*/ 394111 h 568112"/>
                  <a:gd name="connsiteX13" fmla="*/ 296040 w 489849"/>
                  <a:gd name="connsiteY13" fmla="*/ 252332 h 568112"/>
                  <a:gd name="connsiteX14" fmla="*/ 319112 w 489849"/>
                  <a:gd name="connsiteY14" fmla="*/ 229316 h 568112"/>
                  <a:gd name="connsiteX15" fmla="*/ 218220 w 489849"/>
                  <a:gd name="connsiteY15" fmla="*/ 220143 h 568112"/>
                  <a:gd name="connsiteX16" fmla="*/ 245442 w 489849"/>
                  <a:gd name="connsiteY16" fmla="*/ 247291 h 568112"/>
                  <a:gd name="connsiteX17" fmla="*/ 218220 w 489849"/>
                  <a:gd name="connsiteY17" fmla="*/ 274439 h 568112"/>
                  <a:gd name="connsiteX18" fmla="*/ 190998 w 489849"/>
                  <a:gd name="connsiteY18" fmla="*/ 247291 h 568112"/>
                  <a:gd name="connsiteX19" fmla="*/ 218220 w 489849"/>
                  <a:gd name="connsiteY19" fmla="*/ 220143 h 568112"/>
                  <a:gd name="connsiteX20" fmla="*/ 124127 w 489849"/>
                  <a:gd name="connsiteY20" fmla="*/ 220143 h 568112"/>
                  <a:gd name="connsiteX21" fmla="*/ 151349 w 489849"/>
                  <a:gd name="connsiteY21" fmla="*/ 247291 h 568112"/>
                  <a:gd name="connsiteX22" fmla="*/ 124127 w 489849"/>
                  <a:gd name="connsiteY22" fmla="*/ 274439 h 568112"/>
                  <a:gd name="connsiteX23" fmla="*/ 96905 w 489849"/>
                  <a:gd name="connsiteY23" fmla="*/ 247291 h 568112"/>
                  <a:gd name="connsiteX24" fmla="*/ 124127 w 489849"/>
                  <a:gd name="connsiteY24" fmla="*/ 220143 h 568112"/>
                  <a:gd name="connsiteX25" fmla="*/ 111618 w 489849"/>
                  <a:gd name="connsiteY25" fmla="*/ 137146 h 568112"/>
                  <a:gd name="connsiteX26" fmla="*/ 249963 w 489849"/>
                  <a:gd name="connsiteY26" fmla="*/ 137146 h 568112"/>
                  <a:gd name="connsiteX27" fmla="*/ 267487 w 489849"/>
                  <a:gd name="connsiteY27" fmla="*/ 154677 h 568112"/>
                  <a:gd name="connsiteX28" fmla="*/ 249963 w 489849"/>
                  <a:gd name="connsiteY28" fmla="*/ 172209 h 568112"/>
                  <a:gd name="connsiteX29" fmla="*/ 111618 w 489849"/>
                  <a:gd name="connsiteY29" fmla="*/ 172209 h 568112"/>
                  <a:gd name="connsiteX30" fmla="*/ 94094 w 489849"/>
                  <a:gd name="connsiteY30" fmla="*/ 154677 h 568112"/>
                  <a:gd name="connsiteX31" fmla="*/ 111618 w 489849"/>
                  <a:gd name="connsiteY31" fmla="*/ 137146 h 568112"/>
                  <a:gd name="connsiteX32" fmla="*/ 392944 w 489849"/>
                  <a:gd name="connsiteY32" fmla="*/ 88472 h 568112"/>
                  <a:gd name="connsiteX33" fmla="*/ 455673 w 489849"/>
                  <a:gd name="connsiteY33" fmla="*/ 151053 h 568112"/>
                  <a:gd name="connsiteX34" fmla="*/ 392944 w 489849"/>
                  <a:gd name="connsiteY34" fmla="*/ 213634 h 568112"/>
                  <a:gd name="connsiteX35" fmla="*/ 330215 w 489849"/>
                  <a:gd name="connsiteY35" fmla="*/ 151053 h 568112"/>
                  <a:gd name="connsiteX36" fmla="*/ 392944 w 489849"/>
                  <a:gd name="connsiteY36" fmla="*/ 88472 h 568112"/>
                  <a:gd name="connsiteX37" fmla="*/ 18450 w 489849"/>
                  <a:gd name="connsiteY37" fmla="*/ 0 h 568112"/>
                  <a:gd name="connsiteX38" fmla="*/ 404971 w 489849"/>
                  <a:gd name="connsiteY38" fmla="*/ 0 h 568112"/>
                  <a:gd name="connsiteX39" fmla="*/ 423421 w 489849"/>
                  <a:gd name="connsiteY39" fmla="*/ 18421 h 568112"/>
                  <a:gd name="connsiteX40" fmla="*/ 423421 w 489849"/>
                  <a:gd name="connsiteY40" fmla="*/ 70920 h 568112"/>
                  <a:gd name="connsiteX41" fmla="*/ 392056 w 489849"/>
                  <a:gd name="connsiteY41" fmla="*/ 64473 h 568112"/>
                  <a:gd name="connsiteX42" fmla="*/ 328405 w 489849"/>
                  <a:gd name="connsiteY42" fmla="*/ 93947 h 568112"/>
                  <a:gd name="connsiteX43" fmla="*/ 58117 w 489849"/>
                  <a:gd name="connsiteY43" fmla="*/ 93947 h 568112"/>
                  <a:gd name="connsiteX44" fmla="*/ 58117 w 489849"/>
                  <a:gd name="connsiteY44" fmla="*/ 299340 h 568112"/>
                  <a:gd name="connsiteX45" fmla="*/ 79334 w 489849"/>
                  <a:gd name="connsiteY45" fmla="*/ 320524 h 568112"/>
                  <a:gd name="connsiteX46" fmla="*/ 273056 w 489849"/>
                  <a:gd name="connsiteY46" fmla="*/ 320524 h 568112"/>
                  <a:gd name="connsiteX47" fmla="*/ 273056 w 489849"/>
                  <a:gd name="connsiteY47" fmla="*/ 367497 h 568112"/>
                  <a:gd name="connsiteX48" fmla="*/ 79334 w 489849"/>
                  <a:gd name="connsiteY48" fmla="*/ 367497 h 568112"/>
                  <a:gd name="connsiteX49" fmla="*/ 11992 w 489849"/>
                  <a:gd name="connsiteY49" fmla="*/ 299340 h 568112"/>
                  <a:gd name="connsiteX50" fmla="*/ 11992 w 489849"/>
                  <a:gd name="connsiteY50" fmla="*/ 95789 h 568112"/>
                  <a:gd name="connsiteX51" fmla="*/ 0 w 489849"/>
                  <a:gd name="connsiteY51" fmla="*/ 78289 h 568112"/>
                  <a:gd name="connsiteX52" fmla="*/ 0 w 489849"/>
                  <a:gd name="connsiteY52" fmla="*/ 18421 h 568112"/>
                  <a:gd name="connsiteX53" fmla="*/ 18450 w 489849"/>
                  <a:gd name="connsiteY53" fmla="*/ 0 h 56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9849" h="568112">
                    <a:moveTo>
                      <a:pt x="319112" y="229316"/>
                    </a:moveTo>
                    <a:cubicBezTo>
                      <a:pt x="329264" y="229316"/>
                      <a:pt x="466776" y="229316"/>
                      <a:pt x="466776" y="229316"/>
                    </a:cubicBezTo>
                    <a:cubicBezTo>
                      <a:pt x="479697" y="229316"/>
                      <a:pt x="489849" y="239443"/>
                      <a:pt x="489849" y="252332"/>
                    </a:cubicBezTo>
                    <a:lnTo>
                      <a:pt x="488926" y="394111"/>
                    </a:lnTo>
                    <a:cubicBezTo>
                      <a:pt x="488926" y="406079"/>
                      <a:pt x="478774" y="417127"/>
                      <a:pt x="465854" y="417127"/>
                    </a:cubicBezTo>
                    <a:cubicBezTo>
                      <a:pt x="459393" y="417127"/>
                      <a:pt x="452933" y="413444"/>
                      <a:pt x="448318" y="407920"/>
                    </a:cubicBezTo>
                    <a:lnTo>
                      <a:pt x="440012" y="546017"/>
                    </a:lnTo>
                    <a:cubicBezTo>
                      <a:pt x="439090" y="558906"/>
                      <a:pt x="428938" y="568112"/>
                      <a:pt x="416017" y="568112"/>
                    </a:cubicBezTo>
                    <a:lnTo>
                      <a:pt x="369872" y="568112"/>
                    </a:lnTo>
                    <a:cubicBezTo>
                      <a:pt x="356951" y="568112"/>
                      <a:pt x="346800" y="558906"/>
                      <a:pt x="345877" y="546017"/>
                    </a:cubicBezTo>
                    <a:lnTo>
                      <a:pt x="336648" y="407920"/>
                    </a:lnTo>
                    <a:cubicBezTo>
                      <a:pt x="332956" y="413444"/>
                      <a:pt x="326496" y="417127"/>
                      <a:pt x="319112" y="417127"/>
                    </a:cubicBezTo>
                    <a:cubicBezTo>
                      <a:pt x="307115" y="417127"/>
                      <a:pt x="296963" y="406079"/>
                      <a:pt x="296963" y="394111"/>
                    </a:cubicBezTo>
                    <a:lnTo>
                      <a:pt x="296040" y="252332"/>
                    </a:lnTo>
                    <a:cubicBezTo>
                      <a:pt x="296040" y="239443"/>
                      <a:pt x="306192" y="229316"/>
                      <a:pt x="319112" y="229316"/>
                    </a:cubicBezTo>
                    <a:close/>
                    <a:moveTo>
                      <a:pt x="218220" y="220143"/>
                    </a:moveTo>
                    <a:cubicBezTo>
                      <a:pt x="233254" y="220143"/>
                      <a:pt x="245442" y="232298"/>
                      <a:pt x="245442" y="247291"/>
                    </a:cubicBezTo>
                    <a:cubicBezTo>
                      <a:pt x="245442" y="262284"/>
                      <a:pt x="233254" y="274439"/>
                      <a:pt x="218220" y="274439"/>
                    </a:cubicBezTo>
                    <a:cubicBezTo>
                      <a:pt x="203186" y="274439"/>
                      <a:pt x="190998" y="262284"/>
                      <a:pt x="190998" y="247291"/>
                    </a:cubicBezTo>
                    <a:cubicBezTo>
                      <a:pt x="190998" y="232298"/>
                      <a:pt x="203186" y="220143"/>
                      <a:pt x="218220" y="220143"/>
                    </a:cubicBezTo>
                    <a:close/>
                    <a:moveTo>
                      <a:pt x="124127" y="220143"/>
                    </a:moveTo>
                    <a:cubicBezTo>
                      <a:pt x="139161" y="220143"/>
                      <a:pt x="151349" y="232298"/>
                      <a:pt x="151349" y="247291"/>
                    </a:cubicBezTo>
                    <a:cubicBezTo>
                      <a:pt x="151349" y="262284"/>
                      <a:pt x="139161" y="274439"/>
                      <a:pt x="124127" y="274439"/>
                    </a:cubicBezTo>
                    <a:cubicBezTo>
                      <a:pt x="109093" y="274439"/>
                      <a:pt x="96905" y="262284"/>
                      <a:pt x="96905" y="247291"/>
                    </a:cubicBezTo>
                    <a:cubicBezTo>
                      <a:pt x="96905" y="232298"/>
                      <a:pt x="109093" y="220143"/>
                      <a:pt x="124127" y="220143"/>
                    </a:cubicBezTo>
                    <a:close/>
                    <a:moveTo>
                      <a:pt x="111618" y="137146"/>
                    </a:moveTo>
                    <a:lnTo>
                      <a:pt x="249963" y="137146"/>
                    </a:lnTo>
                    <a:cubicBezTo>
                      <a:pt x="259186" y="137146"/>
                      <a:pt x="267487" y="144528"/>
                      <a:pt x="267487" y="154677"/>
                    </a:cubicBezTo>
                    <a:cubicBezTo>
                      <a:pt x="267487" y="164827"/>
                      <a:pt x="259186" y="172209"/>
                      <a:pt x="249963" y="172209"/>
                    </a:cubicBezTo>
                    <a:lnTo>
                      <a:pt x="111618" y="172209"/>
                    </a:lnTo>
                    <a:cubicBezTo>
                      <a:pt x="101472" y="172209"/>
                      <a:pt x="94094" y="163905"/>
                      <a:pt x="94094" y="154677"/>
                    </a:cubicBezTo>
                    <a:cubicBezTo>
                      <a:pt x="94094" y="144528"/>
                      <a:pt x="101472" y="137146"/>
                      <a:pt x="111618" y="137146"/>
                    </a:cubicBezTo>
                    <a:close/>
                    <a:moveTo>
                      <a:pt x="392944" y="88472"/>
                    </a:moveTo>
                    <a:cubicBezTo>
                      <a:pt x="427588" y="88472"/>
                      <a:pt x="455673" y="116490"/>
                      <a:pt x="455673" y="151053"/>
                    </a:cubicBezTo>
                    <a:cubicBezTo>
                      <a:pt x="455673" y="185616"/>
                      <a:pt x="427588" y="213634"/>
                      <a:pt x="392944" y="213634"/>
                    </a:cubicBezTo>
                    <a:cubicBezTo>
                      <a:pt x="358300" y="213634"/>
                      <a:pt x="330215" y="185616"/>
                      <a:pt x="330215" y="151053"/>
                    </a:cubicBezTo>
                    <a:cubicBezTo>
                      <a:pt x="330215" y="116490"/>
                      <a:pt x="358300" y="88472"/>
                      <a:pt x="392944" y="88472"/>
                    </a:cubicBezTo>
                    <a:close/>
                    <a:moveTo>
                      <a:pt x="18450" y="0"/>
                    </a:moveTo>
                    <a:lnTo>
                      <a:pt x="404971" y="0"/>
                    </a:lnTo>
                    <a:cubicBezTo>
                      <a:pt x="415119" y="0"/>
                      <a:pt x="423421" y="8289"/>
                      <a:pt x="423421" y="18421"/>
                    </a:cubicBezTo>
                    <a:lnTo>
                      <a:pt x="423421" y="70920"/>
                    </a:lnTo>
                    <a:cubicBezTo>
                      <a:pt x="414196" y="67236"/>
                      <a:pt x="403126" y="64473"/>
                      <a:pt x="392056" y="64473"/>
                    </a:cubicBezTo>
                    <a:cubicBezTo>
                      <a:pt x="367149" y="64473"/>
                      <a:pt x="344087" y="75526"/>
                      <a:pt x="328405" y="93947"/>
                    </a:cubicBezTo>
                    <a:lnTo>
                      <a:pt x="58117" y="93947"/>
                    </a:lnTo>
                    <a:lnTo>
                      <a:pt x="58117" y="299340"/>
                    </a:lnTo>
                    <a:cubicBezTo>
                      <a:pt x="58117" y="311313"/>
                      <a:pt x="68264" y="320524"/>
                      <a:pt x="79334" y="320524"/>
                    </a:cubicBezTo>
                    <a:lnTo>
                      <a:pt x="273056" y="320524"/>
                    </a:lnTo>
                    <a:lnTo>
                      <a:pt x="273056" y="367497"/>
                    </a:lnTo>
                    <a:lnTo>
                      <a:pt x="79334" y="367497"/>
                    </a:lnTo>
                    <a:cubicBezTo>
                      <a:pt x="42434" y="367497"/>
                      <a:pt x="11992" y="337103"/>
                      <a:pt x="11992" y="299340"/>
                    </a:cubicBezTo>
                    <a:lnTo>
                      <a:pt x="11992" y="95789"/>
                    </a:lnTo>
                    <a:cubicBezTo>
                      <a:pt x="5535" y="93026"/>
                      <a:pt x="0" y="86578"/>
                      <a:pt x="0" y="78289"/>
                    </a:cubicBezTo>
                    <a:lnTo>
                      <a:pt x="0" y="18421"/>
                    </a:lnTo>
                    <a:cubicBezTo>
                      <a:pt x="0" y="8289"/>
                      <a:pt x="8302" y="0"/>
                      <a:pt x="1845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85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8" name="îṡḻïḍè">
              <a:extLst>
                <a:ext uri="{FF2B5EF4-FFF2-40B4-BE49-F238E27FC236}">
                  <a16:creationId xmlns:a16="http://schemas.microsoft.com/office/drawing/2014/main" id="{EB0F06F0-7E80-4C55-9033-3229FAFE507E}"/>
                </a:ext>
              </a:extLst>
            </p:cNvPr>
            <p:cNvSpPr/>
            <p:nvPr/>
          </p:nvSpPr>
          <p:spPr bwMode="auto">
            <a:xfrm>
              <a:off x="2897215" y="3873505"/>
              <a:ext cx="1949341" cy="39211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/>
                <a:t>模型图</a:t>
              </a:r>
            </a:p>
          </p:txBody>
        </p:sp>
        <p:grpSp>
          <p:nvGrpSpPr>
            <p:cNvPr id="13" name="îşļíḑê">
              <a:extLst>
                <a:ext uri="{FF2B5EF4-FFF2-40B4-BE49-F238E27FC236}">
                  <a16:creationId xmlns:a16="http://schemas.microsoft.com/office/drawing/2014/main" id="{F6784BE4-9555-42F4-9E15-5370B6A1ACBD}"/>
                </a:ext>
              </a:extLst>
            </p:cNvPr>
            <p:cNvGrpSpPr/>
            <p:nvPr/>
          </p:nvGrpSpPr>
          <p:grpSpPr>
            <a:xfrm>
              <a:off x="3469293" y="2871502"/>
              <a:ext cx="805185" cy="904455"/>
              <a:chOff x="2924954" y="2871502"/>
              <a:chExt cx="805185" cy="904455"/>
            </a:xfrm>
          </p:grpSpPr>
          <p:sp>
            <p:nvSpPr>
              <p:cNvPr id="36" name="ïṣľíḋè">
                <a:extLst>
                  <a:ext uri="{FF2B5EF4-FFF2-40B4-BE49-F238E27FC236}">
                    <a16:creationId xmlns:a16="http://schemas.microsoft.com/office/drawing/2014/main" id="{0BDBA6E7-0C73-4E2A-AE18-FF7AD941B7E9}"/>
                  </a:ext>
                </a:extLst>
              </p:cNvPr>
              <p:cNvSpPr/>
              <p:nvPr/>
            </p:nvSpPr>
            <p:spPr bwMode="auto">
              <a:xfrm>
                <a:off x="2924954" y="2871502"/>
                <a:ext cx="805185" cy="904455"/>
              </a:xfrm>
              <a:custGeom>
                <a:avLst/>
                <a:gdLst>
                  <a:gd name="T0" fmla="*/ 1488 w 1488"/>
                  <a:gd name="T1" fmla="*/ 498 h 1680"/>
                  <a:gd name="T2" fmla="*/ 1413 w 1488"/>
                  <a:gd name="T3" fmla="*/ 366 h 1680"/>
                  <a:gd name="T4" fmla="*/ 820 w 1488"/>
                  <a:gd name="T5" fmla="*/ 24 h 1680"/>
                  <a:gd name="T6" fmla="*/ 669 w 1488"/>
                  <a:gd name="T7" fmla="*/ 24 h 1680"/>
                  <a:gd name="T8" fmla="*/ 76 w 1488"/>
                  <a:gd name="T9" fmla="*/ 366 h 1680"/>
                  <a:gd name="T10" fmla="*/ 0 w 1488"/>
                  <a:gd name="T11" fmla="*/ 498 h 1680"/>
                  <a:gd name="T12" fmla="*/ 0 w 1488"/>
                  <a:gd name="T13" fmla="*/ 1182 h 1680"/>
                  <a:gd name="T14" fmla="*/ 76 w 1488"/>
                  <a:gd name="T15" fmla="*/ 1314 h 1680"/>
                  <a:gd name="T16" fmla="*/ 669 w 1488"/>
                  <a:gd name="T17" fmla="*/ 1656 h 1680"/>
                  <a:gd name="T18" fmla="*/ 820 w 1488"/>
                  <a:gd name="T19" fmla="*/ 1656 h 1680"/>
                  <a:gd name="T20" fmla="*/ 1413 w 1488"/>
                  <a:gd name="T21" fmla="*/ 1314 h 1680"/>
                  <a:gd name="T22" fmla="*/ 1488 w 1488"/>
                  <a:gd name="T23" fmla="*/ 1182 h 1680"/>
                  <a:gd name="T24" fmla="*/ 1488 w 1488"/>
                  <a:gd name="T25" fmla="*/ 498 h 1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8" h="1680">
                    <a:moveTo>
                      <a:pt x="1488" y="498"/>
                    </a:moveTo>
                    <a:cubicBezTo>
                      <a:pt x="1488" y="450"/>
                      <a:pt x="1454" y="390"/>
                      <a:pt x="1413" y="366"/>
                    </a:cubicBezTo>
                    <a:cubicBezTo>
                      <a:pt x="820" y="24"/>
                      <a:pt x="820" y="24"/>
                      <a:pt x="820" y="24"/>
                    </a:cubicBezTo>
                    <a:cubicBezTo>
                      <a:pt x="779" y="0"/>
                      <a:pt x="710" y="0"/>
                      <a:pt x="669" y="24"/>
                    </a:cubicBezTo>
                    <a:cubicBezTo>
                      <a:pt x="76" y="366"/>
                      <a:pt x="76" y="366"/>
                      <a:pt x="76" y="366"/>
                    </a:cubicBezTo>
                    <a:cubicBezTo>
                      <a:pt x="35" y="390"/>
                      <a:pt x="0" y="450"/>
                      <a:pt x="0" y="498"/>
                    </a:cubicBezTo>
                    <a:cubicBezTo>
                      <a:pt x="0" y="1182"/>
                      <a:pt x="0" y="1182"/>
                      <a:pt x="0" y="1182"/>
                    </a:cubicBezTo>
                    <a:cubicBezTo>
                      <a:pt x="0" y="1231"/>
                      <a:pt x="35" y="1289"/>
                      <a:pt x="76" y="1314"/>
                    </a:cubicBezTo>
                    <a:cubicBezTo>
                      <a:pt x="669" y="1656"/>
                      <a:pt x="669" y="1656"/>
                      <a:pt x="669" y="1656"/>
                    </a:cubicBezTo>
                    <a:cubicBezTo>
                      <a:pt x="710" y="1680"/>
                      <a:pt x="779" y="1680"/>
                      <a:pt x="820" y="1656"/>
                    </a:cubicBezTo>
                    <a:cubicBezTo>
                      <a:pt x="1413" y="1314"/>
                      <a:pt x="1413" y="1314"/>
                      <a:pt x="1413" y="1314"/>
                    </a:cubicBezTo>
                    <a:cubicBezTo>
                      <a:pt x="1454" y="1289"/>
                      <a:pt x="1488" y="1231"/>
                      <a:pt x="1488" y="1182"/>
                    </a:cubicBezTo>
                    <a:lnTo>
                      <a:pt x="1488" y="498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37" name="ï$1îḓe">
                <a:extLst>
                  <a:ext uri="{FF2B5EF4-FFF2-40B4-BE49-F238E27FC236}">
                    <a16:creationId xmlns:a16="http://schemas.microsoft.com/office/drawing/2014/main" id="{76950F3C-721F-4987-8B69-B6C789DAE1B3}"/>
                  </a:ext>
                </a:extLst>
              </p:cNvPr>
              <p:cNvSpPr/>
              <p:nvPr/>
            </p:nvSpPr>
            <p:spPr>
              <a:xfrm>
                <a:off x="3165707" y="3212872"/>
                <a:ext cx="323678" cy="375392"/>
              </a:xfrm>
              <a:custGeom>
                <a:avLst/>
                <a:gdLst>
                  <a:gd name="connsiteX0" fmla="*/ 319112 w 489849"/>
                  <a:gd name="connsiteY0" fmla="*/ 229316 h 568112"/>
                  <a:gd name="connsiteX1" fmla="*/ 466776 w 489849"/>
                  <a:gd name="connsiteY1" fmla="*/ 229316 h 568112"/>
                  <a:gd name="connsiteX2" fmla="*/ 489849 w 489849"/>
                  <a:gd name="connsiteY2" fmla="*/ 252332 h 568112"/>
                  <a:gd name="connsiteX3" fmla="*/ 488926 w 489849"/>
                  <a:gd name="connsiteY3" fmla="*/ 394111 h 568112"/>
                  <a:gd name="connsiteX4" fmla="*/ 465854 w 489849"/>
                  <a:gd name="connsiteY4" fmla="*/ 417127 h 568112"/>
                  <a:gd name="connsiteX5" fmla="*/ 448318 w 489849"/>
                  <a:gd name="connsiteY5" fmla="*/ 407920 h 568112"/>
                  <a:gd name="connsiteX6" fmla="*/ 440012 w 489849"/>
                  <a:gd name="connsiteY6" fmla="*/ 546017 h 568112"/>
                  <a:gd name="connsiteX7" fmla="*/ 416017 w 489849"/>
                  <a:gd name="connsiteY7" fmla="*/ 568112 h 568112"/>
                  <a:gd name="connsiteX8" fmla="*/ 369872 w 489849"/>
                  <a:gd name="connsiteY8" fmla="*/ 568112 h 568112"/>
                  <a:gd name="connsiteX9" fmla="*/ 345877 w 489849"/>
                  <a:gd name="connsiteY9" fmla="*/ 546017 h 568112"/>
                  <a:gd name="connsiteX10" fmla="*/ 336648 w 489849"/>
                  <a:gd name="connsiteY10" fmla="*/ 407920 h 568112"/>
                  <a:gd name="connsiteX11" fmla="*/ 319112 w 489849"/>
                  <a:gd name="connsiteY11" fmla="*/ 417127 h 568112"/>
                  <a:gd name="connsiteX12" fmla="*/ 296963 w 489849"/>
                  <a:gd name="connsiteY12" fmla="*/ 394111 h 568112"/>
                  <a:gd name="connsiteX13" fmla="*/ 296040 w 489849"/>
                  <a:gd name="connsiteY13" fmla="*/ 252332 h 568112"/>
                  <a:gd name="connsiteX14" fmla="*/ 319112 w 489849"/>
                  <a:gd name="connsiteY14" fmla="*/ 229316 h 568112"/>
                  <a:gd name="connsiteX15" fmla="*/ 218220 w 489849"/>
                  <a:gd name="connsiteY15" fmla="*/ 220143 h 568112"/>
                  <a:gd name="connsiteX16" fmla="*/ 245442 w 489849"/>
                  <a:gd name="connsiteY16" fmla="*/ 247291 h 568112"/>
                  <a:gd name="connsiteX17" fmla="*/ 218220 w 489849"/>
                  <a:gd name="connsiteY17" fmla="*/ 274439 h 568112"/>
                  <a:gd name="connsiteX18" fmla="*/ 190998 w 489849"/>
                  <a:gd name="connsiteY18" fmla="*/ 247291 h 568112"/>
                  <a:gd name="connsiteX19" fmla="*/ 218220 w 489849"/>
                  <a:gd name="connsiteY19" fmla="*/ 220143 h 568112"/>
                  <a:gd name="connsiteX20" fmla="*/ 124127 w 489849"/>
                  <a:gd name="connsiteY20" fmla="*/ 220143 h 568112"/>
                  <a:gd name="connsiteX21" fmla="*/ 151349 w 489849"/>
                  <a:gd name="connsiteY21" fmla="*/ 247291 h 568112"/>
                  <a:gd name="connsiteX22" fmla="*/ 124127 w 489849"/>
                  <a:gd name="connsiteY22" fmla="*/ 274439 h 568112"/>
                  <a:gd name="connsiteX23" fmla="*/ 96905 w 489849"/>
                  <a:gd name="connsiteY23" fmla="*/ 247291 h 568112"/>
                  <a:gd name="connsiteX24" fmla="*/ 124127 w 489849"/>
                  <a:gd name="connsiteY24" fmla="*/ 220143 h 568112"/>
                  <a:gd name="connsiteX25" fmla="*/ 111618 w 489849"/>
                  <a:gd name="connsiteY25" fmla="*/ 137146 h 568112"/>
                  <a:gd name="connsiteX26" fmla="*/ 249963 w 489849"/>
                  <a:gd name="connsiteY26" fmla="*/ 137146 h 568112"/>
                  <a:gd name="connsiteX27" fmla="*/ 267487 w 489849"/>
                  <a:gd name="connsiteY27" fmla="*/ 154677 h 568112"/>
                  <a:gd name="connsiteX28" fmla="*/ 249963 w 489849"/>
                  <a:gd name="connsiteY28" fmla="*/ 172209 h 568112"/>
                  <a:gd name="connsiteX29" fmla="*/ 111618 w 489849"/>
                  <a:gd name="connsiteY29" fmla="*/ 172209 h 568112"/>
                  <a:gd name="connsiteX30" fmla="*/ 94094 w 489849"/>
                  <a:gd name="connsiteY30" fmla="*/ 154677 h 568112"/>
                  <a:gd name="connsiteX31" fmla="*/ 111618 w 489849"/>
                  <a:gd name="connsiteY31" fmla="*/ 137146 h 568112"/>
                  <a:gd name="connsiteX32" fmla="*/ 392944 w 489849"/>
                  <a:gd name="connsiteY32" fmla="*/ 88472 h 568112"/>
                  <a:gd name="connsiteX33" fmla="*/ 455673 w 489849"/>
                  <a:gd name="connsiteY33" fmla="*/ 151053 h 568112"/>
                  <a:gd name="connsiteX34" fmla="*/ 392944 w 489849"/>
                  <a:gd name="connsiteY34" fmla="*/ 213634 h 568112"/>
                  <a:gd name="connsiteX35" fmla="*/ 330215 w 489849"/>
                  <a:gd name="connsiteY35" fmla="*/ 151053 h 568112"/>
                  <a:gd name="connsiteX36" fmla="*/ 392944 w 489849"/>
                  <a:gd name="connsiteY36" fmla="*/ 88472 h 568112"/>
                  <a:gd name="connsiteX37" fmla="*/ 18450 w 489849"/>
                  <a:gd name="connsiteY37" fmla="*/ 0 h 568112"/>
                  <a:gd name="connsiteX38" fmla="*/ 404971 w 489849"/>
                  <a:gd name="connsiteY38" fmla="*/ 0 h 568112"/>
                  <a:gd name="connsiteX39" fmla="*/ 423421 w 489849"/>
                  <a:gd name="connsiteY39" fmla="*/ 18421 h 568112"/>
                  <a:gd name="connsiteX40" fmla="*/ 423421 w 489849"/>
                  <a:gd name="connsiteY40" fmla="*/ 70920 h 568112"/>
                  <a:gd name="connsiteX41" fmla="*/ 392056 w 489849"/>
                  <a:gd name="connsiteY41" fmla="*/ 64473 h 568112"/>
                  <a:gd name="connsiteX42" fmla="*/ 328405 w 489849"/>
                  <a:gd name="connsiteY42" fmla="*/ 93947 h 568112"/>
                  <a:gd name="connsiteX43" fmla="*/ 58117 w 489849"/>
                  <a:gd name="connsiteY43" fmla="*/ 93947 h 568112"/>
                  <a:gd name="connsiteX44" fmla="*/ 58117 w 489849"/>
                  <a:gd name="connsiteY44" fmla="*/ 299340 h 568112"/>
                  <a:gd name="connsiteX45" fmla="*/ 79334 w 489849"/>
                  <a:gd name="connsiteY45" fmla="*/ 320524 h 568112"/>
                  <a:gd name="connsiteX46" fmla="*/ 273056 w 489849"/>
                  <a:gd name="connsiteY46" fmla="*/ 320524 h 568112"/>
                  <a:gd name="connsiteX47" fmla="*/ 273056 w 489849"/>
                  <a:gd name="connsiteY47" fmla="*/ 367497 h 568112"/>
                  <a:gd name="connsiteX48" fmla="*/ 79334 w 489849"/>
                  <a:gd name="connsiteY48" fmla="*/ 367497 h 568112"/>
                  <a:gd name="connsiteX49" fmla="*/ 11992 w 489849"/>
                  <a:gd name="connsiteY49" fmla="*/ 299340 h 568112"/>
                  <a:gd name="connsiteX50" fmla="*/ 11992 w 489849"/>
                  <a:gd name="connsiteY50" fmla="*/ 95789 h 568112"/>
                  <a:gd name="connsiteX51" fmla="*/ 0 w 489849"/>
                  <a:gd name="connsiteY51" fmla="*/ 78289 h 568112"/>
                  <a:gd name="connsiteX52" fmla="*/ 0 w 489849"/>
                  <a:gd name="connsiteY52" fmla="*/ 18421 h 568112"/>
                  <a:gd name="connsiteX53" fmla="*/ 18450 w 489849"/>
                  <a:gd name="connsiteY53" fmla="*/ 0 h 56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9849" h="568112">
                    <a:moveTo>
                      <a:pt x="319112" y="229316"/>
                    </a:moveTo>
                    <a:cubicBezTo>
                      <a:pt x="329264" y="229316"/>
                      <a:pt x="466776" y="229316"/>
                      <a:pt x="466776" y="229316"/>
                    </a:cubicBezTo>
                    <a:cubicBezTo>
                      <a:pt x="479697" y="229316"/>
                      <a:pt x="489849" y="239443"/>
                      <a:pt x="489849" y="252332"/>
                    </a:cubicBezTo>
                    <a:lnTo>
                      <a:pt x="488926" y="394111"/>
                    </a:lnTo>
                    <a:cubicBezTo>
                      <a:pt x="488926" y="406079"/>
                      <a:pt x="478774" y="417127"/>
                      <a:pt x="465854" y="417127"/>
                    </a:cubicBezTo>
                    <a:cubicBezTo>
                      <a:pt x="459393" y="417127"/>
                      <a:pt x="452933" y="413444"/>
                      <a:pt x="448318" y="407920"/>
                    </a:cubicBezTo>
                    <a:lnTo>
                      <a:pt x="440012" y="546017"/>
                    </a:lnTo>
                    <a:cubicBezTo>
                      <a:pt x="439090" y="558906"/>
                      <a:pt x="428938" y="568112"/>
                      <a:pt x="416017" y="568112"/>
                    </a:cubicBezTo>
                    <a:lnTo>
                      <a:pt x="369872" y="568112"/>
                    </a:lnTo>
                    <a:cubicBezTo>
                      <a:pt x="356951" y="568112"/>
                      <a:pt x="346800" y="558906"/>
                      <a:pt x="345877" y="546017"/>
                    </a:cubicBezTo>
                    <a:lnTo>
                      <a:pt x="336648" y="407920"/>
                    </a:lnTo>
                    <a:cubicBezTo>
                      <a:pt x="332956" y="413444"/>
                      <a:pt x="326496" y="417127"/>
                      <a:pt x="319112" y="417127"/>
                    </a:cubicBezTo>
                    <a:cubicBezTo>
                      <a:pt x="307115" y="417127"/>
                      <a:pt x="296963" y="406079"/>
                      <a:pt x="296963" y="394111"/>
                    </a:cubicBezTo>
                    <a:lnTo>
                      <a:pt x="296040" y="252332"/>
                    </a:lnTo>
                    <a:cubicBezTo>
                      <a:pt x="296040" y="239443"/>
                      <a:pt x="306192" y="229316"/>
                      <a:pt x="319112" y="229316"/>
                    </a:cubicBezTo>
                    <a:close/>
                    <a:moveTo>
                      <a:pt x="218220" y="220143"/>
                    </a:moveTo>
                    <a:cubicBezTo>
                      <a:pt x="233254" y="220143"/>
                      <a:pt x="245442" y="232298"/>
                      <a:pt x="245442" y="247291"/>
                    </a:cubicBezTo>
                    <a:cubicBezTo>
                      <a:pt x="245442" y="262284"/>
                      <a:pt x="233254" y="274439"/>
                      <a:pt x="218220" y="274439"/>
                    </a:cubicBezTo>
                    <a:cubicBezTo>
                      <a:pt x="203186" y="274439"/>
                      <a:pt x="190998" y="262284"/>
                      <a:pt x="190998" y="247291"/>
                    </a:cubicBezTo>
                    <a:cubicBezTo>
                      <a:pt x="190998" y="232298"/>
                      <a:pt x="203186" y="220143"/>
                      <a:pt x="218220" y="220143"/>
                    </a:cubicBezTo>
                    <a:close/>
                    <a:moveTo>
                      <a:pt x="124127" y="220143"/>
                    </a:moveTo>
                    <a:cubicBezTo>
                      <a:pt x="139161" y="220143"/>
                      <a:pt x="151349" y="232298"/>
                      <a:pt x="151349" y="247291"/>
                    </a:cubicBezTo>
                    <a:cubicBezTo>
                      <a:pt x="151349" y="262284"/>
                      <a:pt x="139161" y="274439"/>
                      <a:pt x="124127" y="274439"/>
                    </a:cubicBezTo>
                    <a:cubicBezTo>
                      <a:pt x="109093" y="274439"/>
                      <a:pt x="96905" y="262284"/>
                      <a:pt x="96905" y="247291"/>
                    </a:cubicBezTo>
                    <a:cubicBezTo>
                      <a:pt x="96905" y="232298"/>
                      <a:pt x="109093" y="220143"/>
                      <a:pt x="124127" y="220143"/>
                    </a:cubicBezTo>
                    <a:close/>
                    <a:moveTo>
                      <a:pt x="111618" y="137146"/>
                    </a:moveTo>
                    <a:lnTo>
                      <a:pt x="249963" y="137146"/>
                    </a:lnTo>
                    <a:cubicBezTo>
                      <a:pt x="259186" y="137146"/>
                      <a:pt x="267487" y="144528"/>
                      <a:pt x="267487" y="154677"/>
                    </a:cubicBezTo>
                    <a:cubicBezTo>
                      <a:pt x="267487" y="164827"/>
                      <a:pt x="259186" y="172209"/>
                      <a:pt x="249963" y="172209"/>
                    </a:cubicBezTo>
                    <a:lnTo>
                      <a:pt x="111618" y="172209"/>
                    </a:lnTo>
                    <a:cubicBezTo>
                      <a:pt x="101472" y="172209"/>
                      <a:pt x="94094" y="163905"/>
                      <a:pt x="94094" y="154677"/>
                    </a:cubicBezTo>
                    <a:cubicBezTo>
                      <a:pt x="94094" y="144528"/>
                      <a:pt x="101472" y="137146"/>
                      <a:pt x="111618" y="137146"/>
                    </a:cubicBezTo>
                    <a:close/>
                    <a:moveTo>
                      <a:pt x="392944" y="88472"/>
                    </a:moveTo>
                    <a:cubicBezTo>
                      <a:pt x="427588" y="88472"/>
                      <a:pt x="455673" y="116490"/>
                      <a:pt x="455673" y="151053"/>
                    </a:cubicBezTo>
                    <a:cubicBezTo>
                      <a:pt x="455673" y="185616"/>
                      <a:pt x="427588" y="213634"/>
                      <a:pt x="392944" y="213634"/>
                    </a:cubicBezTo>
                    <a:cubicBezTo>
                      <a:pt x="358300" y="213634"/>
                      <a:pt x="330215" y="185616"/>
                      <a:pt x="330215" y="151053"/>
                    </a:cubicBezTo>
                    <a:cubicBezTo>
                      <a:pt x="330215" y="116490"/>
                      <a:pt x="358300" y="88472"/>
                      <a:pt x="392944" y="88472"/>
                    </a:cubicBezTo>
                    <a:close/>
                    <a:moveTo>
                      <a:pt x="18450" y="0"/>
                    </a:moveTo>
                    <a:lnTo>
                      <a:pt x="404971" y="0"/>
                    </a:lnTo>
                    <a:cubicBezTo>
                      <a:pt x="415119" y="0"/>
                      <a:pt x="423421" y="8289"/>
                      <a:pt x="423421" y="18421"/>
                    </a:cubicBezTo>
                    <a:lnTo>
                      <a:pt x="423421" y="70920"/>
                    </a:lnTo>
                    <a:cubicBezTo>
                      <a:pt x="414196" y="67236"/>
                      <a:pt x="403126" y="64473"/>
                      <a:pt x="392056" y="64473"/>
                    </a:cubicBezTo>
                    <a:cubicBezTo>
                      <a:pt x="367149" y="64473"/>
                      <a:pt x="344087" y="75526"/>
                      <a:pt x="328405" y="93947"/>
                    </a:cubicBezTo>
                    <a:lnTo>
                      <a:pt x="58117" y="93947"/>
                    </a:lnTo>
                    <a:lnTo>
                      <a:pt x="58117" y="299340"/>
                    </a:lnTo>
                    <a:cubicBezTo>
                      <a:pt x="58117" y="311313"/>
                      <a:pt x="68264" y="320524"/>
                      <a:pt x="79334" y="320524"/>
                    </a:cubicBezTo>
                    <a:lnTo>
                      <a:pt x="273056" y="320524"/>
                    </a:lnTo>
                    <a:lnTo>
                      <a:pt x="273056" y="367497"/>
                    </a:lnTo>
                    <a:lnTo>
                      <a:pt x="79334" y="367497"/>
                    </a:lnTo>
                    <a:cubicBezTo>
                      <a:pt x="42434" y="367497"/>
                      <a:pt x="11992" y="337103"/>
                      <a:pt x="11992" y="299340"/>
                    </a:cubicBezTo>
                    <a:lnTo>
                      <a:pt x="11992" y="95789"/>
                    </a:lnTo>
                    <a:cubicBezTo>
                      <a:pt x="5535" y="93026"/>
                      <a:pt x="0" y="86578"/>
                      <a:pt x="0" y="78289"/>
                    </a:cubicBezTo>
                    <a:lnTo>
                      <a:pt x="0" y="18421"/>
                    </a:lnTo>
                    <a:cubicBezTo>
                      <a:pt x="0" y="8289"/>
                      <a:pt x="8302" y="0"/>
                      <a:pt x="1845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85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4" name="îSliḋe">
              <a:extLst>
                <a:ext uri="{FF2B5EF4-FFF2-40B4-BE49-F238E27FC236}">
                  <a16:creationId xmlns:a16="http://schemas.microsoft.com/office/drawing/2014/main" id="{D2233E79-EB00-4920-A5FE-05280ABD4306}"/>
                </a:ext>
              </a:extLst>
            </p:cNvPr>
            <p:cNvSpPr/>
            <p:nvPr/>
          </p:nvSpPr>
          <p:spPr bwMode="auto">
            <a:xfrm>
              <a:off x="5121329" y="3873505"/>
              <a:ext cx="1949341" cy="39211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/>
                <a:t>功能划分</a:t>
              </a:r>
            </a:p>
          </p:txBody>
        </p:sp>
        <p:grpSp>
          <p:nvGrpSpPr>
            <p:cNvPr id="15" name="ísļïḑè">
              <a:extLst>
                <a:ext uri="{FF2B5EF4-FFF2-40B4-BE49-F238E27FC236}">
                  <a16:creationId xmlns:a16="http://schemas.microsoft.com/office/drawing/2014/main" id="{043758E6-EDC0-4985-99B1-134C28A6FC83}"/>
                </a:ext>
              </a:extLst>
            </p:cNvPr>
            <p:cNvGrpSpPr/>
            <p:nvPr/>
          </p:nvGrpSpPr>
          <p:grpSpPr>
            <a:xfrm>
              <a:off x="5693408" y="2871502"/>
              <a:ext cx="805185" cy="904455"/>
              <a:chOff x="4770590" y="2871502"/>
              <a:chExt cx="805185" cy="904455"/>
            </a:xfrm>
          </p:grpSpPr>
          <p:sp>
            <p:nvSpPr>
              <p:cNvPr id="32" name="îşḻïdé">
                <a:extLst>
                  <a:ext uri="{FF2B5EF4-FFF2-40B4-BE49-F238E27FC236}">
                    <a16:creationId xmlns:a16="http://schemas.microsoft.com/office/drawing/2014/main" id="{130D6322-573E-44D8-BD5F-F58786EC997D}"/>
                  </a:ext>
                </a:extLst>
              </p:cNvPr>
              <p:cNvSpPr/>
              <p:nvPr/>
            </p:nvSpPr>
            <p:spPr bwMode="auto">
              <a:xfrm>
                <a:off x="4770590" y="2871502"/>
                <a:ext cx="805185" cy="904455"/>
              </a:xfrm>
              <a:custGeom>
                <a:avLst/>
                <a:gdLst>
                  <a:gd name="T0" fmla="*/ 1488 w 1488"/>
                  <a:gd name="T1" fmla="*/ 498 h 1680"/>
                  <a:gd name="T2" fmla="*/ 1413 w 1488"/>
                  <a:gd name="T3" fmla="*/ 366 h 1680"/>
                  <a:gd name="T4" fmla="*/ 820 w 1488"/>
                  <a:gd name="T5" fmla="*/ 24 h 1680"/>
                  <a:gd name="T6" fmla="*/ 669 w 1488"/>
                  <a:gd name="T7" fmla="*/ 24 h 1680"/>
                  <a:gd name="T8" fmla="*/ 76 w 1488"/>
                  <a:gd name="T9" fmla="*/ 366 h 1680"/>
                  <a:gd name="T10" fmla="*/ 0 w 1488"/>
                  <a:gd name="T11" fmla="*/ 498 h 1680"/>
                  <a:gd name="T12" fmla="*/ 0 w 1488"/>
                  <a:gd name="T13" fmla="*/ 1182 h 1680"/>
                  <a:gd name="T14" fmla="*/ 76 w 1488"/>
                  <a:gd name="T15" fmla="*/ 1314 h 1680"/>
                  <a:gd name="T16" fmla="*/ 669 w 1488"/>
                  <a:gd name="T17" fmla="*/ 1656 h 1680"/>
                  <a:gd name="T18" fmla="*/ 820 w 1488"/>
                  <a:gd name="T19" fmla="*/ 1656 h 1680"/>
                  <a:gd name="T20" fmla="*/ 1413 w 1488"/>
                  <a:gd name="T21" fmla="*/ 1314 h 1680"/>
                  <a:gd name="T22" fmla="*/ 1488 w 1488"/>
                  <a:gd name="T23" fmla="*/ 1182 h 1680"/>
                  <a:gd name="T24" fmla="*/ 1488 w 1488"/>
                  <a:gd name="T25" fmla="*/ 498 h 1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8" h="1680">
                    <a:moveTo>
                      <a:pt x="1488" y="498"/>
                    </a:moveTo>
                    <a:cubicBezTo>
                      <a:pt x="1488" y="450"/>
                      <a:pt x="1454" y="390"/>
                      <a:pt x="1413" y="366"/>
                    </a:cubicBezTo>
                    <a:cubicBezTo>
                      <a:pt x="820" y="24"/>
                      <a:pt x="820" y="24"/>
                      <a:pt x="820" y="24"/>
                    </a:cubicBezTo>
                    <a:cubicBezTo>
                      <a:pt x="779" y="0"/>
                      <a:pt x="710" y="0"/>
                      <a:pt x="669" y="24"/>
                    </a:cubicBezTo>
                    <a:cubicBezTo>
                      <a:pt x="76" y="366"/>
                      <a:pt x="76" y="366"/>
                      <a:pt x="76" y="366"/>
                    </a:cubicBezTo>
                    <a:cubicBezTo>
                      <a:pt x="35" y="390"/>
                      <a:pt x="0" y="450"/>
                      <a:pt x="0" y="498"/>
                    </a:cubicBezTo>
                    <a:cubicBezTo>
                      <a:pt x="0" y="1182"/>
                      <a:pt x="0" y="1182"/>
                      <a:pt x="0" y="1182"/>
                    </a:cubicBezTo>
                    <a:cubicBezTo>
                      <a:pt x="0" y="1231"/>
                      <a:pt x="35" y="1289"/>
                      <a:pt x="76" y="1314"/>
                    </a:cubicBezTo>
                    <a:cubicBezTo>
                      <a:pt x="669" y="1656"/>
                      <a:pt x="669" y="1656"/>
                      <a:pt x="669" y="1656"/>
                    </a:cubicBezTo>
                    <a:cubicBezTo>
                      <a:pt x="710" y="1680"/>
                      <a:pt x="779" y="1680"/>
                      <a:pt x="820" y="1656"/>
                    </a:cubicBezTo>
                    <a:cubicBezTo>
                      <a:pt x="1413" y="1314"/>
                      <a:pt x="1413" y="1314"/>
                      <a:pt x="1413" y="1314"/>
                    </a:cubicBezTo>
                    <a:cubicBezTo>
                      <a:pt x="1454" y="1289"/>
                      <a:pt x="1488" y="1231"/>
                      <a:pt x="1488" y="1182"/>
                    </a:cubicBezTo>
                    <a:lnTo>
                      <a:pt x="1488" y="498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33" name="išḷîḑé">
                <a:extLst>
                  <a:ext uri="{FF2B5EF4-FFF2-40B4-BE49-F238E27FC236}">
                    <a16:creationId xmlns:a16="http://schemas.microsoft.com/office/drawing/2014/main" id="{BF37572C-AB27-433C-AB64-86EE3849C40A}"/>
                  </a:ext>
                </a:extLst>
              </p:cNvPr>
              <p:cNvSpPr/>
              <p:nvPr/>
            </p:nvSpPr>
            <p:spPr>
              <a:xfrm>
                <a:off x="5011343" y="3212872"/>
                <a:ext cx="323678" cy="375392"/>
              </a:xfrm>
              <a:custGeom>
                <a:avLst/>
                <a:gdLst>
                  <a:gd name="connsiteX0" fmla="*/ 319112 w 489849"/>
                  <a:gd name="connsiteY0" fmla="*/ 229316 h 568112"/>
                  <a:gd name="connsiteX1" fmla="*/ 466776 w 489849"/>
                  <a:gd name="connsiteY1" fmla="*/ 229316 h 568112"/>
                  <a:gd name="connsiteX2" fmla="*/ 489849 w 489849"/>
                  <a:gd name="connsiteY2" fmla="*/ 252332 h 568112"/>
                  <a:gd name="connsiteX3" fmla="*/ 488926 w 489849"/>
                  <a:gd name="connsiteY3" fmla="*/ 394111 h 568112"/>
                  <a:gd name="connsiteX4" fmla="*/ 465854 w 489849"/>
                  <a:gd name="connsiteY4" fmla="*/ 417127 h 568112"/>
                  <a:gd name="connsiteX5" fmla="*/ 448318 w 489849"/>
                  <a:gd name="connsiteY5" fmla="*/ 407920 h 568112"/>
                  <a:gd name="connsiteX6" fmla="*/ 440012 w 489849"/>
                  <a:gd name="connsiteY6" fmla="*/ 546017 h 568112"/>
                  <a:gd name="connsiteX7" fmla="*/ 416017 w 489849"/>
                  <a:gd name="connsiteY7" fmla="*/ 568112 h 568112"/>
                  <a:gd name="connsiteX8" fmla="*/ 369872 w 489849"/>
                  <a:gd name="connsiteY8" fmla="*/ 568112 h 568112"/>
                  <a:gd name="connsiteX9" fmla="*/ 345877 w 489849"/>
                  <a:gd name="connsiteY9" fmla="*/ 546017 h 568112"/>
                  <a:gd name="connsiteX10" fmla="*/ 336648 w 489849"/>
                  <a:gd name="connsiteY10" fmla="*/ 407920 h 568112"/>
                  <a:gd name="connsiteX11" fmla="*/ 319112 w 489849"/>
                  <a:gd name="connsiteY11" fmla="*/ 417127 h 568112"/>
                  <a:gd name="connsiteX12" fmla="*/ 296963 w 489849"/>
                  <a:gd name="connsiteY12" fmla="*/ 394111 h 568112"/>
                  <a:gd name="connsiteX13" fmla="*/ 296040 w 489849"/>
                  <a:gd name="connsiteY13" fmla="*/ 252332 h 568112"/>
                  <a:gd name="connsiteX14" fmla="*/ 319112 w 489849"/>
                  <a:gd name="connsiteY14" fmla="*/ 229316 h 568112"/>
                  <a:gd name="connsiteX15" fmla="*/ 218220 w 489849"/>
                  <a:gd name="connsiteY15" fmla="*/ 220143 h 568112"/>
                  <a:gd name="connsiteX16" fmla="*/ 245442 w 489849"/>
                  <a:gd name="connsiteY16" fmla="*/ 247291 h 568112"/>
                  <a:gd name="connsiteX17" fmla="*/ 218220 w 489849"/>
                  <a:gd name="connsiteY17" fmla="*/ 274439 h 568112"/>
                  <a:gd name="connsiteX18" fmla="*/ 190998 w 489849"/>
                  <a:gd name="connsiteY18" fmla="*/ 247291 h 568112"/>
                  <a:gd name="connsiteX19" fmla="*/ 218220 w 489849"/>
                  <a:gd name="connsiteY19" fmla="*/ 220143 h 568112"/>
                  <a:gd name="connsiteX20" fmla="*/ 124127 w 489849"/>
                  <a:gd name="connsiteY20" fmla="*/ 220143 h 568112"/>
                  <a:gd name="connsiteX21" fmla="*/ 151349 w 489849"/>
                  <a:gd name="connsiteY21" fmla="*/ 247291 h 568112"/>
                  <a:gd name="connsiteX22" fmla="*/ 124127 w 489849"/>
                  <a:gd name="connsiteY22" fmla="*/ 274439 h 568112"/>
                  <a:gd name="connsiteX23" fmla="*/ 96905 w 489849"/>
                  <a:gd name="connsiteY23" fmla="*/ 247291 h 568112"/>
                  <a:gd name="connsiteX24" fmla="*/ 124127 w 489849"/>
                  <a:gd name="connsiteY24" fmla="*/ 220143 h 568112"/>
                  <a:gd name="connsiteX25" fmla="*/ 111618 w 489849"/>
                  <a:gd name="connsiteY25" fmla="*/ 137146 h 568112"/>
                  <a:gd name="connsiteX26" fmla="*/ 249963 w 489849"/>
                  <a:gd name="connsiteY26" fmla="*/ 137146 h 568112"/>
                  <a:gd name="connsiteX27" fmla="*/ 267487 w 489849"/>
                  <a:gd name="connsiteY27" fmla="*/ 154677 h 568112"/>
                  <a:gd name="connsiteX28" fmla="*/ 249963 w 489849"/>
                  <a:gd name="connsiteY28" fmla="*/ 172209 h 568112"/>
                  <a:gd name="connsiteX29" fmla="*/ 111618 w 489849"/>
                  <a:gd name="connsiteY29" fmla="*/ 172209 h 568112"/>
                  <a:gd name="connsiteX30" fmla="*/ 94094 w 489849"/>
                  <a:gd name="connsiteY30" fmla="*/ 154677 h 568112"/>
                  <a:gd name="connsiteX31" fmla="*/ 111618 w 489849"/>
                  <a:gd name="connsiteY31" fmla="*/ 137146 h 568112"/>
                  <a:gd name="connsiteX32" fmla="*/ 392944 w 489849"/>
                  <a:gd name="connsiteY32" fmla="*/ 88472 h 568112"/>
                  <a:gd name="connsiteX33" fmla="*/ 455673 w 489849"/>
                  <a:gd name="connsiteY33" fmla="*/ 151053 h 568112"/>
                  <a:gd name="connsiteX34" fmla="*/ 392944 w 489849"/>
                  <a:gd name="connsiteY34" fmla="*/ 213634 h 568112"/>
                  <a:gd name="connsiteX35" fmla="*/ 330215 w 489849"/>
                  <a:gd name="connsiteY35" fmla="*/ 151053 h 568112"/>
                  <a:gd name="connsiteX36" fmla="*/ 392944 w 489849"/>
                  <a:gd name="connsiteY36" fmla="*/ 88472 h 568112"/>
                  <a:gd name="connsiteX37" fmla="*/ 18450 w 489849"/>
                  <a:gd name="connsiteY37" fmla="*/ 0 h 568112"/>
                  <a:gd name="connsiteX38" fmla="*/ 404971 w 489849"/>
                  <a:gd name="connsiteY38" fmla="*/ 0 h 568112"/>
                  <a:gd name="connsiteX39" fmla="*/ 423421 w 489849"/>
                  <a:gd name="connsiteY39" fmla="*/ 18421 h 568112"/>
                  <a:gd name="connsiteX40" fmla="*/ 423421 w 489849"/>
                  <a:gd name="connsiteY40" fmla="*/ 70920 h 568112"/>
                  <a:gd name="connsiteX41" fmla="*/ 392056 w 489849"/>
                  <a:gd name="connsiteY41" fmla="*/ 64473 h 568112"/>
                  <a:gd name="connsiteX42" fmla="*/ 328405 w 489849"/>
                  <a:gd name="connsiteY42" fmla="*/ 93947 h 568112"/>
                  <a:gd name="connsiteX43" fmla="*/ 58117 w 489849"/>
                  <a:gd name="connsiteY43" fmla="*/ 93947 h 568112"/>
                  <a:gd name="connsiteX44" fmla="*/ 58117 w 489849"/>
                  <a:gd name="connsiteY44" fmla="*/ 299340 h 568112"/>
                  <a:gd name="connsiteX45" fmla="*/ 79334 w 489849"/>
                  <a:gd name="connsiteY45" fmla="*/ 320524 h 568112"/>
                  <a:gd name="connsiteX46" fmla="*/ 273056 w 489849"/>
                  <a:gd name="connsiteY46" fmla="*/ 320524 h 568112"/>
                  <a:gd name="connsiteX47" fmla="*/ 273056 w 489849"/>
                  <a:gd name="connsiteY47" fmla="*/ 367497 h 568112"/>
                  <a:gd name="connsiteX48" fmla="*/ 79334 w 489849"/>
                  <a:gd name="connsiteY48" fmla="*/ 367497 h 568112"/>
                  <a:gd name="connsiteX49" fmla="*/ 11992 w 489849"/>
                  <a:gd name="connsiteY49" fmla="*/ 299340 h 568112"/>
                  <a:gd name="connsiteX50" fmla="*/ 11992 w 489849"/>
                  <a:gd name="connsiteY50" fmla="*/ 95789 h 568112"/>
                  <a:gd name="connsiteX51" fmla="*/ 0 w 489849"/>
                  <a:gd name="connsiteY51" fmla="*/ 78289 h 568112"/>
                  <a:gd name="connsiteX52" fmla="*/ 0 w 489849"/>
                  <a:gd name="connsiteY52" fmla="*/ 18421 h 568112"/>
                  <a:gd name="connsiteX53" fmla="*/ 18450 w 489849"/>
                  <a:gd name="connsiteY53" fmla="*/ 0 h 56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9849" h="568112">
                    <a:moveTo>
                      <a:pt x="319112" y="229316"/>
                    </a:moveTo>
                    <a:cubicBezTo>
                      <a:pt x="329264" y="229316"/>
                      <a:pt x="466776" y="229316"/>
                      <a:pt x="466776" y="229316"/>
                    </a:cubicBezTo>
                    <a:cubicBezTo>
                      <a:pt x="479697" y="229316"/>
                      <a:pt x="489849" y="239443"/>
                      <a:pt x="489849" y="252332"/>
                    </a:cubicBezTo>
                    <a:lnTo>
                      <a:pt x="488926" y="394111"/>
                    </a:lnTo>
                    <a:cubicBezTo>
                      <a:pt x="488926" y="406079"/>
                      <a:pt x="478774" y="417127"/>
                      <a:pt x="465854" y="417127"/>
                    </a:cubicBezTo>
                    <a:cubicBezTo>
                      <a:pt x="459393" y="417127"/>
                      <a:pt x="452933" y="413444"/>
                      <a:pt x="448318" y="407920"/>
                    </a:cubicBezTo>
                    <a:lnTo>
                      <a:pt x="440012" y="546017"/>
                    </a:lnTo>
                    <a:cubicBezTo>
                      <a:pt x="439090" y="558906"/>
                      <a:pt x="428938" y="568112"/>
                      <a:pt x="416017" y="568112"/>
                    </a:cubicBezTo>
                    <a:lnTo>
                      <a:pt x="369872" y="568112"/>
                    </a:lnTo>
                    <a:cubicBezTo>
                      <a:pt x="356951" y="568112"/>
                      <a:pt x="346800" y="558906"/>
                      <a:pt x="345877" y="546017"/>
                    </a:cubicBezTo>
                    <a:lnTo>
                      <a:pt x="336648" y="407920"/>
                    </a:lnTo>
                    <a:cubicBezTo>
                      <a:pt x="332956" y="413444"/>
                      <a:pt x="326496" y="417127"/>
                      <a:pt x="319112" y="417127"/>
                    </a:cubicBezTo>
                    <a:cubicBezTo>
                      <a:pt x="307115" y="417127"/>
                      <a:pt x="296963" y="406079"/>
                      <a:pt x="296963" y="394111"/>
                    </a:cubicBezTo>
                    <a:lnTo>
                      <a:pt x="296040" y="252332"/>
                    </a:lnTo>
                    <a:cubicBezTo>
                      <a:pt x="296040" y="239443"/>
                      <a:pt x="306192" y="229316"/>
                      <a:pt x="319112" y="229316"/>
                    </a:cubicBezTo>
                    <a:close/>
                    <a:moveTo>
                      <a:pt x="218220" y="220143"/>
                    </a:moveTo>
                    <a:cubicBezTo>
                      <a:pt x="233254" y="220143"/>
                      <a:pt x="245442" y="232298"/>
                      <a:pt x="245442" y="247291"/>
                    </a:cubicBezTo>
                    <a:cubicBezTo>
                      <a:pt x="245442" y="262284"/>
                      <a:pt x="233254" y="274439"/>
                      <a:pt x="218220" y="274439"/>
                    </a:cubicBezTo>
                    <a:cubicBezTo>
                      <a:pt x="203186" y="274439"/>
                      <a:pt x="190998" y="262284"/>
                      <a:pt x="190998" y="247291"/>
                    </a:cubicBezTo>
                    <a:cubicBezTo>
                      <a:pt x="190998" y="232298"/>
                      <a:pt x="203186" y="220143"/>
                      <a:pt x="218220" y="220143"/>
                    </a:cubicBezTo>
                    <a:close/>
                    <a:moveTo>
                      <a:pt x="124127" y="220143"/>
                    </a:moveTo>
                    <a:cubicBezTo>
                      <a:pt x="139161" y="220143"/>
                      <a:pt x="151349" y="232298"/>
                      <a:pt x="151349" y="247291"/>
                    </a:cubicBezTo>
                    <a:cubicBezTo>
                      <a:pt x="151349" y="262284"/>
                      <a:pt x="139161" y="274439"/>
                      <a:pt x="124127" y="274439"/>
                    </a:cubicBezTo>
                    <a:cubicBezTo>
                      <a:pt x="109093" y="274439"/>
                      <a:pt x="96905" y="262284"/>
                      <a:pt x="96905" y="247291"/>
                    </a:cubicBezTo>
                    <a:cubicBezTo>
                      <a:pt x="96905" y="232298"/>
                      <a:pt x="109093" y="220143"/>
                      <a:pt x="124127" y="220143"/>
                    </a:cubicBezTo>
                    <a:close/>
                    <a:moveTo>
                      <a:pt x="111618" y="137146"/>
                    </a:moveTo>
                    <a:lnTo>
                      <a:pt x="249963" y="137146"/>
                    </a:lnTo>
                    <a:cubicBezTo>
                      <a:pt x="259186" y="137146"/>
                      <a:pt x="267487" y="144528"/>
                      <a:pt x="267487" y="154677"/>
                    </a:cubicBezTo>
                    <a:cubicBezTo>
                      <a:pt x="267487" y="164827"/>
                      <a:pt x="259186" y="172209"/>
                      <a:pt x="249963" y="172209"/>
                    </a:cubicBezTo>
                    <a:lnTo>
                      <a:pt x="111618" y="172209"/>
                    </a:lnTo>
                    <a:cubicBezTo>
                      <a:pt x="101472" y="172209"/>
                      <a:pt x="94094" y="163905"/>
                      <a:pt x="94094" y="154677"/>
                    </a:cubicBezTo>
                    <a:cubicBezTo>
                      <a:pt x="94094" y="144528"/>
                      <a:pt x="101472" y="137146"/>
                      <a:pt x="111618" y="137146"/>
                    </a:cubicBezTo>
                    <a:close/>
                    <a:moveTo>
                      <a:pt x="392944" y="88472"/>
                    </a:moveTo>
                    <a:cubicBezTo>
                      <a:pt x="427588" y="88472"/>
                      <a:pt x="455673" y="116490"/>
                      <a:pt x="455673" y="151053"/>
                    </a:cubicBezTo>
                    <a:cubicBezTo>
                      <a:pt x="455673" y="185616"/>
                      <a:pt x="427588" y="213634"/>
                      <a:pt x="392944" y="213634"/>
                    </a:cubicBezTo>
                    <a:cubicBezTo>
                      <a:pt x="358300" y="213634"/>
                      <a:pt x="330215" y="185616"/>
                      <a:pt x="330215" y="151053"/>
                    </a:cubicBezTo>
                    <a:cubicBezTo>
                      <a:pt x="330215" y="116490"/>
                      <a:pt x="358300" y="88472"/>
                      <a:pt x="392944" y="88472"/>
                    </a:cubicBezTo>
                    <a:close/>
                    <a:moveTo>
                      <a:pt x="18450" y="0"/>
                    </a:moveTo>
                    <a:lnTo>
                      <a:pt x="404971" y="0"/>
                    </a:lnTo>
                    <a:cubicBezTo>
                      <a:pt x="415119" y="0"/>
                      <a:pt x="423421" y="8289"/>
                      <a:pt x="423421" y="18421"/>
                    </a:cubicBezTo>
                    <a:lnTo>
                      <a:pt x="423421" y="70920"/>
                    </a:lnTo>
                    <a:cubicBezTo>
                      <a:pt x="414196" y="67236"/>
                      <a:pt x="403126" y="64473"/>
                      <a:pt x="392056" y="64473"/>
                    </a:cubicBezTo>
                    <a:cubicBezTo>
                      <a:pt x="367149" y="64473"/>
                      <a:pt x="344087" y="75526"/>
                      <a:pt x="328405" y="93947"/>
                    </a:cubicBezTo>
                    <a:lnTo>
                      <a:pt x="58117" y="93947"/>
                    </a:lnTo>
                    <a:lnTo>
                      <a:pt x="58117" y="299340"/>
                    </a:lnTo>
                    <a:cubicBezTo>
                      <a:pt x="58117" y="311313"/>
                      <a:pt x="68264" y="320524"/>
                      <a:pt x="79334" y="320524"/>
                    </a:cubicBezTo>
                    <a:lnTo>
                      <a:pt x="273056" y="320524"/>
                    </a:lnTo>
                    <a:lnTo>
                      <a:pt x="273056" y="367497"/>
                    </a:lnTo>
                    <a:lnTo>
                      <a:pt x="79334" y="367497"/>
                    </a:lnTo>
                    <a:cubicBezTo>
                      <a:pt x="42434" y="367497"/>
                      <a:pt x="11992" y="337103"/>
                      <a:pt x="11992" y="299340"/>
                    </a:cubicBezTo>
                    <a:lnTo>
                      <a:pt x="11992" y="95789"/>
                    </a:lnTo>
                    <a:cubicBezTo>
                      <a:pt x="5535" y="93026"/>
                      <a:pt x="0" y="86578"/>
                      <a:pt x="0" y="78289"/>
                    </a:cubicBezTo>
                    <a:lnTo>
                      <a:pt x="0" y="18421"/>
                    </a:lnTo>
                    <a:cubicBezTo>
                      <a:pt x="0" y="8289"/>
                      <a:pt x="8302" y="0"/>
                      <a:pt x="1845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85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0" name="iśļiḋê">
              <a:extLst>
                <a:ext uri="{FF2B5EF4-FFF2-40B4-BE49-F238E27FC236}">
                  <a16:creationId xmlns:a16="http://schemas.microsoft.com/office/drawing/2014/main" id="{8CC4A035-1F92-453A-B211-E9FD0CB7AA01}"/>
                </a:ext>
              </a:extLst>
            </p:cNvPr>
            <p:cNvSpPr/>
            <p:nvPr/>
          </p:nvSpPr>
          <p:spPr bwMode="auto">
            <a:xfrm>
              <a:off x="7345444" y="3873505"/>
              <a:ext cx="1949341" cy="39211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600" b="1" kern="0" dirty="0"/>
                <a:t>Q&amp;A</a:t>
              </a:r>
              <a:endParaRPr lang="zh-CN" altLang="en-US" sz="1600" b="1" kern="0" dirty="0"/>
            </a:p>
          </p:txBody>
        </p:sp>
        <p:grpSp>
          <p:nvGrpSpPr>
            <p:cNvPr id="17" name="îSľíḓê">
              <a:extLst>
                <a:ext uri="{FF2B5EF4-FFF2-40B4-BE49-F238E27FC236}">
                  <a16:creationId xmlns:a16="http://schemas.microsoft.com/office/drawing/2014/main" id="{C15CDD93-9B7F-4ED1-8CD7-8A05186DF523}"/>
                </a:ext>
              </a:extLst>
            </p:cNvPr>
            <p:cNvGrpSpPr/>
            <p:nvPr/>
          </p:nvGrpSpPr>
          <p:grpSpPr>
            <a:xfrm>
              <a:off x="7917523" y="2871502"/>
              <a:ext cx="805185" cy="904455"/>
              <a:chOff x="6616226" y="2871502"/>
              <a:chExt cx="805185" cy="904455"/>
            </a:xfrm>
          </p:grpSpPr>
          <p:sp>
            <p:nvSpPr>
              <p:cNvPr id="28" name="iś1ïdê">
                <a:extLst>
                  <a:ext uri="{FF2B5EF4-FFF2-40B4-BE49-F238E27FC236}">
                    <a16:creationId xmlns:a16="http://schemas.microsoft.com/office/drawing/2014/main" id="{9C77F42F-5A04-478C-A931-E207F1203B1F}"/>
                  </a:ext>
                </a:extLst>
              </p:cNvPr>
              <p:cNvSpPr/>
              <p:nvPr/>
            </p:nvSpPr>
            <p:spPr bwMode="auto">
              <a:xfrm>
                <a:off x="6616226" y="2871502"/>
                <a:ext cx="805185" cy="904455"/>
              </a:xfrm>
              <a:custGeom>
                <a:avLst/>
                <a:gdLst>
                  <a:gd name="T0" fmla="*/ 1488 w 1488"/>
                  <a:gd name="T1" fmla="*/ 498 h 1680"/>
                  <a:gd name="T2" fmla="*/ 1413 w 1488"/>
                  <a:gd name="T3" fmla="*/ 366 h 1680"/>
                  <a:gd name="T4" fmla="*/ 820 w 1488"/>
                  <a:gd name="T5" fmla="*/ 24 h 1680"/>
                  <a:gd name="T6" fmla="*/ 669 w 1488"/>
                  <a:gd name="T7" fmla="*/ 24 h 1680"/>
                  <a:gd name="T8" fmla="*/ 76 w 1488"/>
                  <a:gd name="T9" fmla="*/ 366 h 1680"/>
                  <a:gd name="T10" fmla="*/ 0 w 1488"/>
                  <a:gd name="T11" fmla="*/ 498 h 1680"/>
                  <a:gd name="T12" fmla="*/ 0 w 1488"/>
                  <a:gd name="T13" fmla="*/ 1182 h 1680"/>
                  <a:gd name="T14" fmla="*/ 76 w 1488"/>
                  <a:gd name="T15" fmla="*/ 1314 h 1680"/>
                  <a:gd name="T16" fmla="*/ 669 w 1488"/>
                  <a:gd name="T17" fmla="*/ 1656 h 1680"/>
                  <a:gd name="T18" fmla="*/ 820 w 1488"/>
                  <a:gd name="T19" fmla="*/ 1656 h 1680"/>
                  <a:gd name="T20" fmla="*/ 1413 w 1488"/>
                  <a:gd name="T21" fmla="*/ 1314 h 1680"/>
                  <a:gd name="T22" fmla="*/ 1488 w 1488"/>
                  <a:gd name="T23" fmla="*/ 1182 h 1680"/>
                  <a:gd name="T24" fmla="*/ 1488 w 1488"/>
                  <a:gd name="T25" fmla="*/ 498 h 1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8" h="1680">
                    <a:moveTo>
                      <a:pt x="1488" y="498"/>
                    </a:moveTo>
                    <a:cubicBezTo>
                      <a:pt x="1488" y="450"/>
                      <a:pt x="1454" y="390"/>
                      <a:pt x="1413" y="366"/>
                    </a:cubicBezTo>
                    <a:cubicBezTo>
                      <a:pt x="820" y="24"/>
                      <a:pt x="820" y="24"/>
                      <a:pt x="820" y="24"/>
                    </a:cubicBezTo>
                    <a:cubicBezTo>
                      <a:pt x="779" y="0"/>
                      <a:pt x="710" y="0"/>
                      <a:pt x="669" y="24"/>
                    </a:cubicBezTo>
                    <a:cubicBezTo>
                      <a:pt x="76" y="366"/>
                      <a:pt x="76" y="366"/>
                      <a:pt x="76" y="366"/>
                    </a:cubicBezTo>
                    <a:cubicBezTo>
                      <a:pt x="35" y="390"/>
                      <a:pt x="0" y="450"/>
                      <a:pt x="0" y="498"/>
                    </a:cubicBezTo>
                    <a:cubicBezTo>
                      <a:pt x="0" y="1182"/>
                      <a:pt x="0" y="1182"/>
                      <a:pt x="0" y="1182"/>
                    </a:cubicBezTo>
                    <a:cubicBezTo>
                      <a:pt x="0" y="1231"/>
                      <a:pt x="35" y="1289"/>
                      <a:pt x="76" y="1314"/>
                    </a:cubicBezTo>
                    <a:cubicBezTo>
                      <a:pt x="669" y="1656"/>
                      <a:pt x="669" y="1656"/>
                      <a:pt x="669" y="1656"/>
                    </a:cubicBezTo>
                    <a:cubicBezTo>
                      <a:pt x="710" y="1680"/>
                      <a:pt x="779" y="1680"/>
                      <a:pt x="820" y="1656"/>
                    </a:cubicBezTo>
                    <a:cubicBezTo>
                      <a:pt x="1413" y="1314"/>
                      <a:pt x="1413" y="1314"/>
                      <a:pt x="1413" y="1314"/>
                    </a:cubicBezTo>
                    <a:cubicBezTo>
                      <a:pt x="1454" y="1289"/>
                      <a:pt x="1488" y="1231"/>
                      <a:pt x="1488" y="1182"/>
                    </a:cubicBezTo>
                    <a:lnTo>
                      <a:pt x="1488" y="498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29" name="isḻiḓè">
                <a:extLst>
                  <a:ext uri="{FF2B5EF4-FFF2-40B4-BE49-F238E27FC236}">
                    <a16:creationId xmlns:a16="http://schemas.microsoft.com/office/drawing/2014/main" id="{181E9674-AED7-416F-BC01-9495E3C62917}"/>
                  </a:ext>
                </a:extLst>
              </p:cNvPr>
              <p:cNvSpPr/>
              <p:nvPr/>
            </p:nvSpPr>
            <p:spPr>
              <a:xfrm>
                <a:off x="6856979" y="3212872"/>
                <a:ext cx="323678" cy="375392"/>
              </a:xfrm>
              <a:custGeom>
                <a:avLst/>
                <a:gdLst>
                  <a:gd name="connsiteX0" fmla="*/ 319112 w 489849"/>
                  <a:gd name="connsiteY0" fmla="*/ 229316 h 568112"/>
                  <a:gd name="connsiteX1" fmla="*/ 466776 w 489849"/>
                  <a:gd name="connsiteY1" fmla="*/ 229316 h 568112"/>
                  <a:gd name="connsiteX2" fmla="*/ 489849 w 489849"/>
                  <a:gd name="connsiteY2" fmla="*/ 252332 h 568112"/>
                  <a:gd name="connsiteX3" fmla="*/ 488926 w 489849"/>
                  <a:gd name="connsiteY3" fmla="*/ 394111 h 568112"/>
                  <a:gd name="connsiteX4" fmla="*/ 465854 w 489849"/>
                  <a:gd name="connsiteY4" fmla="*/ 417127 h 568112"/>
                  <a:gd name="connsiteX5" fmla="*/ 448318 w 489849"/>
                  <a:gd name="connsiteY5" fmla="*/ 407920 h 568112"/>
                  <a:gd name="connsiteX6" fmla="*/ 440012 w 489849"/>
                  <a:gd name="connsiteY6" fmla="*/ 546017 h 568112"/>
                  <a:gd name="connsiteX7" fmla="*/ 416017 w 489849"/>
                  <a:gd name="connsiteY7" fmla="*/ 568112 h 568112"/>
                  <a:gd name="connsiteX8" fmla="*/ 369872 w 489849"/>
                  <a:gd name="connsiteY8" fmla="*/ 568112 h 568112"/>
                  <a:gd name="connsiteX9" fmla="*/ 345877 w 489849"/>
                  <a:gd name="connsiteY9" fmla="*/ 546017 h 568112"/>
                  <a:gd name="connsiteX10" fmla="*/ 336648 w 489849"/>
                  <a:gd name="connsiteY10" fmla="*/ 407920 h 568112"/>
                  <a:gd name="connsiteX11" fmla="*/ 319112 w 489849"/>
                  <a:gd name="connsiteY11" fmla="*/ 417127 h 568112"/>
                  <a:gd name="connsiteX12" fmla="*/ 296963 w 489849"/>
                  <a:gd name="connsiteY12" fmla="*/ 394111 h 568112"/>
                  <a:gd name="connsiteX13" fmla="*/ 296040 w 489849"/>
                  <a:gd name="connsiteY13" fmla="*/ 252332 h 568112"/>
                  <a:gd name="connsiteX14" fmla="*/ 319112 w 489849"/>
                  <a:gd name="connsiteY14" fmla="*/ 229316 h 568112"/>
                  <a:gd name="connsiteX15" fmla="*/ 218220 w 489849"/>
                  <a:gd name="connsiteY15" fmla="*/ 220143 h 568112"/>
                  <a:gd name="connsiteX16" fmla="*/ 245442 w 489849"/>
                  <a:gd name="connsiteY16" fmla="*/ 247291 h 568112"/>
                  <a:gd name="connsiteX17" fmla="*/ 218220 w 489849"/>
                  <a:gd name="connsiteY17" fmla="*/ 274439 h 568112"/>
                  <a:gd name="connsiteX18" fmla="*/ 190998 w 489849"/>
                  <a:gd name="connsiteY18" fmla="*/ 247291 h 568112"/>
                  <a:gd name="connsiteX19" fmla="*/ 218220 w 489849"/>
                  <a:gd name="connsiteY19" fmla="*/ 220143 h 568112"/>
                  <a:gd name="connsiteX20" fmla="*/ 124127 w 489849"/>
                  <a:gd name="connsiteY20" fmla="*/ 220143 h 568112"/>
                  <a:gd name="connsiteX21" fmla="*/ 151349 w 489849"/>
                  <a:gd name="connsiteY21" fmla="*/ 247291 h 568112"/>
                  <a:gd name="connsiteX22" fmla="*/ 124127 w 489849"/>
                  <a:gd name="connsiteY22" fmla="*/ 274439 h 568112"/>
                  <a:gd name="connsiteX23" fmla="*/ 96905 w 489849"/>
                  <a:gd name="connsiteY23" fmla="*/ 247291 h 568112"/>
                  <a:gd name="connsiteX24" fmla="*/ 124127 w 489849"/>
                  <a:gd name="connsiteY24" fmla="*/ 220143 h 568112"/>
                  <a:gd name="connsiteX25" fmla="*/ 111618 w 489849"/>
                  <a:gd name="connsiteY25" fmla="*/ 137146 h 568112"/>
                  <a:gd name="connsiteX26" fmla="*/ 249963 w 489849"/>
                  <a:gd name="connsiteY26" fmla="*/ 137146 h 568112"/>
                  <a:gd name="connsiteX27" fmla="*/ 267487 w 489849"/>
                  <a:gd name="connsiteY27" fmla="*/ 154677 h 568112"/>
                  <a:gd name="connsiteX28" fmla="*/ 249963 w 489849"/>
                  <a:gd name="connsiteY28" fmla="*/ 172209 h 568112"/>
                  <a:gd name="connsiteX29" fmla="*/ 111618 w 489849"/>
                  <a:gd name="connsiteY29" fmla="*/ 172209 h 568112"/>
                  <a:gd name="connsiteX30" fmla="*/ 94094 w 489849"/>
                  <a:gd name="connsiteY30" fmla="*/ 154677 h 568112"/>
                  <a:gd name="connsiteX31" fmla="*/ 111618 w 489849"/>
                  <a:gd name="connsiteY31" fmla="*/ 137146 h 568112"/>
                  <a:gd name="connsiteX32" fmla="*/ 392944 w 489849"/>
                  <a:gd name="connsiteY32" fmla="*/ 88472 h 568112"/>
                  <a:gd name="connsiteX33" fmla="*/ 455673 w 489849"/>
                  <a:gd name="connsiteY33" fmla="*/ 151053 h 568112"/>
                  <a:gd name="connsiteX34" fmla="*/ 392944 w 489849"/>
                  <a:gd name="connsiteY34" fmla="*/ 213634 h 568112"/>
                  <a:gd name="connsiteX35" fmla="*/ 330215 w 489849"/>
                  <a:gd name="connsiteY35" fmla="*/ 151053 h 568112"/>
                  <a:gd name="connsiteX36" fmla="*/ 392944 w 489849"/>
                  <a:gd name="connsiteY36" fmla="*/ 88472 h 568112"/>
                  <a:gd name="connsiteX37" fmla="*/ 18450 w 489849"/>
                  <a:gd name="connsiteY37" fmla="*/ 0 h 568112"/>
                  <a:gd name="connsiteX38" fmla="*/ 404971 w 489849"/>
                  <a:gd name="connsiteY38" fmla="*/ 0 h 568112"/>
                  <a:gd name="connsiteX39" fmla="*/ 423421 w 489849"/>
                  <a:gd name="connsiteY39" fmla="*/ 18421 h 568112"/>
                  <a:gd name="connsiteX40" fmla="*/ 423421 w 489849"/>
                  <a:gd name="connsiteY40" fmla="*/ 70920 h 568112"/>
                  <a:gd name="connsiteX41" fmla="*/ 392056 w 489849"/>
                  <a:gd name="connsiteY41" fmla="*/ 64473 h 568112"/>
                  <a:gd name="connsiteX42" fmla="*/ 328405 w 489849"/>
                  <a:gd name="connsiteY42" fmla="*/ 93947 h 568112"/>
                  <a:gd name="connsiteX43" fmla="*/ 58117 w 489849"/>
                  <a:gd name="connsiteY43" fmla="*/ 93947 h 568112"/>
                  <a:gd name="connsiteX44" fmla="*/ 58117 w 489849"/>
                  <a:gd name="connsiteY44" fmla="*/ 299340 h 568112"/>
                  <a:gd name="connsiteX45" fmla="*/ 79334 w 489849"/>
                  <a:gd name="connsiteY45" fmla="*/ 320524 h 568112"/>
                  <a:gd name="connsiteX46" fmla="*/ 273056 w 489849"/>
                  <a:gd name="connsiteY46" fmla="*/ 320524 h 568112"/>
                  <a:gd name="connsiteX47" fmla="*/ 273056 w 489849"/>
                  <a:gd name="connsiteY47" fmla="*/ 367497 h 568112"/>
                  <a:gd name="connsiteX48" fmla="*/ 79334 w 489849"/>
                  <a:gd name="connsiteY48" fmla="*/ 367497 h 568112"/>
                  <a:gd name="connsiteX49" fmla="*/ 11992 w 489849"/>
                  <a:gd name="connsiteY49" fmla="*/ 299340 h 568112"/>
                  <a:gd name="connsiteX50" fmla="*/ 11992 w 489849"/>
                  <a:gd name="connsiteY50" fmla="*/ 95789 h 568112"/>
                  <a:gd name="connsiteX51" fmla="*/ 0 w 489849"/>
                  <a:gd name="connsiteY51" fmla="*/ 78289 h 568112"/>
                  <a:gd name="connsiteX52" fmla="*/ 0 w 489849"/>
                  <a:gd name="connsiteY52" fmla="*/ 18421 h 568112"/>
                  <a:gd name="connsiteX53" fmla="*/ 18450 w 489849"/>
                  <a:gd name="connsiteY53" fmla="*/ 0 h 56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9849" h="568112">
                    <a:moveTo>
                      <a:pt x="319112" y="229316"/>
                    </a:moveTo>
                    <a:cubicBezTo>
                      <a:pt x="329264" y="229316"/>
                      <a:pt x="466776" y="229316"/>
                      <a:pt x="466776" y="229316"/>
                    </a:cubicBezTo>
                    <a:cubicBezTo>
                      <a:pt x="479697" y="229316"/>
                      <a:pt x="489849" y="239443"/>
                      <a:pt x="489849" y="252332"/>
                    </a:cubicBezTo>
                    <a:lnTo>
                      <a:pt x="488926" y="394111"/>
                    </a:lnTo>
                    <a:cubicBezTo>
                      <a:pt x="488926" y="406079"/>
                      <a:pt x="478774" y="417127"/>
                      <a:pt x="465854" y="417127"/>
                    </a:cubicBezTo>
                    <a:cubicBezTo>
                      <a:pt x="459393" y="417127"/>
                      <a:pt x="452933" y="413444"/>
                      <a:pt x="448318" y="407920"/>
                    </a:cubicBezTo>
                    <a:lnTo>
                      <a:pt x="440012" y="546017"/>
                    </a:lnTo>
                    <a:cubicBezTo>
                      <a:pt x="439090" y="558906"/>
                      <a:pt x="428938" y="568112"/>
                      <a:pt x="416017" y="568112"/>
                    </a:cubicBezTo>
                    <a:lnTo>
                      <a:pt x="369872" y="568112"/>
                    </a:lnTo>
                    <a:cubicBezTo>
                      <a:pt x="356951" y="568112"/>
                      <a:pt x="346800" y="558906"/>
                      <a:pt x="345877" y="546017"/>
                    </a:cubicBezTo>
                    <a:lnTo>
                      <a:pt x="336648" y="407920"/>
                    </a:lnTo>
                    <a:cubicBezTo>
                      <a:pt x="332956" y="413444"/>
                      <a:pt x="326496" y="417127"/>
                      <a:pt x="319112" y="417127"/>
                    </a:cubicBezTo>
                    <a:cubicBezTo>
                      <a:pt x="307115" y="417127"/>
                      <a:pt x="296963" y="406079"/>
                      <a:pt x="296963" y="394111"/>
                    </a:cubicBezTo>
                    <a:lnTo>
                      <a:pt x="296040" y="252332"/>
                    </a:lnTo>
                    <a:cubicBezTo>
                      <a:pt x="296040" y="239443"/>
                      <a:pt x="306192" y="229316"/>
                      <a:pt x="319112" y="229316"/>
                    </a:cubicBezTo>
                    <a:close/>
                    <a:moveTo>
                      <a:pt x="218220" y="220143"/>
                    </a:moveTo>
                    <a:cubicBezTo>
                      <a:pt x="233254" y="220143"/>
                      <a:pt x="245442" y="232298"/>
                      <a:pt x="245442" y="247291"/>
                    </a:cubicBezTo>
                    <a:cubicBezTo>
                      <a:pt x="245442" y="262284"/>
                      <a:pt x="233254" y="274439"/>
                      <a:pt x="218220" y="274439"/>
                    </a:cubicBezTo>
                    <a:cubicBezTo>
                      <a:pt x="203186" y="274439"/>
                      <a:pt x="190998" y="262284"/>
                      <a:pt x="190998" y="247291"/>
                    </a:cubicBezTo>
                    <a:cubicBezTo>
                      <a:pt x="190998" y="232298"/>
                      <a:pt x="203186" y="220143"/>
                      <a:pt x="218220" y="220143"/>
                    </a:cubicBezTo>
                    <a:close/>
                    <a:moveTo>
                      <a:pt x="124127" y="220143"/>
                    </a:moveTo>
                    <a:cubicBezTo>
                      <a:pt x="139161" y="220143"/>
                      <a:pt x="151349" y="232298"/>
                      <a:pt x="151349" y="247291"/>
                    </a:cubicBezTo>
                    <a:cubicBezTo>
                      <a:pt x="151349" y="262284"/>
                      <a:pt x="139161" y="274439"/>
                      <a:pt x="124127" y="274439"/>
                    </a:cubicBezTo>
                    <a:cubicBezTo>
                      <a:pt x="109093" y="274439"/>
                      <a:pt x="96905" y="262284"/>
                      <a:pt x="96905" y="247291"/>
                    </a:cubicBezTo>
                    <a:cubicBezTo>
                      <a:pt x="96905" y="232298"/>
                      <a:pt x="109093" y="220143"/>
                      <a:pt x="124127" y="220143"/>
                    </a:cubicBezTo>
                    <a:close/>
                    <a:moveTo>
                      <a:pt x="111618" y="137146"/>
                    </a:moveTo>
                    <a:lnTo>
                      <a:pt x="249963" y="137146"/>
                    </a:lnTo>
                    <a:cubicBezTo>
                      <a:pt x="259186" y="137146"/>
                      <a:pt x="267487" y="144528"/>
                      <a:pt x="267487" y="154677"/>
                    </a:cubicBezTo>
                    <a:cubicBezTo>
                      <a:pt x="267487" y="164827"/>
                      <a:pt x="259186" y="172209"/>
                      <a:pt x="249963" y="172209"/>
                    </a:cubicBezTo>
                    <a:lnTo>
                      <a:pt x="111618" y="172209"/>
                    </a:lnTo>
                    <a:cubicBezTo>
                      <a:pt x="101472" y="172209"/>
                      <a:pt x="94094" y="163905"/>
                      <a:pt x="94094" y="154677"/>
                    </a:cubicBezTo>
                    <a:cubicBezTo>
                      <a:pt x="94094" y="144528"/>
                      <a:pt x="101472" y="137146"/>
                      <a:pt x="111618" y="137146"/>
                    </a:cubicBezTo>
                    <a:close/>
                    <a:moveTo>
                      <a:pt x="392944" y="88472"/>
                    </a:moveTo>
                    <a:cubicBezTo>
                      <a:pt x="427588" y="88472"/>
                      <a:pt x="455673" y="116490"/>
                      <a:pt x="455673" y="151053"/>
                    </a:cubicBezTo>
                    <a:cubicBezTo>
                      <a:pt x="455673" y="185616"/>
                      <a:pt x="427588" y="213634"/>
                      <a:pt x="392944" y="213634"/>
                    </a:cubicBezTo>
                    <a:cubicBezTo>
                      <a:pt x="358300" y="213634"/>
                      <a:pt x="330215" y="185616"/>
                      <a:pt x="330215" y="151053"/>
                    </a:cubicBezTo>
                    <a:cubicBezTo>
                      <a:pt x="330215" y="116490"/>
                      <a:pt x="358300" y="88472"/>
                      <a:pt x="392944" y="88472"/>
                    </a:cubicBezTo>
                    <a:close/>
                    <a:moveTo>
                      <a:pt x="18450" y="0"/>
                    </a:moveTo>
                    <a:lnTo>
                      <a:pt x="404971" y="0"/>
                    </a:lnTo>
                    <a:cubicBezTo>
                      <a:pt x="415119" y="0"/>
                      <a:pt x="423421" y="8289"/>
                      <a:pt x="423421" y="18421"/>
                    </a:cubicBezTo>
                    <a:lnTo>
                      <a:pt x="423421" y="70920"/>
                    </a:lnTo>
                    <a:cubicBezTo>
                      <a:pt x="414196" y="67236"/>
                      <a:pt x="403126" y="64473"/>
                      <a:pt x="392056" y="64473"/>
                    </a:cubicBezTo>
                    <a:cubicBezTo>
                      <a:pt x="367149" y="64473"/>
                      <a:pt x="344087" y="75526"/>
                      <a:pt x="328405" y="93947"/>
                    </a:cubicBezTo>
                    <a:lnTo>
                      <a:pt x="58117" y="93947"/>
                    </a:lnTo>
                    <a:lnTo>
                      <a:pt x="58117" y="299340"/>
                    </a:lnTo>
                    <a:cubicBezTo>
                      <a:pt x="58117" y="311313"/>
                      <a:pt x="68264" y="320524"/>
                      <a:pt x="79334" y="320524"/>
                    </a:cubicBezTo>
                    <a:lnTo>
                      <a:pt x="273056" y="320524"/>
                    </a:lnTo>
                    <a:lnTo>
                      <a:pt x="273056" y="367497"/>
                    </a:lnTo>
                    <a:lnTo>
                      <a:pt x="79334" y="367497"/>
                    </a:lnTo>
                    <a:cubicBezTo>
                      <a:pt x="42434" y="367497"/>
                      <a:pt x="11992" y="337103"/>
                      <a:pt x="11992" y="299340"/>
                    </a:cubicBezTo>
                    <a:lnTo>
                      <a:pt x="11992" y="95789"/>
                    </a:lnTo>
                    <a:cubicBezTo>
                      <a:pt x="5535" y="93026"/>
                      <a:pt x="0" y="86578"/>
                      <a:pt x="0" y="78289"/>
                    </a:cubicBezTo>
                    <a:lnTo>
                      <a:pt x="0" y="18421"/>
                    </a:lnTo>
                    <a:cubicBezTo>
                      <a:pt x="0" y="8289"/>
                      <a:pt x="8302" y="0"/>
                      <a:pt x="1845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85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0" name="îṡḷïḑé">
              <a:extLst>
                <a:ext uri="{FF2B5EF4-FFF2-40B4-BE49-F238E27FC236}">
                  <a16:creationId xmlns:a16="http://schemas.microsoft.com/office/drawing/2014/main" id="{7EBFB01D-F9D2-4D05-ADEF-8109C3CA3363}"/>
                </a:ext>
              </a:extLst>
            </p:cNvPr>
            <p:cNvSpPr/>
            <p:nvPr/>
          </p:nvSpPr>
          <p:spPr bwMode="auto">
            <a:xfrm>
              <a:off x="3156343" y="2327817"/>
              <a:ext cx="1431084" cy="39211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600" i="1" u="sng" kern="0"/>
                <a:t>02</a:t>
              </a:r>
              <a:endParaRPr lang="zh-CN" altLang="en-US" sz="1600" i="1" u="sng" kern="0" dirty="0"/>
            </a:p>
          </p:txBody>
        </p:sp>
        <p:sp>
          <p:nvSpPr>
            <p:cNvPr id="21" name="îşļiḍe">
              <a:extLst>
                <a:ext uri="{FF2B5EF4-FFF2-40B4-BE49-F238E27FC236}">
                  <a16:creationId xmlns:a16="http://schemas.microsoft.com/office/drawing/2014/main" id="{4DFBAF09-DCBD-4FB9-9911-CBAACEE73F62}"/>
                </a:ext>
              </a:extLst>
            </p:cNvPr>
            <p:cNvSpPr/>
            <p:nvPr/>
          </p:nvSpPr>
          <p:spPr bwMode="auto">
            <a:xfrm>
              <a:off x="5380456" y="2327817"/>
              <a:ext cx="1431084" cy="39211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600" i="1" u="sng" kern="0"/>
                <a:t>03</a:t>
              </a:r>
              <a:endParaRPr lang="zh-CN" altLang="en-US" sz="1600" i="1" u="sng" kern="0" dirty="0"/>
            </a:p>
          </p:txBody>
        </p:sp>
        <p:sp>
          <p:nvSpPr>
            <p:cNvPr id="22" name="ïṥḻîḍè">
              <a:extLst>
                <a:ext uri="{FF2B5EF4-FFF2-40B4-BE49-F238E27FC236}">
                  <a16:creationId xmlns:a16="http://schemas.microsoft.com/office/drawing/2014/main" id="{5EFB88C7-101D-479D-8B88-398A291E0A35}"/>
                </a:ext>
              </a:extLst>
            </p:cNvPr>
            <p:cNvSpPr/>
            <p:nvPr/>
          </p:nvSpPr>
          <p:spPr bwMode="auto">
            <a:xfrm>
              <a:off x="7604570" y="2327817"/>
              <a:ext cx="1431084" cy="39211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600" i="1" u="sng" kern="0"/>
                <a:t>04</a:t>
              </a:r>
              <a:endParaRPr lang="zh-CN" altLang="en-US" sz="1600" i="1" u="sng" kern="0" dirty="0"/>
            </a:p>
          </p:txBody>
        </p:sp>
      </p:grpSp>
      <p:pic>
        <p:nvPicPr>
          <p:cNvPr id="2" name="图片 1">
            <a:extLst>
              <a:ext uri="{FF2B5EF4-FFF2-40B4-BE49-F238E27FC236}">
                <a16:creationId xmlns:a16="http://schemas.microsoft.com/office/drawing/2014/main" id="{8F236289-2F7E-4EA1-8118-C2EC71033E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21064" y="2299318"/>
            <a:ext cx="2465056" cy="2218550"/>
          </a:xfrm>
          <a:prstGeom prst="rect">
            <a:avLst/>
          </a:prstGeom>
        </p:spPr>
      </p:pic>
      <p:pic>
        <p:nvPicPr>
          <p:cNvPr id="16" name="音频 15">
            <a:hlinkClick r:id="" action="ppaction://media"/>
            <a:extLst>
              <a:ext uri="{FF2B5EF4-FFF2-40B4-BE49-F238E27FC236}">
                <a16:creationId xmlns:a16="http://schemas.microsoft.com/office/drawing/2014/main" id="{2389A3AA-3F5C-43A5-800A-218D2DDF4A6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33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131"/>
    </mc:Choice>
    <mc:Fallback xmlns="">
      <p:transition spd="slow" advTm="713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6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940018" y="3127254"/>
            <a:ext cx="5419185" cy="895350"/>
          </a:xfrm>
        </p:spPr>
        <p:txBody>
          <a:bodyPr/>
          <a:lstStyle/>
          <a:p>
            <a:r>
              <a:rPr lang="zh-CN" altLang="en-US" dirty="0"/>
              <a:t>需求分析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067425" y="250861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F9082C7C-4131-4C95-8EF1-95B543B9BA17}"/>
              </a:ext>
            </a:extLst>
          </p:cNvPr>
          <p:cNvCxnSpPr>
            <a:cxnSpLocks/>
          </p:cNvCxnSpPr>
          <p:nvPr/>
        </p:nvCxnSpPr>
        <p:spPr>
          <a:xfrm>
            <a:off x="6048375" y="3536829"/>
            <a:ext cx="40825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音频 6">
            <a:hlinkClick r:id="" action="ppaction://media"/>
            <a:extLst>
              <a:ext uri="{FF2B5EF4-FFF2-40B4-BE49-F238E27FC236}">
                <a16:creationId xmlns:a16="http://schemas.microsoft.com/office/drawing/2014/main" id="{55E73CB7-4077-42D0-959C-DC16D47EB19B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23"/>
    </mc:Choice>
    <mc:Fallback xmlns="">
      <p:transition spd="slow" advTm="182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B1627EB-5C97-447A-A023-B3379226EA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需求分析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655ED35-7BBB-4B5E-ADDE-6D5E37608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0304602-5502-4108-BA1A-EE893A8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54200637-DB85-4FBC-9CCD-50B966947AB4}"/>
              </a:ext>
            </a:extLst>
          </p:cNvPr>
          <p:cNvSpPr txBox="1"/>
          <p:nvPr/>
        </p:nvSpPr>
        <p:spPr>
          <a:xfrm>
            <a:off x="790113" y="1447060"/>
            <a:ext cx="499812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        </a:t>
            </a:r>
            <a:r>
              <a:rPr lang="zh-CN" altLang="en-US" dirty="0"/>
              <a:t>随着互联网技术的发展与普及，传统的线下图书销售已经无法满足当今人类快节奏、低成本的消费需求，诸如“当当网”、“孔夫子旧书网”等新模式的在线图书网站代替书城、书局等传统销售方式，逐渐步入现代市民的生活。</a:t>
            </a:r>
            <a:endParaRPr lang="en-US" altLang="zh-CN" dirty="0"/>
          </a:p>
          <a:p>
            <a:r>
              <a:rPr lang="zh-CN" altLang="en-US" dirty="0"/>
              <a:t>        在这样一个电子商务盛行的时代，为扩大网上书城的知名度，提高客户量，创造可观的经济效益，不仅需要人性化的前端外观设计，同时也需要与后端高并发、系统化、模块化的数据库系统设计密不可分。因此，本数据库课程团队将会设计网上书店数据库</a:t>
            </a:r>
            <a:r>
              <a:rPr lang="en-US" altLang="zh-CN" dirty="0" err="1"/>
              <a:t>MyBookDB</a:t>
            </a:r>
            <a:r>
              <a:rPr lang="zh-CN" altLang="en-US" dirty="0"/>
              <a:t>，作为课程项目提交。</a:t>
            </a:r>
          </a:p>
        </p:txBody>
      </p:sp>
      <p:pic>
        <p:nvPicPr>
          <p:cNvPr id="30" name="图片 29">
            <a:extLst>
              <a:ext uri="{FF2B5EF4-FFF2-40B4-BE49-F238E27FC236}">
                <a16:creationId xmlns:a16="http://schemas.microsoft.com/office/drawing/2014/main" id="{C5FC1BE7-4B51-4AE1-87C3-0B9AAD21E4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8140" y="1463605"/>
            <a:ext cx="6172940" cy="3035029"/>
          </a:xfrm>
          <a:prstGeom prst="rect">
            <a:avLst/>
          </a:prstGeom>
        </p:spPr>
      </p:pic>
      <p:pic>
        <p:nvPicPr>
          <p:cNvPr id="7" name="音频 6">
            <a:hlinkClick r:id="" action="ppaction://media"/>
            <a:extLst>
              <a:ext uri="{FF2B5EF4-FFF2-40B4-BE49-F238E27FC236}">
                <a16:creationId xmlns:a16="http://schemas.microsoft.com/office/drawing/2014/main" id="{0A1DBDD6-97A6-4635-B815-903CB769BEF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15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792"/>
    </mc:Choice>
    <mc:Fallback xmlns="">
      <p:transition spd="slow" advTm="679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B1627EB-5C97-447A-A023-B3379226EA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需求分析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655ED35-7BBB-4B5E-ADDE-6D5E37608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0304602-5502-4108-BA1A-EE893A8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22382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768EFB9-DC3D-4548-B1E2-B078ECB52320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6" y="2022360"/>
            <a:ext cx="11013088" cy="3232380"/>
            <a:chOff x="669926" y="2022360"/>
            <a:chExt cx="11013088" cy="3232380"/>
          </a:xfrm>
        </p:grpSpPr>
        <p:grpSp>
          <p:nvGrpSpPr>
            <p:cNvPr id="6" name="iṥlïdé">
              <a:extLst>
                <a:ext uri="{FF2B5EF4-FFF2-40B4-BE49-F238E27FC236}">
                  <a16:creationId xmlns:a16="http://schemas.microsoft.com/office/drawing/2014/main" id="{4E552C50-1463-4FDB-9099-7E3854CABBBD}"/>
                </a:ext>
              </a:extLst>
            </p:cNvPr>
            <p:cNvGrpSpPr/>
            <p:nvPr/>
          </p:nvGrpSpPr>
          <p:grpSpPr>
            <a:xfrm>
              <a:off x="3905250" y="2022360"/>
              <a:ext cx="4381500" cy="3232380"/>
              <a:chOff x="3759199" y="1914613"/>
              <a:chExt cx="4673602" cy="3447874"/>
            </a:xfrm>
          </p:grpSpPr>
          <p:sp>
            <p:nvSpPr>
              <p:cNvPr id="21" name="ïş1idè">
                <a:extLst>
                  <a:ext uri="{FF2B5EF4-FFF2-40B4-BE49-F238E27FC236}">
                    <a16:creationId xmlns:a16="http://schemas.microsoft.com/office/drawing/2014/main" id="{38533568-8C85-4E69-955A-FD6539105239}"/>
                  </a:ext>
                </a:extLst>
              </p:cNvPr>
              <p:cNvSpPr/>
              <p:nvPr/>
            </p:nvSpPr>
            <p:spPr bwMode="auto">
              <a:xfrm>
                <a:off x="3759199" y="2840160"/>
                <a:ext cx="4673602" cy="2522327"/>
              </a:xfrm>
              <a:custGeom>
                <a:avLst/>
                <a:gdLst>
                  <a:gd name="connsiteX0" fmla="*/ 3095705 w 6088221"/>
                  <a:gd name="connsiteY0" fmla="*/ 140037 h 3285791"/>
                  <a:gd name="connsiteX1" fmla="*/ 1861127 w 6088221"/>
                  <a:gd name="connsiteY1" fmla="*/ 1384241 h 3285791"/>
                  <a:gd name="connsiteX2" fmla="*/ 3095705 w 6088221"/>
                  <a:gd name="connsiteY2" fmla="*/ 2628445 h 3285791"/>
                  <a:gd name="connsiteX3" fmla="*/ 4330283 w 6088221"/>
                  <a:gd name="connsiteY3" fmla="*/ 1384241 h 3285791"/>
                  <a:gd name="connsiteX4" fmla="*/ 3095705 w 6088221"/>
                  <a:gd name="connsiteY4" fmla="*/ 140037 h 3285791"/>
                  <a:gd name="connsiteX5" fmla="*/ 0 w 6088221"/>
                  <a:gd name="connsiteY5" fmla="*/ 0 h 3285791"/>
                  <a:gd name="connsiteX6" fmla="*/ 6088221 w 6088221"/>
                  <a:gd name="connsiteY6" fmla="*/ 0 h 3285791"/>
                  <a:gd name="connsiteX7" fmla="*/ 6088221 w 6088221"/>
                  <a:gd name="connsiteY7" fmla="*/ 2742471 h 3285791"/>
                  <a:gd name="connsiteX8" fmla="*/ 5546473 w 6088221"/>
                  <a:gd name="connsiteY8" fmla="*/ 3285791 h 3285791"/>
                  <a:gd name="connsiteX9" fmla="*/ 541749 w 6088221"/>
                  <a:gd name="connsiteY9" fmla="*/ 3285791 h 3285791"/>
                  <a:gd name="connsiteX10" fmla="*/ 0 w 6088221"/>
                  <a:gd name="connsiteY10" fmla="*/ 2742471 h 3285791"/>
                  <a:gd name="connsiteX11" fmla="*/ 0 w 6088221"/>
                  <a:gd name="connsiteY11" fmla="*/ 0 h 3285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88221" h="3285791">
                    <a:moveTo>
                      <a:pt x="3095705" y="140037"/>
                    </a:moveTo>
                    <a:cubicBezTo>
                      <a:pt x="2413866" y="140037"/>
                      <a:pt x="1861127" y="697086"/>
                      <a:pt x="1861127" y="1384241"/>
                    </a:cubicBezTo>
                    <a:cubicBezTo>
                      <a:pt x="1861127" y="2071396"/>
                      <a:pt x="2413866" y="2628445"/>
                      <a:pt x="3095705" y="2628445"/>
                    </a:cubicBezTo>
                    <a:cubicBezTo>
                      <a:pt x="3777544" y="2628445"/>
                      <a:pt x="4330283" y="2071396"/>
                      <a:pt x="4330283" y="1384241"/>
                    </a:cubicBezTo>
                    <a:cubicBezTo>
                      <a:pt x="4330283" y="697086"/>
                      <a:pt x="3777544" y="140037"/>
                      <a:pt x="3095705" y="140037"/>
                    </a:cubicBezTo>
                    <a:close/>
                    <a:moveTo>
                      <a:pt x="0" y="0"/>
                    </a:moveTo>
                    <a:lnTo>
                      <a:pt x="6088221" y="0"/>
                    </a:lnTo>
                    <a:cubicBezTo>
                      <a:pt x="6088221" y="0"/>
                      <a:pt x="6088221" y="0"/>
                      <a:pt x="6088221" y="2742471"/>
                    </a:cubicBezTo>
                    <a:cubicBezTo>
                      <a:pt x="6088221" y="3040004"/>
                      <a:pt x="5856043" y="3285791"/>
                      <a:pt x="5546473" y="3285791"/>
                    </a:cubicBezTo>
                    <a:cubicBezTo>
                      <a:pt x="5546473" y="3285791"/>
                      <a:pt x="5546473" y="3285791"/>
                      <a:pt x="541749" y="3285791"/>
                    </a:cubicBezTo>
                    <a:cubicBezTo>
                      <a:pt x="245077" y="3285791"/>
                      <a:pt x="0" y="3040004"/>
                      <a:pt x="0" y="2742471"/>
                    </a:cubicBezTo>
                    <a:cubicBezTo>
                      <a:pt x="0" y="2742471"/>
                      <a:pt x="0" y="2742471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22" name="íş1iďe">
                <a:extLst>
                  <a:ext uri="{FF2B5EF4-FFF2-40B4-BE49-F238E27FC236}">
                    <a16:creationId xmlns:a16="http://schemas.microsoft.com/office/drawing/2014/main" id="{B3A0CCBD-2D02-4D88-BF62-8D08F3CA6A65}"/>
                  </a:ext>
                </a:extLst>
              </p:cNvPr>
              <p:cNvSpPr/>
              <p:nvPr/>
            </p:nvSpPr>
            <p:spPr bwMode="auto">
              <a:xfrm>
                <a:off x="4234480" y="1914613"/>
                <a:ext cx="800474" cy="387730"/>
              </a:xfrm>
              <a:custGeom>
                <a:avLst/>
                <a:gdLst>
                  <a:gd name="T0" fmla="*/ 81 w 81"/>
                  <a:gd name="T1" fmla="*/ 26 h 39"/>
                  <a:gd name="T2" fmla="*/ 68 w 81"/>
                  <a:gd name="T3" fmla="*/ 39 h 39"/>
                  <a:gd name="T4" fmla="*/ 13 w 81"/>
                  <a:gd name="T5" fmla="*/ 39 h 39"/>
                  <a:gd name="T6" fmla="*/ 0 w 81"/>
                  <a:gd name="T7" fmla="*/ 26 h 39"/>
                  <a:gd name="T8" fmla="*/ 0 w 81"/>
                  <a:gd name="T9" fmla="*/ 14 h 39"/>
                  <a:gd name="T10" fmla="*/ 13 w 81"/>
                  <a:gd name="T11" fmla="*/ 0 h 39"/>
                  <a:gd name="T12" fmla="*/ 68 w 81"/>
                  <a:gd name="T13" fmla="*/ 0 h 39"/>
                  <a:gd name="T14" fmla="*/ 81 w 81"/>
                  <a:gd name="T15" fmla="*/ 14 h 39"/>
                  <a:gd name="T16" fmla="*/ 81 w 81"/>
                  <a:gd name="T17" fmla="*/ 2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39">
                    <a:moveTo>
                      <a:pt x="81" y="26"/>
                    </a:moveTo>
                    <a:cubicBezTo>
                      <a:pt x="81" y="33"/>
                      <a:pt x="75" y="39"/>
                      <a:pt x="68" y="39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6" y="39"/>
                      <a:pt x="0" y="33"/>
                      <a:pt x="0" y="26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5" y="0"/>
                      <a:pt x="81" y="6"/>
                      <a:pt x="81" y="14"/>
                    </a:cubicBezTo>
                    <a:lnTo>
                      <a:pt x="81" y="2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23" name="ïṡ1îdé">
                <a:extLst>
                  <a:ext uri="{FF2B5EF4-FFF2-40B4-BE49-F238E27FC236}">
                    <a16:creationId xmlns:a16="http://schemas.microsoft.com/office/drawing/2014/main" id="{73770403-EB35-4E96-A89E-0C70418AA8D9}"/>
                  </a:ext>
                </a:extLst>
              </p:cNvPr>
              <p:cNvSpPr/>
              <p:nvPr/>
            </p:nvSpPr>
            <p:spPr bwMode="auto">
              <a:xfrm>
                <a:off x="3759199" y="2135577"/>
                <a:ext cx="4673602" cy="704584"/>
              </a:xfrm>
              <a:custGeom>
                <a:avLst/>
                <a:gdLst>
                  <a:gd name="T0" fmla="*/ 472 w 472"/>
                  <a:gd name="T1" fmla="*/ 42 h 71"/>
                  <a:gd name="T2" fmla="*/ 430 w 472"/>
                  <a:gd name="T3" fmla="*/ 0 h 71"/>
                  <a:gd name="T4" fmla="*/ 42 w 472"/>
                  <a:gd name="T5" fmla="*/ 0 h 71"/>
                  <a:gd name="T6" fmla="*/ 0 w 472"/>
                  <a:gd name="T7" fmla="*/ 42 h 71"/>
                  <a:gd name="T8" fmla="*/ 0 w 472"/>
                  <a:gd name="T9" fmla="*/ 71 h 71"/>
                  <a:gd name="T10" fmla="*/ 472 w 472"/>
                  <a:gd name="T11" fmla="*/ 71 h 71"/>
                  <a:gd name="T12" fmla="*/ 472 w 472"/>
                  <a:gd name="T13" fmla="*/ 4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2" h="71">
                    <a:moveTo>
                      <a:pt x="472" y="42"/>
                    </a:moveTo>
                    <a:cubicBezTo>
                      <a:pt x="472" y="18"/>
                      <a:pt x="454" y="0"/>
                      <a:pt x="430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19" y="0"/>
                      <a:pt x="0" y="18"/>
                      <a:pt x="0" y="42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472" y="71"/>
                      <a:pt x="472" y="71"/>
                      <a:pt x="472" y="71"/>
                    </a:cubicBezTo>
                    <a:lnTo>
                      <a:pt x="472" y="4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24" name="iSļiḋè">
                <a:extLst>
                  <a:ext uri="{FF2B5EF4-FFF2-40B4-BE49-F238E27FC236}">
                    <a16:creationId xmlns:a16="http://schemas.microsoft.com/office/drawing/2014/main" id="{9344AE4E-23FE-4BB4-8794-5628DF8DBB8A}"/>
                  </a:ext>
                </a:extLst>
              </p:cNvPr>
              <p:cNvSpPr/>
              <p:nvPr/>
            </p:nvSpPr>
            <p:spPr bwMode="auto">
              <a:xfrm>
                <a:off x="7273781" y="2302343"/>
                <a:ext cx="754613" cy="366884"/>
              </a:xfrm>
              <a:custGeom>
                <a:avLst/>
                <a:gdLst>
                  <a:gd name="T0" fmla="*/ 76 w 76"/>
                  <a:gd name="T1" fmla="*/ 24 h 37"/>
                  <a:gd name="T2" fmla="*/ 64 w 76"/>
                  <a:gd name="T3" fmla="*/ 37 h 37"/>
                  <a:gd name="T4" fmla="*/ 12 w 76"/>
                  <a:gd name="T5" fmla="*/ 37 h 37"/>
                  <a:gd name="T6" fmla="*/ 0 w 76"/>
                  <a:gd name="T7" fmla="*/ 24 h 37"/>
                  <a:gd name="T8" fmla="*/ 0 w 76"/>
                  <a:gd name="T9" fmla="*/ 13 h 37"/>
                  <a:gd name="T10" fmla="*/ 12 w 76"/>
                  <a:gd name="T11" fmla="*/ 0 h 37"/>
                  <a:gd name="T12" fmla="*/ 64 w 76"/>
                  <a:gd name="T13" fmla="*/ 0 h 37"/>
                  <a:gd name="T14" fmla="*/ 76 w 76"/>
                  <a:gd name="T15" fmla="*/ 13 h 37"/>
                  <a:gd name="T16" fmla="*/ 76 w 76"/>
                  <a:gd name="T17" fmla="*/ 2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37">
                    <a:moveTo>
                      <a:pt x="76" y="24"/>
                    </a:moveTo>
                    <a:cubicBezTo>
                      <a:pt x="76" y="31"/>
                      <a:pt x="71" y="37"/>
                      <a:pt x="64" y="37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5" y="37"/>
                      <a:pt x="0" y="31"/>
                      <a:pt x="0" y="24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5" y="0"/>
                      <a:pt x="12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71" y="0"/>
                      <a:pt x="76" y="6"/>
                      <a:pt x="76" y="13"/>
                    </a:cubicBezTo>
                    <a:lnTo>
                      <a:pt x="76" y="2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25" name="îṡľíde">
                <a:extLst>
                  <a:ext uri="{FF2B5EF4-FFF2-40B4-BE49-F238E27FC236}">
                    <a16:creationId xmlns:a16="http://schemas.microsoft.com/office/drawing/2014/main" id="{9EA5BB2A-DB19-4F89-83D3-9FB8542B0CAD}"/>
                  </a:ext>
                </a:extLst>
              </p:cNvPr>
              <p:cNvSpPr/>
              <p:nvPr/>
            </p:nvSpPr>
            <p:spPr bwMode="auto">
              <a:xfrm>
                <a:off x="4221973" y="2302343"/>
                <a:ext cx="762952" cy="366884"/>
              </a:xfrm>
              <a:custGeom>
                <a:avLst/>
                <a:gdLst>
                  <a:gd name="T0" fmla="*/ 77 w 77"/>
                  <a:gd name="T1" fmla="*/ 24 h 37"/>
                  <a:gd name="T2" fmla="*/ 64 w 77"/>
                  <a:gd name="T3" fmla="*/ 37 h 37"/>
                  <a:gd name="T4" fmla="*/ 13 w 77"/>
                  <a:gd name="T5" fmla="*/ 37 h 37"/>
                  <a:gd name="T6" fmla="*/ 0 w 77"/>
                  <a:gd name="T7" fmla="*/ 24 h 37"/>
                  <a:gd name="T8" fmla="*/ 0 w 77"/>
                  <a:gd name="T9" fmla="*/ 13 h 37"/>
                  <a:gd name="T10" fmla="*/ 13 w 77"/>
                  <a:gd name="T11" fmla="*/ 0 h 37"/>
                  <a:gd name="T12" fmla="*/ 64 w 77"/>
                  <a:gd name="T13" fmla="*/ 0 h 37"/>
                  <a:gd name="T14" fmla="*/ 77 w 77"/>
                  <a:gd name="T15" fmla="*/ 13 h 37"/>
                  <a:gd name="T16" fmla="*/ 77 w 77"/>
                  <a:gd name="T17" fmla="*/ 2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37">
                    <a:moveTo>
                      <a:pt x="77" y="24"/>
                    </a:moveTo>
                    <a:cubicBezTo>
                      <a:pt x="77" y="31"/>
                      <a:pt x="71" y="37"/>
                      <a:pt x="64" y="37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6" y="37"/>
                      <a:pt x="0" y="31"/>
                      <a:pt x="0" y="24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71" y="0"/>
                      <a:pt x="77" y="6"/>
                      <a:pt x="77" y="13"/>
                    </a:cubicBezTo>
                    <a:lnTo>
                      <a:pt x="77" y="2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26" name="îŝļîḓè">
                <a:extLst>
                  <a:ext uri="{FF2B5EF4-FFF2-40B4-BE49-F238E27FC236}">
                    <a16:creationId xmlns:a16="http://schemas.microsoft.com/office/drawing/2014/main" id="{5286B998-3286-45E7-B1DC-ADAD8B4BF74D}"/>
                  </a:ext>
                </a:extLst>
              </p:cNvPr>
              <p:cNvSpPr/>
              <p:nvPr/>
            </p:nvSpPr>
            <p:spPr bwMode="auto">
              <a:xfrm>
                <a:off x="4889506" y="2672311"/>
                <a:ext cx="2412988" cy="2428606"/>
              </a:xfrm>
              <a:custGeom>
                <a:avLst/>
                <a:gdLst>
                  <a:gd name="connsiteX0" fmla="*/ 1678198 w 3356398"/>
                  <a:gd name="connsiteY0" fmla="*/ 482087 h 3378120"/>
                  <a:gd name="connsiteX1" fmla="*/ 478987 w 3356398"/>
                  <a:gd name="connsiteY1" fmla="*/ 1689059 h 3378120"/>
                  <a:gd name="connsiteX2" fmla="*/ 1678198 w 3356398"/>
                  <a:gd name="connsiteY2" fmla="*/ 2896031 h 3378120"/>
                  <a:gd name="connsiteX3" fmla="*/ 2877409 w 3356398"/>
                  <a:gd name="connsiteY3" fmla="*/ 1689059 h 3378120"/>
                  <a:gd name="connsiteX4" fmla="*/ 1678198 w 3356398"/>
                  <a:gd name="connsiteY4" fmla="*/ 482087 h 3378120"/>
                  <a:gd name="connsiteX5" fmla="*/ 1678199 w 3356398"/>
                  <a:gd name="connsiteY5" fmla="*/ 0 h 3378120"/>
                  <a:gd name="connsiteX6" fmla="*/ 3356398 w 3356398"/>
                  <a:gd name="connsiteY6" fmla="*/ 1689060 h 3378120"/>
                  <a:gd name="connsiteX7" fmla="*/ 1678199 w 3356398"/>
                  <a:gd name="connsiteY7" fmla="*/ 3378120 h 3378120"/>
                  <a:gd name="connsiteX8" fmla="*/ 0 w 3356398"/>
                  <a:gd name="connsiteY8" fmla="*/ 1689060 h 3378120"/>
                  <a:gd name="connsiteX9" fmla="*/ 1678199 w 3356398"/>
                  <a:gd name="connsiteY9" fmla="*/ 0 h 3378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56398" h="3378120">
                    <a:moveTo>
                      <a:pt x="1678198" y="482087"/>
                    </a:moveTo>
                    <a:cubicBezTo>
                      <a:pt x="1015892" y="482087"/>
                      <a:pt x="478987" y="1022467"/>
                      <a:pt x="478987" y="1689059"/>
                    </a:cubicBezTo>
                    <a:cubicBezTo>
                      <a:pt x="478987" y="2355651"/>
                      <a:pt x="1015892" y="2896031"/>
                      <a:pt x="1678198" y="2896031"/>
                    </a:cubicBezTo>
                    <a:cubicBezTo>
                      <a:pt x="2340504" y="2896031"/>
                      <a:pt x="2877409" y="2355651"/>
                      <a:pt x="2877409" y="1689059"/>
                    </a:cubicBezTo>
                    <a:cubicBezTo>
                      <a:pt x="2877409" y="1022467"/>
                      <a:pt x="2340504" y="482087"/>
                      <a:pt x="1678198" y="482087"/>
                    </a:cubicBezTo>
                    <a:close/>
                    <a:moveTo>
                      <a:pt x="1678199" y="0"/>
                    </a:moveTo>
                    <a:cubicBezTo>
                      <a:pt x="2605043" y="0"/>
                      <a:pt x="3356398" y="756218"/>
                      <a:pt x="3356398" y="1689060"/>
                    </a:cubicBezTo>
                    <a:cubicBezTo>
                      <a:pt x="3356398" y="2621902"/>
                      <a:pt x="2605043" y="3378120"/>
                      <a:pt x="1678199" y="3378120"/>
                    </a:cubicBezTo>
                    <a:cubicBezTo>
                      <a:pt x="751355" y="3378120"/>
                      <a:pt x="0" y="2621902"/>
                      <a:pt x="0" y="1689060"/>
                    </a:cubicBezTo>
                    <a:cubicBezTo>
                      <a:pt x="0" y="756218"/>
                      <a:pt x="751355" y="0"/>
                      <a:pt x="1678199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27" name="işḷïde">
                <a:extLst>
                  <a:ext uri="{FF2B5EF4-FFF2-40B4-BE49-F238E27FC236}">
                    <a16:creationId xmlns:a16="http://schemas.microsoft.com/office/drawing/2014/main" id="{B8A830B5-E2CE-4F42-9CBB-71F807BD4349}"/>
                  </a:ext>
                </a:extLst>
              </p:cNvPr>
              <p:cNvSpPr/>
              <p:nvPr/>
            </p:nvSpPr>
            <p:spPr bwMode="auto">
              <a:xfrm>
                <a:off x="7461391" y="2990249"/>
                <a:ext cx="237641" cy="245978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28" name="íŝ1îďe">
                <a:extLst>
                  <a:ext uri="{FF2B5EF4-FFF2-40B4-BE49-F238E27FC236}">
                    <a16:creationId xmlns:a16="http://schemas.microsoft.com/office/drawing/2014/main" id="{DD61A8AC-B482-494E-90BF-D3EBB4347596}"/>
                  </a:ext>
                </a:extLst>
              </p:cNvPr>
              <p:cNvSpPr/>
              <p:nvPr/>
            </p:nvSpPr>
            <p:spPr bwMode="auto">
              <a:xfrm>
                <a:off x="7461391" y="3327949"/>
                <a:ext cx="237641" cy="245978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IN"/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6C22C309-B07A-4A4D-82B9-B106761D0EB0}"/>
                </a:ext>
              </a:extLst>
            </p:cNvPr>
            <p:cNvCxnSpPr>
              <a:stCxn id="26" idx="8"/>
            </p:cNvCxnSpPr>
            <p:nvPr/>
          </p:nvCxnSpPr>
          <p:spPr>
            <a:xfrm flipH="1">
              <a:off x="669926" y="3871110"/>
              <a:ext cx="429498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箭头连接符 7">
              <a:extLst>
                <a:ext uri="{FF2B5EF4-FFF2-40B4-BE49-F238E27FC236}">
                  <a16:creationId xmlns:a16="http://schemas.microsoft.com/office/drawing/2014/main" id="{00530E2A-2864-4EAC-A6E6-153FCBC34440}"/>
                </a:ext>
              </a:extLst>
            </p:cNvPr>
            <p:cNvCxnSpPr>
              <a:stCxn id="26" idx="6"/>
            </p:cNvCxnSpPr>
            <p:nvPr/>
          </p:nvCxnSpPr>
          <p:spPr>
            <a:xfrm>
              <a:off x="7227087" y="3871110"/>
              <a:ext cx="4293401" cy="0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íśḷîďê">
              <a:extLst>
                <a:ext uri="{FF2B5EF4-FFF2-40B4-BE49-F238E27FC236}">
                  <a16:creationId xmlns:a16="http://schemas.microsoft.com/office/drawing/2014/main" id="{432F9EAF-3F5E-45CB-91BF-6191019F8523}"/>
                </a:ext>
              </a:extLst>
            </p:cNvPr>
            <p:cNvGrpSpPr/>
            <p:nvPr/>
          </p:nvGrpSpPr>
          <p:grpSpPr>
            <a:xfrm>
              <a:off x="673100" y="2669227"/>
              <a:ext cx="2813050" cy="1126258"/>
              <a:chOff x="8763000" y="5055006"/>
              <a:chExt cx="2755900" cy="1126258"/>
            </a:xfrm>
          </p:grpSpPr>
          <p:sp>
            <p:nvSpPr>
              <p:cNvPr id="19" name="ïśļîde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8763000" y="5448266"/>
                <a:ext cx="2755900" cy="73299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zh-CN" dirty="0"/>
                  <a:t>书号、书名、作者、定价、出版社、出版时间、版本号</a:t>
                </a:r>
                <a:r>
                  <a:rPr lang="zh-CN" altLang="en-US" dirty="0"/>
                  <a:t>，</a:t>
                </a:r>
                <a:r>
                  <a:rPr lang="zh-CN" altLang="zh-CN" dirty="0"/>
                  <a:t>作者</a:t>
                </a:r>
                <a:r>
                  <a:rPr lang="en-US" altLang="zh-CN" dirty="0"/>
                  <a:t>-</a:t>
                </a:r>
                <a:r>
                  <a:rPr lang="zh-CN" altLang="zh-CN" dirty="0"/>
                  <a:t>译者信息</a:t>
                </a:r>
                <a:r>
                  <a:rPr lang="zh-CN" altLang="en-US" dirty="0"/>
                  <a:t>，分类信息，</a:t>
                </a:r>
                <a:r>
                  <a:rPr lang="zh-CN" altLang="zh-CN" dirty="0"/>
                  <a:t>出版社的信息</a:t>
                </a:r>
                <a:r>
                  <a:rPr lang="zh-CN" altLang="en-US" dirty="0"/>
                  <a:t>。</a:t>
                </a:r>
                <a:endParaRPr lang="en-US" altLang="zh-CN" sz="1100" dirty="0"/>
              </a:p>
            </p:txBody>
          </p:sp>
          <p:sp>
            <p:nvSpPr>
              <p:cNvPr id="20" name="ïšḷîḍê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8763000" y="5055006"/>
                <a:ext cx="2755900" cy="39326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b="1" i="1" dirty="0"/>
                  <a:t>01.</a:t>
                </a:r>
                <a:r>
                  <a:rPr lang="zh-CN" altLang="en-US" b="1" i="1" dirty="0"/>
                  <a:t>图书信息</a:t>
                </a:r>
                <a:endParaRPr lang="en-US" altLang="zh-CN" b="1" i="1" dirty="0"/>
              </a:p>
            </p:txBody>
          </p:sp>
        </p:grpSp>
        <p:grpSp>
          <p:nvGrpSpPr>
            <p:cNvPr id="10" name="íṡ1iḋè">
              <a:extLst>
                <a:ext uri="{FF2B5EF4-FFF2-40B4-BE49-F238E27FC236}">
                  <a16:creationId xmlns:a16="http://schemas.microsoft.com/office/drawing/2014/main" id="{D34D427F-4291-4162-B8A9-2A6249312BC2}"/>
                </a:ext>
              </a:extLst>
            </p:cNvPr>
            <p:cNvGrpSpPr/>
            <p:nvPr/>
          </p:nvGrpSpPr>
          <p:grpSpPr>
            <a:xfrm>
              <a:off x="8705850" y="2669227"/>
              <a:ext cx="2977164" cy="1002992"/>
              <a:chOff x="8763000" y="5055006"/>
              <a:chExt cx="2916680" cy="1002992"/>
            </a:xfrm>
          </p:grpSpPr>
          <p:sp>
            <p:nvSpPr>
              <p:cNvPr id="17" name="ïşḻïḍe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9087881" y="5416547"/>
                <a:ext cx="2591799" cy="64145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zh-CN" altLang="zh-CN" dirty="0"/>
                  <a:t>订单信息、销售记录（流水号、日期、会员编号、</a:t>
                </a:r>
                <a:r>
                  <a:rPr lang="zh-CN" altLang="en-US" dirty="0"/>
                  <a:t>书</a:t>
                </a:r>
                <a:r>
                  <a:rPr lang="zh-CN" altLang="zh-CN" dirty="0"/>
                  <a:t>号、价格、数量、目的地）</a:t>
                </a:r>
                <a:r>
                  <a:rPr lang="zh-CN" altLang="en-US" dirty="0"/>
                  <a:t>，</a:t>
                </a:r>
                <a:r>
                  <a:rPr lang="zh-CN" altLang="zh-CN" b="1" dirty="0"/>
                  <a:t>管理员账户</a:t>
                </a:r>
                <a:endParaRPr lang="en-US" altLang="zh-CN" sz="1100" b="1" dirty="0"/>
              </a:p>
            </p:txBody>
          </p:sp>
          <p:sp>
            <p:nvSpPr>
              <p:cNvPr id="18" name="í$ḷîḍe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8763000" y="5055006"/>
                <a:ext cx="2755900" cy="39326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b="1" i="1" dirty="0"/>
                  <a:t>02.</a:t>
                </a:r>
                <a:r>
                  <a:rPr lang="zh-CN" altLang="en-US" b="1" i="1" dirty="0"/>
                  <a:t>管理员界面</a:t>
                </a:r>
                <a:endParaRPr lang="en-US" altLang="zh-CN" b="1" i="1" dirty="0"/>
              </a:p>
            </p:txBody>
          </p:sp>
        </p:grpSp>
        <p:grpSp>
          <p:nvGrpSpPr>
            <p:cNvPr id="11" name="íṥļïḋè">
              <a:extLst>
                <a:ext uri="{FF2B5EF4-FFF2-40B4-BE49-F238E27FC236}">
                  <a16:creationId xmlns:a16="http://schemas.microsoft.com/office/drawing/2014/main" id="{F708B0FA-1BE7-458C-AD60-AF058279C5AC}"/>
                </a:ext>
              </a:extLst>
            </p:cNvPr>
            <p:cNvGrpSpPr/>
            <p:nvPr/>
          </p:nvGrpSpPr>
          <p:grpSpPr>
            <a:xfrm>
              <a:off x="673100" y="4069995"/>
              <a:ext cx="2813050" cy="1000125"/>
              <a:chOff x="8763000" y="5055006"/>
              <a:chExt cx="2755900" cy="1000125"/>
            </a:xfrm>
          </p:grpSpPr>
          <p:sp>
            <p:nvSpPr>
              <p:cNvPr id="15" name="ï$ḻîḓé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8763000" y="5448266"/>
                <a:ext cx="2755900" cy="60686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zh-CN" dirty="0"/>
                  <a:t>用户名、姓名、联系电话、</a:t>
                </a:r>
                <a:r>
                  <a:rPr lang="en-US" altLang="zh-CN" dirty="0"/>
                  <a:t>e-mail</a:t>
                </a:r>
                <a:r>
                  <a:rPr lang="zh-CN" altLang="zh-CN" dirty="0"/>
                  <a:t>、地址、密码</a:t>
                </a:r>
                <a:r>
                  <a:rPr lang="zh-CN" altLang="en-US" dirty="0"/>
                  <a:t>，</a:t>
                </a:r>
                <a:r>
                  <a:rPr lang="zh-CN" altLang="zh-CN" b="1" dirty="0"/>
                  <a:t>分为会员与非会员两种类型</a:t>
                </a:r>
                <a:r>
                  <a:rPr lang="zh-CN" altLang="en-US" b="1" dirty="0"/>
                  <a:t>，</a:t>
                </a:r>
                <a:r>
                  <a:rPr lang="zh-CN" altLang="zh-CN" b="1" dirty="0"/>
                  <a:t>筛选器分类查找</a:t>
                </a:r>
                <a:r>
                  <a:rPr lang="zh-CN" altLang="en-US" b="1" dirty="0"/>
                  <a:t>，</a:t>
                </a:r>
                <a:r>
                  <a:rPr lang="zh-CN" altLang="zh-CN" b="1" dirty="0"/>
                  <a:t>购物车</a:t>
                </a:r>
                <a:endParaRPr lang="en-US" altLang="zh-CN" sz="1100" b="1" dirty="0"/>
              </a:p>
            </p:txBody>
          </p:sp>
          <p:sp>
            <p:nvSpPr>
              <p:cNvPr id="16" name="íSľíḍê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8763000" y="5055006"/>
                <a:ext cx="2755900" cy="39326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b="1" i="1" dirty="0"/>
                  <a:t>03.</a:t>
                </a:r>
                <a:r>
                  <a:rPr lang="zh-CN" altLang="en-US" b="1" i="1" dirty="0"/>
                  <a:t>用户界面</a:t>
                </a:r>
                <a:endParaRPr lang="en-US" altLang="zh-CN" b="1" i="1" dirty="0"/>
              </a:p>
            </p:txBody>
          </p:sp>
        </p:grpSp>
        <p:grpSp>
          <p:nvGrpSpPr>
            <p:cNvPr id="12" name="íşľïďê">
              <a:extLst>
                <a:ext uri="{FF2B5EF4-FFF2-40B4-BE49-F238E27FC236}">
                  <a16:creationId xmlns:a16="http://schemas.microsoft.com/office/drawing/2014/main" id="{FF2F6953-0AFD-4F15-868F-C79BCF13A5B2}"/>
                </a:ext>
              </a:extLst>
            </p:cNvPr>
            <p:cNvGrpSpPr/>
            <p:nvPr/>
          </p:nvGrpSpPr>
          <p:grpSpPr>
            <a:xfrm>
              <a:off x="8705850" y="4069995"/>
              <a:ext cx="2977164" cy="1000125"/>
              <a:chOff x="8763000" y="5055006"/>
              <a:chExt cx="2916680" cy="1000125"/>
            </a:xfrm>
          </p:grpSpPr>
          <p:sp>
            <p:nvSpPr>
              <p:cNvPr id="13" name="îSḷíḓê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8763000" y="5448266"/>
                <a:ext cx="2916680" cy="60686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zh-CN" altLang="zh-CN" dirty="0"/>
                  <a:t>有趣的主页</a:t>
                </a:r>
                <a:r>
                  <a:rPr lang="zh-CN" altLang="en-US" dirty="0"/>
                  <a:t>，</a:t>
                </a:r>
                <a:r>
                  <a:rPr lang="zh-CN" altLang="zh-CN" dirty="0"/>
                  <a:t>新书推荐</a:t>
                </a:r>
                <a:r>
                  <a:rPr lang="zh-CN" altLang="en-US" dirty="0"/>
                  <a:t>，</a:t>
                </a:r>
                <a:r>
                  <a:rPr lang="zh-CN" altLang="zh-CN" dirty="0"/>
                  <a:t>个性化推荐</a:t>
                </a:r>
                <a:endParaRPr lang="en-US" altLang="zh-CN" sz="1100" dirty="0"/>
              </a:p>
            </p:txBody>
          </p:sp>
          <p:sp>
            <p:nvSpPr>
              <p:cNvPr id="14" name="îṥľiḓe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8763000" y="5055006"/>
                <a:ext cx="2755900" cy="39326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b="1" i="1" dirty="0"/>
                  <a:t>04.</a:t>
                </a:r>
                <a:r>
                  <a:rPr lang="zh-CN" altLang="en-US" b="1" i="1" dirty="0"/>
                  <a:t>其他</a:t>
                </a:r>
                <a:endParaRPr lang="en-US" altLang="zh-CN" b="1" i="1" dirty="0"/>
              </a:p>
            </p:txBody>
          </p:sp>
        </p:grpSp>
      </p:grpSp>
      <p:pic>
        <p:nvPicPr>
          <p:cNvPr id="31" name="音频 30">
            <a:hlinkClick r:id="" action="ppaction://media"/>
            <a:extLst>
              <a:ext uri="{FF2B5EF4-FFF2-40B4-BE49-F238E27FC236}">
                <a16:creationId xmlns:a16="http://schemas.microsoft.com/office/drawing/2014/main" id="{5465DB01-3523-4BD3-BD56-AF966024C35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03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085"/>
    </mc:Choice>
    <mc:Fallback xmlns="">
      <p:transition spd="slow" advTm="1208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1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型图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数据流图</a:t>
            </a:r>
            <a:endParaRPr lang="en-US" altLang="zh-CN" dirty="0"/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数据字典</a:t>
            </a:r>
            <a:endParaRPr lang="en-US" altLang="zh-CN" dirty="0"/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E-R</a:t>
            </a:r>
            <a:r>
              <a:rPr lang="zh-CN" altLang="en-US" dirty="0"/>
              <a:t>图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067425" y="250861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F9082C7C-4131-4C95-8EF1-95B543B9BA17}"/>
              </a:ext>
            </a:extLst>
          </p:cNvPr>
          <p:cNvCxnSpPr>
            <a:cxnSpLocks/>
          </p:cNvCxnSpPr>
          <p:nvPr/>
        </p:nvCxnSpPr>
        <p:spPr>
          <a:xfrm>
            <a:off x="6048375" y="3536829"/>
            <a:ext cx="40825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音频 6">
            <a:hlinkClick r:id="" action="ppaction://media"/>
            <a:extLst>
              <a:ext uri="{FF2B5EF4-FFF2-40B4-BE49-F238E27FC236}">
                <a16:creationId xmlns:a16="http://schemas.microsoft.com/office/drawing/2014/main" id="{1787F405-3AF2-449B-A2F2-B0A514AB320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39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98"/>
    </mc:Choice>
    <mc:Fallback xmlns="">
      <p:transition spd="slow" advTm="629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FBB155-B344-4AEB-9C24-872568730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流图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9FF5221-56B7-4DEC-9909-53C77C19D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A67CD55-7D55-46BC-AA65-C485061B7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47" name="图片 46" descr="图示&#10;&#10;描述已自动生成">
            <a:extLst>
              <a:ext uri="{FF2B5EF4-FFF2-40B4-BE49-F238E27FC236}">
                <a16:creationId xmlns:a16="http://schemas.microsoft.com/office/drawing/2014/main" id="{3A28D74E-7919-4347-892F-073227CF34E3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5388" y="1316091"/>
            <a:ext cx="6871317" cy="431454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音频 6">
            <a:hlinkClick r:id="" action="ppaction://media"/>
            <a:extLst>
              <a:ext uri="{FF2B5EF4-FFF2-40B4-BE49-F238E27FC236}">
                <a16:creationId xmlns:a16="http://schemas.microsoft.com/office/drawing/2014/main" id="{0E71A136-2E22-4A0D-B6CF-DD456AF89CD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20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8150"/>
    </mc:Choice>
    <mc:Fallback xmlns="">
      <p:transition spd="slow" advTm="2815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C395F2B-64BC-4622-A97C-A7957E987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字典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B6AB6B5-912F-4F1C-A3AF-38E4B94C86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A652C74-6472-49E8-B3DD-18CC86685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5" name="22204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C3FBF86-5247-4338-83A8-F531466011F6}"/>
              </a:ext>
            </a:extLst>
          </p:cNvPr>
          <p:cNvGrpSpPr>
            <a:grpSpLocks noChangeAspect="1"/>
          </p:cNvGrpSpPr>
          <p:nvPr/>
        </p:nvGrpSpPr>
        <p:grpSpPr>
          <a:xfrm>
            <a:off x="462988" y="1580254"/>
            <a:ext cx="10996727" cy="4518706"/>
            <a:chOff x="462988" y="1580254"/>
            <a:chExt cx="10996727" cy="4518706"/>
          </a:xfrm>
        </p:grpSpPr>
        <p:sp>
          <p:nvSpPr>
            <p:cNvPr id="6" name="iSļïḍe">
              <a:extLst>
                <a:ext uri="{FF2B5EF4-FFF2-40B4-BE49-F238E27FC236}">
                  <a16:creationId xmlns:a16="http://schemas.microsoft.com/office/drawing/2014/main" id="{DF813954-941F-4D5C-843A-E29C89090CD6}"/>
                </a:ext>
              </a:extLst>
            </p:cNvPr>
            <p:cNvSpPr/>
            <p:nvPr/>
          </p:nvSpPr>
          <p:spPr bwMode="auto">
            <a:xfrm>
              <a:off x="4488690" y="4540515"/>
              <a:ext cx="532762" cy="494587"/>
            </a:xfrm>
            <a:custGeom>
              <a:avLst/>
              <a:gdLst>
                <a:gd name="connsiteX0" fmla="*/ 331621 w 608704"/>
                <a:gd name="connsiteY0" fmla="*/ 496781 h 565088"/>
                <a:gd name="connsiteX1" fmla="*/ 441006 w 608704"/>
                <a:gd name="connsiteY1" fmla="*/ 496781 h 565088"/>
                <a:gd name="connsiteX2" fmla="*/ 446506 w 608704"/>
                <a:gd name="connsiteY2" fmla="*/ 497758 h 565088"/>
                <a:gd name="connsiteX3" fmla="*/ 454289 w 608704"/>
                <a:gd name="connsiteY3" fmla="*/ 504273 h 565088"/>
                <a:gd name="connsiteX4" fmla="*/ 456526 w 608704"/>
                <a:gd name="connsiteY4" fmla="*/ 512276 h 565088"/>
                <a:gd name="connsiteX5" fmla="*/ 456526 w 608704"/>
                <a:gd name="connsiteY5" fmla="*/ 517999 h 565088"/>
                <a:gd name="connsiteX6" fmla="*/ 456526 w 608704"/>
                <a:gd name="connsiteY6" fmla="*/ 549547 h 565088"/>
                <a:gd name="connsiteX7" fmla="*/ 441006 w 608704"/>
                <a:gd name="connsiteY7" fmla="*/ 565088 h 565088"/>
                <a:gd name="connsiteX8" fmla="*/ 331621 w 608704"/>
                <a:gd name="connsiteY8" fmla="*/ 565088 h 565088"/>
                <a:gd name="connsiteX9" fmla="*/ 316101 w 608704"/>
                <a:gd name="connsiteY9" fmla="*/ 549547 h 565088"/>
                <a:gd name="connsiteX10" fmla="*/ 316101 w 608704"/>
                <a:gd name="connsiteY10" fmla="*/ 517627 h 565088"/>
                <a:gd name="connsiteX11" fmla="*/ 316101 w 608704"/>
                <a:gd name="connsiteY11" fmla="*/ 512276 h 565088"/>
                <a:gd name="connsiteX12" fmla="*/ 318525 w 608704"/>
                <a:gd name="connsiteY12" fmla="*/ 503947 h 565088"/>
                <a:gd name="connsiteX13" fmla="*/ 326401 w 608704"/>
                <a:gd name="connsiteY13" fmla="*/ 497712 h 565088"/>
                <a:gd name="connsiteX14" fmla="*/ 331621 w 608704"/>
                <a:gd name="connsiteY14" fmla="*/ 496781 h 565088"/>
                <a:gd name="connsiteX15" fmla="*/ 166349 w 608704"/>
                <a:gd name="connsiteY15" fmla="*/ 496640 h 565088"/>
                <a:gd name="connsiteX16" fmla="*/ 275680 w 608704"/>
                <a:gd name="connsiteY16" fmla="*/ 496640 h 565088"/>
                <a:gd name="connsiteX17" fmla="*/ 282109 w 608704"/>
                <a:gd name="connsiteY17" fmla="*/ 498083 h 565088"/>
                <a:gd name="connsiteX18" fmla="*/ 289515 w 608704"/>
                <a:gd name="connsiteY18" fmla="*/ 505202 h 565088"/>
                <a:gd name="connsiteX19" fmla="*/ 291192 w 608704"/>
                <a:gd name="connsiteY19" fmla="*/ 512181 h 565088"/>
                <a:gd name="connsiteX20" fmla="*/ 291192 w 608704"/>
                <a:gd name="connsiteY20" fmla="*/ 518928 h 565088"/>
                <a:gd name="connsiteX21" fmla="*/ 291192 w 608704"/>
                <a:gd name="connsiteY21" fmla="*/ 549453 h 565088"/>
                <a:gd name="connsiteX22" fmla="*/ 275680 w 608704"/>
                <a:gd name="connsiteY22" fmla="*/ 564947 h 565088"/>
                <a:gd name="connsiteX23" fmla="*/ 166349 w 608704"/>
                <a:gd name="connsiteY23" fmla="*/ 564947 h 565088"/>
                <a:gd name="connsiteX24" fmla="*/ 150884 w 608704"/>
                <a:gd name="connsiteY24" fmla="*/ 549406 h 565088"/>
                <a:gd name="connsiteX25" fmla="*/ 150884 w 608704"/>
                <a:gd name="connsiteY25" fmla="*/ 516276 h 565088"/>
                <a:gd name="connsiteX26" fmla="*/ 150884 w 608704"/>
                <a:gd name="connsiteY26" fmla="*/ 512181 h 565088"/>
                <a:gd name="connsiteX27" fmla="*/ 153912 w 608704"/>
                <a:gd name="connsiteY27" fmla="*/ 502922 h 565088"/>
                <a:gd name="connsiteX28" fmla="*/ 162064 w 608704"/>
                <a:gd name="connsiteY28" fmla="*/ 497292 h 565088"/>
                <a:gd name="connsiteX29" fmla="*/ 166349 w 608704"/>
                <a:gd name="connsiteY29" fmla="*/ 496640 h 565088"/>
                <a:gd name="connsiteX30" fmla="*/ 560321 w 608704"/>
                <a:gd name="connsiteY30" fmla="*/ 169851 h 565088"/>
                <a:gd name="connsiteX31" fmla="*/ 572108 w 608704"/>
                <a:gd name="connsiteY31" fmla="*/ 175247 h 565088"/>
                <a:gd name="connsiteX32" fmla="*/ 577884 w 608704"/>
                <a:gd name="connsiteY32" fmla="*/ 346298 h 565088"/>
                <a:gd name="connsiteX33" fmla="*/ 535489 w 608704"/>
                <a:gd name="connsiteY33" fmla="*/ 388677 h 565088"/>
                <a:gd name="connsiteX34" fmla="*/ 492862 w 608704"/>
                <a:gd name="connsiteY34" fmla="*/ 424822 h 565088"/>
                <a:gd name="connsiteX35" fmla="*/ 455964 w 608704"/>
                <a:gd name="connsiteY35" fmla="*/ 451292 h 565088"/>
                <a:gd name="connsiteX36" fmla="*/ 446972 w 608704"/>
                <a:gd name="connsiteY36" fmla="*/ 468876 h 565088"/>
                <a:gd name="connsiteX37" fmla="*/ 446879 w 608704"/>
                <a:gd name="connsiteY37" fmla="*/ 478645 h 565088"/>
                <a:gd name="connsiteX38" fmla="*/ 441056 w 608704"/>
                <a:gd name="connsiteY38" fmla="*/ 478180 h 565088"/>
                <a:gd name="connsiteX39" fmla="*/ 331714 w 608704"/>
                <a:gd name="connsiteY39" fmla="*/ 478180 h 565088"/>
                <a:gd name="connsiteX40" fmla="*/ 326263 w 608704"/>
                <a:gd name="connsiteY40" fmla="*/ 478598 h 565088"/>
                <a:gd name="connsiteX41" fmla="*/ 326263 w 608704"/>
                <a:gd name="connsiteY41" fmla="*/ 409517 h 565088"/>
                <a:gd name="connsiteX42" fmla="*/ 327148 w 608704"/>
                <a:gd name="connsiteY42" fmla="*/ 404307 h 565088"/>
                <a:gd name="connsiteX43" fmla="*/ 434301 w 608704"/>
                <a:gd name="connsiteY43" fmla="*/ 313130 h 565088"/>
                <a:gd name="connsiteX44" fmla="*/ 441568 w 608704"/>
                <a:gd name="connsiteY44" fmla="*/ 309036 h 565088"/>
                <a:gd name="connsiteX45" fmla="*/ 476136 w 608704"/>
                <a:gd name="connsiteY45" fmla="*/ 274472 h 565088"/>
                <a:gd name="connsiteX46" fmla="*/ 487131 w 608704"/>
                <a:gd name="connsiteY46" fmla="*/ 269960 h 565088"/>
                <a:gd name="connsiteX47" fmla="*/ 498126 w 608704"/>
                <a:gd name="connsiteY47" fmla="*/ 274472 h 565088"/>
                <a:gd name="connsiteX48" fmla="*/ 510612 w 608704"/>
                <a:gd name="connsiteY48" fmla="*/ 286986 h 565088"/>
                <a:gd name="connsiteX49" fmla="*/ 513873 w 608704"/>
                <a:gd name="connsiteY49" fmla="*/ 290242 h 565088"/>
                <a:gd name="connsiteX50" fmla="*/ 513873 w 608704"/>
                <a:gd name="connsiteY50" fmla="*/ 312199 h 565088"/>
                <a:gd name="connsiteX51" fmla="*/ 445948 w 608704"/>
                <a:gd name="connsiteY51" fmla="*/ 379978 h 565088"/>
                <a:gd name="connsiteX52" fmla="*/ 445948 w 608704"/>
                <a:gd name="connsiteY52" fmla="*/ 388723 h 565088"/>
                <a:gd name="connsiteX53" fmla="*/ 447159 w 608704"/>
                <a:gd name="connsiteY53" fmla="*/ 389886 h 565088"/>
                <a:gd name="connsiteX54" fmla="*/ 451538 w 608704"/>
                <a:gd name="connsiteY54" fmla="*/ 391700 h 565088"/>
                <a:gd name="connsiteX55" fmla="*/ 455964 w 608704"/>
                <a:gd name="connsiteY55" fmla="*/ 389886 h 565088"/>
                <a:gd name="connsiteX56" fmla="*/ 533626 w 608704"/>
                <a:gd name="connsiteY56" fmla="*/ 312292 h 565088"/>
                <a:gd name="connsiteX57" fmla="*/ 533999 w 608704"/>
                <a:gd name="connsiteY57" fmla="*/ 209345 h 565088"/>
                <a:gd name="connsiteX58" fmla="*/ 535024 w 608704"/>
                <a:gd name="connsiteY58" fmla="*/ 188644 h 565088"/>
                <a:gd name="connsiteX59" fmla="*/ 535909 w 608704"/>
                <a:gd name="connsiteY59" fmla="*/ 187761 h 565088"/>
                <a:gd name="connsiteX60" fmla="*/ 549326 w 608704"/>
                <a:gd name="connsiteY60" fmla="*/ 174363 h 565088"/>
                <a:gd name="connsiteX61" fmla="*/ 560321 w 608704"/>
                <a:gd name="connsiteY61" fmla="*/ 169851 h 565088"/>
                <a:gd name="connsiteX62" fmla="*/ 48337 w 608704"/>
                <a:gd name="connsiteY62" fmla="*/ 169851 h 565088"/>
                <a:gd name="connsiteX63" fmla="*/ 59331 w 608704"/>
                <a:gd name="connsiteY63" fmla="*/ 174364 h 565088"/>
                <a:gd name="connsiteX64" fmla="*/ 72749 w 608704"/>
                <a:gd name="connsiteY64" fmla="*/ 187763 h 565088"/>
                <a:gd name="connsiteX65" fmla="*/ 73587 w 608704"/>
                <a:gd name="connsiteY65" fmla="*/ 188647 h 565088"/>
                <a:gd name="connsiteX66" fmla="*/ 74659 w 608704"/>
                <a:gd name="connsiteY66" fmla="*/ 209352 h 565088"/>
                <a:gd name="connsiteX67" fmla="*/ 75031 w 608704"/>
                <a:gd name="connsiteY67" fmla="*/ 312361 h 565088"/>
                <a:gd name="connsiteX68" fmla="*/ 152601 w 608704"/>
                <a:gd name="connsiteY68" fmla="*/ 389874 h 565088"/>
                <a:gd name="connsiteX69" fmla="*/ 157027 w 608704"/>
                <a:gd name="connsiteY69" fmla="*/ 391688 h 565088"/>
                <a:gd name="connsiteX70" fmla="*/ 161452 w 608704"/>
                <a:gd name="connsiteY70" fmla="*/ 389874 h 565088"/>
                <a:gd name="connsiteX71" fmla="*/ 162617 w 608704"/>
                <a:gd name="connsiteY71" fmla="*/ 388711 h 565088"/>
                <a:gd name="connsiteX72" fmla="*/ 162617 w 608704"/>
                <a:gd name="connsiteY72" fmla="*/ 379964 h 565088"/>
                <a:gd name="connsiteX73" fmla="*/ 94738 w 608704"/>
                <a:gd name="connsiteY73" fmla="*/ 312175 h 565088"/>
                <a:gd name="connsiteX74" fmla="*/ 94738 w 608704"/>
                <a:gd name="connsiteY74" fmla="*/ 290214 h 565088"/>
                <a:gd name="connsiteX75" fmla="*/ 97953 w 608704"/>
                <a:gd name="connsiteY75" fmla="*/ 286958 h 565088"/>
                <a:gd name="connsiteX76" fmla="*/ 110485 w 608704"/>
                <a:gd name="connsiteY76" fmla="*/ 274442 h 565088"/>
                <a:gd name="connsiteX77" fmla="*/ 121480 w 608704"/>
                <a:gd name="connsiteY77" fmla="*/ 269929 h 565088"/>
                <a:gd name="connsiteX78" fmla="*/ 132474 w 608704"/>
                <a:gd name="connsiteY78" fmla="*/ 274442 h 565088"/>
                <a:gd name="connsiteX79" fmla="*/ 167136 w 608704"/>
                <a:gd name="connsiteY79" fmla="*/ 309011 h 565088"/>
                <a:gd name="connsiteX80" fmla="*/ 174404 w 608704"/>
                <a:gd name="connsiteY80" fmla="*/ 313105 h 565088"/>
                <a:gd name="connsiteX81" fmla="*/ 281556 w 608704"/>
                <a:gd name="connsiteY81" fmla="*/ 404297 h 565088"/>
                <a:gd name="connsiteX82" fmla="*/ 282441 w 608704"/>
                <a:gd name="connsiteY82" fmla="*/ 409508 h 565088"/>
                <a:gd name="connsiteX83" fmla="*/ 282441 w 608704"/>
                <a:gd name="connsiteY83" fmla="*/ 478786 h 565088"/>
                <a:gd name="connsiteX84" fmla="*/ 275686 w 608704"/>
                <a:gd name="connsiteY84" fmla="*/ 478088 h 565088"/>
                <a:gd name="connsiteX85" fmla="*/ 166344 w 608704"/>
                <a:gd name="connsiteY85" fmla="*/ 478088 h 565088"/>
                <a:gd name="connsiteX86" fmla="*/ 161825 w 608704"/>
                <a:gd name="connsiteY86" fmla="*/ 478414 h 565088"/>
                <a:gd name="connsiteX87" fmla="*/ 161732 w 608704"/>
                <a:gd name="connsiteY87" fmla="*/ 468783 h 565088"/>
                <a:gd name="connsiteX88" fmla="*/ 152741 w 608704"/>
                <a:gd name="connsiteY88" fmla="*/ 451242 h 565088"/>
                <a:gd name="connsiteX89" fmla="*/ 115842 w 608704"/>
                <a:gd name="connsiteY89" fmla="*/ 424769 h 565088"/>
                <a:gd name="connsiteX90" fmla="*/ 73215 w 608704"/>
                <a:gd name="connsiteY90" fmla="*/ 388711 h 565088"/>
                <a:gd name="connsiteX91" fmla="*/ 30820 w 608704"/>
                <a:gd name="connsiteY91" fmla="*/ 346325 h 565088"/>
                <a:gd name="connsiteX92" fmla="*/ 36596 w 608704"/>
                <a:gd name="connsiteY92" fmla="*/ 175248 h 565088"/>
                <a:gd name="connsiteX93" fmla="*/ 48337 w 608704"/>
                <a:gd name="connsiteY93" fmla="*/ 169851 h 565088"/>
                <a:gd name="connsiteX94" fmla="*/ 101464 w 608704"/>
                <a:gd name="connsiteY94" fmla="*/ 164593 h 565088"/>
                <a:gd name="connsiteX95" fmla="*/ 112641 w 608704"/>
                <a:gd name="connsiteY95" fmla="*/ 169193 h 565088"/>
                <a:gd name="connsiteX96" fmla="*/ 131324 w 608704"/>
                <a:gd name="connsiteY96" fmla="*/ 188128 h 565088"/>
                <a:gd name="connsiteX97" fmla="*/ 131557 w 608704"/>
                <a:gd name="connsiteY97" fmla="*/ 209667 h 565088"/>
                <a:gd name="connsiteX98" fmla="*/ 117486 w 608704"/>
                <a:gd name="connsiteY98" fmla="*/ 224601 h 565088"/>
                <a:gd name="connsiteX99" fmla="*/ 94656 w 608704"/>
                <a:gd name="connsiteY99" fmla="*/ 264005 h 565088"/>
                <a:gd name="connsiteX100" fmla="*/ 81564 w 608704"/>
                <a:gd name="connsiteY100" fmla="*/ 277078 h 565088"/>
                <a:gd name="connsiteX101" fmla="*/ 77091 w 608704"/>
                <a:gd name="connsiteY101" fmla="*/ 282614 h 565088"/>
                <a:gd name="connsiteX102" fmla="*/ 74435 w 608704"/>
                <a:gd name="connsiteY102" fmla="*/ 275542 h 565088"/>
                <a:gd name="connsiteX103" fmla="*/ 73224 w 608704"/>
                <a:gd name="connsiteY103" fmla="*/ 252188 h 565088"/>
                <a:gd name="connsiteX104" fmla="*/ 89158 w 608704"/>
                <a:gd name="connsiteY104" fmla="*/ 221205 h 565088"/>
                <a:gd name="connsiteX105" fmla="*/ 96799 w 608704"/>
                <a:gd name="connsiteY105" fmla="*/ 197851 h 565088"/>
                <a:gd name="connsiteX106" fmla="*/ 86782 w 608704"/>
                <a:gd name="connsiteY106" fmla="*/ 175520 h 565088"/>
                <a:gd name="connsiteX107" fmla="*/ 85617 w 608704"/>
                <a:gd name="connsiteY107" fmla="*/ 174357 h 565088"/>
                <a:gd name="connsiteX108" fmla="*/ 90323 w 608704"/>
                <a:gd name="connsiteY108" fmla="*/ 169379 h 565088"/>
                <a:gd name="connsiteX109" fmla="*/ 101464 w 608704"/>
                <a:gd name="connsiteY109" fmla="*/ 164593 h 565088"/>
                <a:gd name="connsiteX110" fmla="*/ 507200 w 608704"/>
                <a:gd name="connsiteY110" fmla="*/ 164524 h 565088"/>
                <a:gd name="connsiteX111" fmla="*/ 518327 w 608704"/>
                <a:gd name="connsiteY111" fmla="*/ 169311 h 565088"/>
                <a:gd name="connsiteX112" fmla="*/ 523035 w 608704"/>
                <a:gd name="connsiteY112" fmla="*/ 174289 h 565088"/>
                <a:gd name="connsiteX113" fmla="*/ 521870 w 608704"/>
                <a:gd name="connsiteY113" fmla="*/ 175453 h 565088"/>
                <a:gd name="connsiteX114" fmla="*/ 511895 w 608704"/>
                <a:gd name="connsiteY114" fmla="*/ 197788 h 565088"/>
                <a:gd name="connsiteX115" fmla="*/ 519539 w 608704"/>
                <a:gd name="connsiteY115" fmla="*/ 221100 h 565088"/>
                <a:gd name="connsiteX116" fmla="*/ 535387 w 608704"/>
                <a:gd name="connsiteY116" fmla="*/ 252183 h 565088"/>
                <a:gd name="connsiteX117" fmla="*/ 534221 w 608704"/>
                <a:gd name="connsiteY117" fmla="*/ 275542 h 565088"/>
                <a:gd name="connsiteX118" fmla="*/ 531565 w 608704"/>
                <a:gd name="connsiteY118" fmla="*/ 282615 h 565088"/>
                <a:gd name="connsiteX119" fmla="*/ 527090 w 608704"/>
                <a:gd name="connsiteY119" fmla="*/ 277078 h 565088"/>
                <a:gd name="connsiteX120" fmla="*/ 513946 w 608704"/>
                <a:gd name="connsiteY120" fmla="*/ 264002 h 565088"/>
                <a:gd name="connsiteX121" fmla="*/ 491154 w 608704"/>
                <a:gd name="connsiteY121" fmla="*/ 224590 h 565088"/>
                <a:gd name="connsiteX122" fmla="*/ 477032 w 608704"/>
                <a:gd name="connsiteY122" fmla="*/ 209653 h 565088"/>
                <a:gd name="connsiteX123" fmla="*/ 477311 w 608704"/>
                <a:gd name="connsiteY123" fmla="*/ 188109 h 565088"/>
                <a:gd name="connsiteX124" fmla="*/ 496002 w 608704"/>
                <a:gd name="connsiteY124" fmla="*/ 169124 h 565088"/>
                <a:gd name="connsiteX125" fmla="*/ 507200 w 608704"/>
                <a:gd name="connsiteY125" fmla="*/ 164524 h 565088"/>
                <a:gd name="connsiteX126" fmla="*/ 255331 w 608704"/>
                <a:gd name="connsiteY126" fmla="*/ 53303 h 565088"/>
                <a:gd name="connsiteX127" fmla="*/ 244789 w 608704"/>
                <a:gd name="connsiteY127" fmla="*/ 55176 h 565088"/>
                <a:gd name="connsiteX128" fmla="*/ 240503 w 608704"/>
                <a:gd name="connsiteY128" fmla="*/ 74437 h 565088"/>
                <a:gd name="connsiteX129" fmla="*/ 282110 w 608704"/>
                <a:gd name="connsiteY129" fmla="*/ 139662 h 565088"/>
                <a:gd name="connsiteX130" fmla="*/ 268132 w 608704"/>
                <a:gd name="connsiteY130" fmla="*/ 139662 h 565088"/>
                <a:gd name="connsiteX131" fmla="*/ 254154 w 608704"/>
                <a:gd name="connsiteY131" fmla="*/ 153619 h 565088"/>
                <a:gd name="connsiteX132" fmla="*/ 268132 w 608704"/>
                <a:gd name="connsiteY132" fmla="*/ 167576 h 565088"/>
                <a:gd name="connsiteX133" fmla="*/ 292174 w 608704"/>
                <a:gd name="connsiteY133" fmla="*/ 167576 h 565088"/>
                <a:gd name="connsiteX134" fmla="*/ 292174 w 608704"/>
                <a:gd name="connsiteY134" fmla="*/ 177346 h 565088"/>
                <a:gd name="connsiteX135" fmla="*/ 268132 w 608704"/>
                <a:gd name="connsiteY135" fmla="*/ 177346 h 565088"/>
                <a:gd name="connsiteX136" fmla="*/ 254154 w 608704"/>
                <a:gd name="connsiteY136" fmla="*/ 191302 h 565088"/>
                <a:gd name="connsiteX137" fmla="*/ 268132 w 608704"/>
                <a:gd name="connsiteY137" fmla="*/ 205259 h 565088"/>
                <a:gd name="connsiteX138" fmla="*/ 292174 w 608704"/>
                <a:gd name="connsiteY138" fmla="*/ 205259 h 565088"/>
                <a:gd name="connsiteX139" fmla="*/ 292174 w 608704"/>
                <a:gd name="connsiteY139" fmla="*/ 224706 h 565088"/>
                <a:gd name="connsiteX140" fmla="*/ 306151 w 608704"/>
                <a:gd name="connsiteY140" fmla="*/ 238663 h 565088"/>
                <a:gd name="connsiteX141" fmla="*/ 320129 w 608704"/>
                <a:gd name="connsiteY141" fmla="*/ 224706 h 565088"/>
                <a:gd name="connsiteX142" fmla="*/ 320129 w 608704"/>
                <a:gd name="connsiteY142" fmla="*/ 205259 h 565088"/>
                <a:gd name="connsiteX143" fmla="*/ 344171 w 608704"/>
                <a:gd name="connsiteY143" fmla="*/ 205259 h 565088"/>
                <a:gd name="connsiteX144" fmla="*/ 358149 w 608704"/>
                <a:gd name="connsiteY144" fmla="*/ 191302 h 565088"/>
                <a:gd name="connsiteX145" fmla="*/ 344171 w 608704"/>
                <a:gd name="connsiteY145" fmla="*/ 177346 h 565088"/>
                <a:gd name="connsiteX146" fmla="*/ 320129 w 608704"/>
                <a:gd name="connsiteY146" fmla="*/ 177346 h 565088"/>
                <a:gd name="connsiteX147" fmla="*/ 320129 w 608704"/>
                <a:gd name="connsiteY147" fmla="*/ 167576 h 565088"/>
                <a:gd name="connsiteX148" fmla="*/ 344264 w 608704"/>
                <a:gd name="connsiteY148" fmla="*/ 167576 h 565088"/>
                <a:gd name="connsiteX149" fmla="*/ 358242 w 608704"/>
                <a:gd name="connsiteY149" fmla="*/ 153619 h 565088"/>
                <a:gd name="connsiteX150" fmla="*/ 344264 w 608704"/>
                <a:gd name="connsiteY150" fmla="*/ 139662 h 565088"/>
                <a:gd name="connsiteX151" fmla="*/ 330286 w 608704"/>
                <a:gd name="connsiteY151" fmla="*/ 139662 h 565088"/>
                <a:gd name="connsiteX152" fmla="*/ 371893 w 608704"/>
                <a:gd name="connsiteY152" fmla="*/ 74437 h 565088"/>
                <a:gd name="connsiteX153" fmla="*/ 367793 w 608704"/>
                <a:gd name="connsiteY153" fmla="*/ 55176 h 565088"/>
                <a:gd name="connsiteX154" fmla="*/ 348457 w 608704"/>
                <a:gd name="connsiteY154" fmla="*/ 59456 h 565088"/>
                <a:gd name="connsiteX155" fmla="*/ 306291 w 608704"/>
                <a:gd name="connsiteY155" fmla="*/ 125426 h 565088"/>
                <a:gd name="connsiteX156" fmla="*/ 264125 w 608704"/>
                <a:gd name="connsiteY156" fmla="*/ 59456 h 565088"/>
                <a:gd name="connsiteX157" fmla="*/ 255331 w 608704"/>
                <a:gd name="connsiteY157" fmla="*/ 53303 h 565088"/>
                <a:gd name="connsiteX158" fmla="*/ 304940 w 608704"/>
                <a:gd name="connsiteY158" fmla="*/ 0 h 565088"/>
                <a:gd name="connsiteX159" fmla="*/ 447000 w 608704"/>
                <a:gd name="connsiteY159" fmla="*/ 141895 h 565088"/>
                <a:gd name="connsiteX160" fmla="*/ 304940 w 608704"/>
                <a:gd name="connsiteY160" fmla="*/ 283744 h 565088"/>
                <a:gd name="connsiteX161" fmla="*/ 162833 w 608704"/>
                <a:gd name="connsiteY161" fmla="*/ 141895 h 565088"/>
                <a:gd name="connsiteX162" fmla="*/ 304940 w 608704"/>
                <a:gd name="connsiteY162" fmla="*/ 0 h 565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608704" h="565088">
                  <a:moveTo>
                    <a:pt x="331621" y="496781"/>
                  </a:moveTo>
                  <a:lnTo>
                    <a:pt x="441006" y="496781"/>
                  </a:lnTo>
                  <a:cubicBezTo>
                    <a:pt x="442917" y="496781"/>
                    <a:pt x="444781" y="497060"/>
                    <a:pt x="446506" y="497758"/>
                  </a:cubicBezTo>
                  <a:cubicBezTo>
                    <a:pt x="449815" y="499015"/>
                    <a:pt x="452565" y="501341"/>
                    <a:pt x="454289" y="504273"/>
                  </a:cubicBezTo>
                  <a:cubicBezTo>
                    <a:pt x="455734" y="506646"/>
                    <a:pt x="456526" y="509345"/>
                    <a:pt x="456526" y="512276"/>
                  </a:cubicBezTo>
                  <a:lnTo>
                    <a:pt x="456526" y="517999"/>
                  </a:lnTo>
                  <a:lnTo>
                    <a:pt x="456526" y="549547"/>
                  </a:lnTo>
                  <a:cubicBezTo>
                    <a:pt x="456526" y="558109"/>
                    <a:pt x="449582" y="565088"/>
                    <a:pt x="441006" y="565088"/>
                  </a:cubicBezTo>
                  <a:lnTo>
                    <a:pt x="331621" y="565088"/>
                  </a:lnTo>
                  <a:cubicBezTo>
                    <a:pt x="323046" y="565088"/>
                    <a:pt x="316101" y="558109"/>
                    <a:pt x="316101" y="549547"/>
                  </a:cubicBezTo>
                  <a:lnTo>
                    <a:pt x="316101" y="517627"/>
                  </a:lnTo>
                  <a:lnTo>
                    <a:pt x="316101" y="512276"/>
                  </a:lnTo>
                  <a:cubicBezTo>
                    <a:pt x="316101" y="509251"/>
                    <a:pt x="316940" y="506367"/>
                    <a:pt x="318525" y="503947"/>
                  </a:cubicBezTo>
                  <a:cubicBezTo>
                    <a:pt x="320389" y="501109"/>
                    <a:pt x="323092" y="498875"/>
                    <a:pt x="326401" y="497712"/>
                  </a:cubicBezTo>
                  <a:cubicBezTo>
                    <a:pt x="328032" y="497060"/>
                    <a:pt x="329757" y="496781"/>
                    <a:pt x="331621" y="496781"/>
                  </a:cubicBezTo>
                  <a:close/>
                  <a:moveTo>
                    <a:pt x="166349" y="496640"/>
                  </a:moveTo>
                  <a:lnTo>
                    <a:pt x="275680" y="496640"/>
                  </a:lnTo>
                  <a:cubicBezTo>
                    <a:pt x="277963" y="496640"/>
                    <a:pt x="280152" y="497152"/>
                    <a:pt x="282109" y="498083"/>
                  </a:cubicBezTo>
                  <a:cubicBezTo>
                    <a:pt x="285276" y="499572"/>
                    <a:pt x="287978" y="502038"/>
                    <a:pt x="289515" y="505202"/>
                  </a:cubicBezTo>
                  <a:cubicBezTo>
                    <a:pt x="290587" y="507249"/>
                    <a:pt x="291192" y="509669"/>
                    <a:pt x="291192" y="512181"/>
                  </a:cubicBezTo>
                  <a:lnTo>
                    <a:pt x="291192" y="518928"/>
                  </a:lnTo>
                  <a:lnTo>
                    <a:pt x="291192" y="549453"/>
                  </a:lnTo>
                  <a:cubicBezTo>
                    <a:pt x="291192" y="558014"/>
                    <a:pt x="284251" y="564947"/>
                    <a:pt x="275680" y="564947"/>
                  </a:cubicBezTo>
                  <a:lnTo>
                    <a:pt x="166349" y="564947"/>
                  </a:lnTo>
                  <a:cubicBezTo>
                    <a:pt x="157732" y="564947"/>
                    <a:pt x="150837" y="558014"/>
                    <a:pt x="150884" y="549406"/>
                  </a:cubicBezTo>
                  <a:lnTo>
                    <a:pt x="150884" y="516276"/>
                  </a:lnTo>
                  <a:lnTo>
                    <a:pt x="150884" y="512181"/>
                  </a:lnTo>
                  <a:cubicBezTo>
                    <a:pt x="150884" y="508692"/>
                    <a:pt x="152002" y="505528"/>
                    <a:pt x="153912" y="502922"/>
                  </a:cubicBezTo>
                  <a:cubicBezTo>
                    <a:pt x="155915" y="500270"/>
                    <a:pt x="158756" y="498222"/>
                    <a:pt x="162064" y="497292"/>
                  </a:cubicBezTo>
                  <a:cubicBezTo>
                    <a:pt x="163415" y="496826"/>
                    <a:pt x="164859" y="496640"/>
                    <a:pt x="166349" y="496640"/>
                  </a:cubicBezTo>
                  <a:close/>
                  <a:moveTo>
                    <a:pt x="560321" y="169851"/>
                  </a:moveTo>
                  <a:cubicBezTo>
                    <a:pt x="564653" y="169851"/>
                    <a:pt x="569033" y="171618"/>
                    <a:pt x="572108" y="175247"/>
                  </a:cubicBezTo>
                  <a:cubicBezTo>
                    <a:pt x="650934" y="266843"/>
                    <a:pt x="577884" y="346298"/>
                    <a:pt x="577884" y="346298"/>
                  </a:cubicBezTo>
                  <a:lnTo>
                    <a:pt x="535489" y="388677"/>
                  </a:lnTo>
                  <a:cubicBezTo>
                    <a:pt x="522258" y="401795"/>
                    <a:pt x="508003" y="413890"/>
                    <a:pt x="492862" y="424822"/>
                  </a:cubicBezTo>
                  <a:lnTo>
                    <a:pt x="455964" y="451292"/>
                  </a:lnTo>
                  <a:cubicBezTo>
                    <a:pt x="450373" y="455385"/>
                    <a:pt x="446972" y="461898"/>
                    <a:pt x="446972" y="468876"/>
                  </a:cubicBezTo>
                  <a:lnTo>
                    <a:pt x="446879" y="478645"/>
                  </a:lnTo>
                  <a:cubicBezTo>
                    <a:pt x="445016" y="478366"/>
                    <a:pt x="443059" y="478180"/>
                    <a:pt x="441056" y="478180"/>
                  </a:cubicBezTo>
                  <a:lnTo>
                    <a:pt x="331714" y="478180"/>
                  </a:lnTo>
                  <a:cubicBezTo>
                    <a:pt x="329851" y="478180"/>
                    <a:pt x="328080" y="478273"/>
                    <a:pt x="326263" y="478598"/>
                  </a:cubicBezTo>
                  <a:lnTo>
                    <a:pt x="326263" y="409517"/>
                  </a:lnTo>
                  <a:cubicBezTo>
                    <a:pt x="326263" y="407703"/>
                    <a:pt x="326589" y="405982"/>
                    <a:pt x="327148" y="404307"/>
                  </a:cubicBezTo>
                  <a:cubicBezTo>
                    <a:pt x="350489" y="337599"/>
                    <a:pt x="417063" y="317316"/>
                    <a:pt x="434301" y="313130"/>
                  </a:cubicBezTo>
                  <a:cubicBezTo>
                    <a:pt x="437003" y="312432"/>
                    <a:pt x="439565" y="310990"/>
                    <a:pt x="441568" y="309036"/>
                  </a:cubicBezTo>
                  <a:lnTo>
                    <a:pt x="476136" y="274472"/>
                  </a:lnTo>
                  <a:cubicBezTo>
                    <a:pt x="479211" y="271449"/>
                    <a:pt x="483171" y="269960"/>
                    <a:pt x="487131" y="269960"/>
                  </a:cubicBezTo>
                  <a:cubicBezTo>
                    <a:pt x="491138" y="269960"/>
                    <a:pt x="495098" y="271449"/>
                    <a:pt x="498126" y="274472"/>
                  </a:cubicBezTo>
                  <a:lnTo>
                    <a:pt x="510612" y="286986"/>
                  </a:lnTo>
                  <a:lnTo>
                    <a:pt x="513873" y="290242"/>
                  </a:lnTo>
                  <a:cubicBezTo>
                    <a:pt x="519929" y="296290"/>
                    <a:pt x="519929" y="306105"/>
                    <a:pt x="513873" y="312199"/>
                  </a:cubicBezTo>
                  <a:lnTo>
                    <a:pt x="445948" y="379978"/>
                  </a:lnTo>
                  <a:cubicBezTo>
                    <a:pt x="443525" y="382397"/>
                    <a:pt x="443525" y="386304"/>
                    <a:pt x="445948" y="388723"/>
                  </a:cubicBezTo>
                  <a:lnTo>
                    <a:pt x="447159" y="389886"/>
                  </a:lnTo>
                  <a:cubicBezTo>
                    <a:pt x="448370" y="391096"/>
                    <a:pt x="449954" y="391700"/>
                    <a:pt x="451538" y="391700"/>
                  </a:cubicBezTo>
                  <a:cubicBezTo>
                    <a:pt x="453169" y="391700"/>
                    <a:pt x="454706" y="391142"/>
                    <a:pt x="455964" y="389886"/>
                  </a:cubicBezTo>
                  <a:lnTo>
                    <a:pt x="533626" y="312292"/>
                  </a:lnTo>
                  <a:cubicBezTo>
                    <a:pt x="533626" y="312292"/>
                    <a:pt x="581379" y="266983"/>
                    <a:pt x="533999" y="209345"/>
                  </a:cubicBezTo>
                  <a:cubicBezTo>
                    <a:pt x="528874" y="203205"/>
                    <a:pt x="529386" y="194273"/>
                    <a:pt x="535024" y="188644"/>
                  </a:cubicBezTo>
                  <a:lnTo>
                    <a:pt x="535909" y="187761"/>
                  </a:lnTo>
                  <a:lnTo>
                    <a:pt x="549326" y="174363"/>
                  </a:lnTo>
                  <a:cubicBezTo>
                    <a:pt x="552354" y="171339"/>
                    <a:pt x="556361" y="169851"/>
                    <a:pt x="560321" y="169851"/>
                  </a:cubicBezTo>
                  <a:close/>
                  <a:moveTo>
                    <a:pt x="48337" y="169851"/>
                  </a:moveTo>
                  <a:cubicBezTo>
                    <a:pt x="52297" y="169851"/>
                    <a:pt x="56257" y="171340"/>
                    <a:pt x="59331" y="174364"/>
                  </a:cubicBezTo>
                  <a:lnTo>
                    <a:pt x="72749" y="187763"/>
                  </a:lnTo>
                  <a:lnTo>
                    <a:pt x="73587" y="188647"/>
                  </a:lnTo>
                  <a:cubicBezTo>
                    <a:pt x="79178" y="194231"/>
                    <a:pt x="79690" y="203210"/>
                    <a:pt x="74659" y="209352"/>
                  </a:cubicBezTo>
                  <a:cubicBezTo>
                    <a:pt x="27279" y="266998"/>
                    <a:pt x="75031" y="312361"/>
                    <a:pt x="75031" y="312361"/>
                  </a:cubicBezTo>
                  <a:lnTo>
                    <a:pt x="152601" y="389874"/>
                  </a:lnTo>
                  <a:cubicBezTo>
                    <a:pt x="153859" y="391084"/>
                    <a:pt x="155396" y="391688"/>
                    <a:pt x="157027" y="391688"/>
                  </a:cubicBezTo>
                  <a:cubicBezTo>
                    <a:pt x="158657" y="391688"/>
                    <a:pt x="160195" y="391130"/>
                    <a:pt x="161452" y="389874"/>
                  </a:cubicBezTo>
                  <a:lnTo>
                    <a:pt x="162617" y="388711"/>
                  </a:lnTo>
                  <a:cubicBezTo>
                    <a:pt x="165040" y="386291"/>
                    <a:pt x="165040" y="382383"/>
                    <a:pt x="162617" y="379964"/>
                  </a:cubicBezTo>
                  <a:lnTo>
                    <a:pt x="94738" y="312175"/>
                  </a:lnTo>
                  <a:cubicBezTo>
                    <a:pt x="88635" y="306080"/>
                    <a:pt x="88635" y="296263"/>
                    <a:pt x="94738" y="290214"/>
                  </a:cubicBezTo>
                  <a:lnTo>
                    <a:pt x="97953" y="286958"/>
                  </a:lnTo>
                  <a:lnTo>
                    <a:pt x="110485" y="274442"/>
                  </a:lnTo>
                  <a:cubicBezTo>
                    <a:pt x="113560" y="271418"/>
                    <a:pt x="117520" y="269929"/>
                    <a:pt x="121480" y="269929"/>
                  </a:cubicBezTo>
                  <a:cubicBezTo>
                    <a:pt x="125486" y="269929"/>
                    <a:pt x="129446" y="271418"/>
                    <a:pt x="132474" y="274442"/>
                  </a:cubicBezTo>
                  <a:lnTo>
                    <a:pt x="167136" y="309011"/>
                  </a:lnTo>
                  <a:cubicBezTo>
                    <a:pt x="169139" y="310965"/>
                    <a:pt x="171702" y="312408"/>
                    <a:pt x="174404" y="313105"/>
                  </a:cubicBezTo>
                  <a:cubicBezTo>
                    <a:pt x="191641" y="317293"/>
                    <a:pt x="258216" y="337578"/>
                    <a:pt x="281556" y="404297"/>
                  </a:cubicBezTo>
                  <a:cubicBezTo>
                    <a:pt x="282115" y="405972"/>
                    <a:pt x="282441" y="407740"/>
                    <a:pt x="282441" y="409508"/>
                  </a:cubicBezTo>
                  <a:lnTo>
                    <a:pt x="282441" y="478786"/>
                  </a:lnTo>
                  <a:cubicBezTo>
                    <a:pt x="280252" y="478367"/>
                    <a:pt x="277969" y="478088"/>
                    <a:pt x="275686" y="478088"/>
                  </a:cubicBezTo>
                  <a:lnTo>
                    <a:pt x="166344" y="478088"/>
                  </a:lnTo>
                  <a:cubicBezTo>
                    <a:pt x="164807" y="478088"/>
                    <a:pt x="163316" y="478227"/>
                    <a:pt x="161825" y="478414"/>
                  </a:cubicBezTo>
                  <a:lnTo>
                    <a:pt x="161732" y="468783"/>
                  </a:lnTo>
                  <a:cubicBezTo>
                    <a:pt x="161732" y="461850"/>
                    <a:pt x="158378" y="455290"/>
                    <a:pt x="152741" y="451242"/>
                  </a:cubicBezTo>
                  <a:lnTo>
                    <a:pt x="115842" y="424769"/>
                  </a:lnTo>
                  <a:cubicBezTo>
                    <a:pt x="100701" y="413881"/>
                    <a:pt x="86399" y="401785"/>
                    <a:pt x="73215" y="388711"/>
                  </a:cubicBezTo>
                  <a:lnTo>
                    <a:pt x="30820" y="346325"/>
                  </a:lnTo>
                  <a:cubicBezTo>
                    <a:pt x="30820" y="346325"/>
                    <a:pt x="-42230" y="266858"/>
                    <a:pt x="36596" y="175248"/>
                  </a:cubicBezTo>
                  <a:cubicBezTo>
                    <a:pt x="39625" y="171665"/>
                    <a:pt x="43957" y="169851"/>
                    <a:pt x="48337" y="169851"/>
                  </a:cubicBezTo>
                  <a:close/>
                  <a:moveTo>
                    <a:pt x="101464" y="164593"/>
                  </a:moveTo>
                  <a:cubicBezTo>
                    <a:pt x="105512" y="164564"/>
                    <a:pt x="109566" y="166100"/>
                    <a:pt x="112641" y="169193"/>
                  </a:cubicBezTo>
                  <a:lnTo>
                    <a:pt x="131324" y="188128"/>
                  </a:lnTo>
                  <a:cubicBezTo>
                    <a:pt x="137148" y="194082"/>
                    <a:pt x="137288" y="203573"/>
                    <a:pt x="131557" y="209667"/>
                  </a:cubicBezTo>
                  <a:lnTo>
                    <a:pt x="117486" y="224601"/>
                  </a:lnTo>
                  <a:cubicBezTo>
                    <a:pt x="102483" y="238790"/>
                    <a:pt x="96100" y="252142"/>
                    <a:pt x="94656" y="264005"/>
                  </a:cubicBezTo>
                  <a:lnTo>
                    <a:pt x="81564" y="277078"/>
                  </a:lnTo>
                  <a:cubicBezTo>
                    <a:pt x="79886" y="278799"/>
                    <a:pt x="78395" y="280613"/>
                    <a:pt x="77091" y="282614"/>
                  </a:cubicBezTo>
                  <a:cubicBezTo>
                    <a:pt x="76112" y="280427"/>
                    <a:pt x="75181" y="278055"/>
                    <a:pt x="74435" y="275542"/>
                  </a:cubicBezTo>
                  <a:cubicBezTo>
                    <a:pt x="72105" y="267820"/>
                    <a:pt x="71733" y="259958"/>
                    <a:pt x="73224" y="252188"/>
                  </a:cubicBezTo>
                  <a:cubicBezTo>
                    <a:pt x="75227" y="242047"/>
                    <a:pt x="80492" y="231533"/>
                    <a:pt x="89158" y="221205"/>
                  </a:cubicBezTo>
                  <a:cubicBezTo>
                    <a:pt x="94470" y="214692"/>
                    <a:pt x="97219" y="206364"/>
                    <a:pt x="96799" y="197851"/>
                  </a:cubicBezTo>
                  <a:cubicBezTo>
                    <a:pt x="96287" y="189430"/>
                    <a:pt x="92746" y="181475"/>
                    <a:pt x="86782" y="175520"/>
                  </a:cubicBezTo>
                  <a:lnTo>
                    <a:pt x="85617" y="174357"/>
                  </a:lnTo>
                  <a:lnTo>
                    <a:pt x="90323" y="169379"/>
                  </a:lnTo>
                  <a:cubicBezTo>
                    <a:pt x="93375" y="166216"/>
                    <a:pt x="97417" y="164622"/>
                    <a:pt x="101464" y="164593"/>
                  </a:cubicBezTo>
                  <a:close/>
                  <a:moveTo>
                    <a:pt x="507200" y="164524"/>
                  </a:moveTo>
                  <a:cubicBezTo>
                    <a:pt x="511255" y="164553"/>
                    <a:pt x="515298" y="166147"/>
                    <a:pt x="518327" y="169311"/>
                  </a:cubicBezTo>
                  <a:lnTo>
                    <a:pt x="523035" y="174289"/>
                  </a:lnTo>
                  <a:lnTo>
                    <a:pt x="521870" y="175453"/>
                  </a:lnTo>
                  <a:cubicBezTo>
                    <a:pt x="515904" y="181409"/>
                    <a:pt x="512361" y="189366"/>
                    <a:pt x="511895" y="197788"/>
                  </a:cubicBezTo>
                  <a:cubicBezTo>
                    <a:pt x="511429" y="206210"/>
                    <a:pt x="514133" y="214539"/>
                    <a:pt x="519539" y="221100"/>
                  </a:cubicBezTo>
                  <a:cubicBezTo>
                    <a:pt x="528069" y="231523"/>
                    <a:pt x="533429" y="241946"/>
                    <a:pt x="535387" y="252183"/>
                  </a:cubicBezTo>
                  <a:cubicBezTo>
                    <a:pt x="536971" y="259954"/>
                    <a:pt x="536505" y="267818"/>
                    <a:pt x="534221" y="275542"/>
                  </a:cubicBezTo>
                  <a:cubicBezTo>
                    <a:pt x="533476" y="278055"/>
                    <a:pt x="532543" y="280428"/>
                    <a:pt x="531565" y="282615"/>
                  </a:cubicBezTo>
                  <a:cubicBezTo>
                    <a:pt x="530306" y="280614"/>
                    <a:pt x="528815" y="278799"/>
                    <a:pt x="527090" y="277078"/>
                  </a:cubicBezTo>
                  <a:lnTo>
                    <a:pt x="513946" y="264002"/>
                  </a:lnTo>
                  <a:cubicBezTo>
                    <a:pt x="512548" y="252137"/>
                    <a:pt x="506069" y="238782"/>
                    <a:pt x="491154" y="224590"/>
                  </a:cubicBezTo>
                  <a:lnTo>
                    <a:pt x="477032" y="209653"/>
                  </a:lnTo>
                  <a:cubicBezTo>
                    <a:pt x="471345" y="203558"/>
                    <a:pt x="471438" y="194065"/>
                    <a:pt x="477311" y="188109"/>
                  </a:cubicBezTo>
                  <a:lnTo>
                    <a:pt x="496002" y="169124"/>
                  </a:lnTo>
                  <a:cubicBezTo>
                    <a:pt x="499078" y="166030"/>
                    <a:pt x="503145" y="164495"/>
                    <a:pt x="507200" y="164524"/>
                  </a:cubicBezTo>
                  <a:close/>
                  <a:moveTo>
                    <a:pt x="255331" y="53303"/>
                  </a:moveTo>
                  <a:cubicBezTo>
                    <a:pt x="251836" y="52524"/>
                    <a:pt x="248051" y="53083"/>
                    <a:pt x="244789" y="55176"/>
                  </a:cubicBezTo>
                  <a:cubicBezTo>
                    <a:pt x="238266" y="59317"/>
                    <a:pt x="236356" y="67923"/>
                    <a:pt x="240503" y="74437"/>
                  </a:cubicBezTo>
                  <a:lnTo>
                    <a:pt x="282110" y="139662"/>
                  </a:lnTo>
                  <a:lnTo>
                    <a:pt x="268132" y="139662"/>
                  </a:lnTo>
                  <a:cubicBezTo>
                    <a:pt x="260444" y="139662"/>
                    <a:pt x="254154" y="145896"/>
                    <a:pt x="254154" y="153619"/>
                  </a:cubicBezTo>
                  <a:cubicBezTo>
                    <a:pt x="254154" y="161295"/>
                    <a:pt x="260444" y="167576"/>
                    <a:pt x="268132" y="167576"/>
                  </a:cubicBezTo>
                  <a:lnTo>
                    <a:pt x="292174" y="167576"/>
                  </a:lnTo>
                  <a:lnTo>
                    <a:pt x="292174" y="177346"/>
                  </a:lnTo>
                  <a:lnTo>
                    <a:pt x="268132" y="177346"/>
                  </a:lnTo>
                  <a:cubicBezTo>
                    <a:pt x="260444" y="177346"/>
                    <a:pt x="254154" y="183626"/>
                    <a:pt x="254154" y="191302"/>
                  </a:cubicBezTo>
                  <a:cubicBezTo>
                    <a:pt x="254154" y="199025"/>
                    <a:pt x="260444" y="205259"/>
                    <a:pt x="268132" y="205259"/>
                  </a:cubicBezTo>
                  <a:lnTo>
                    <a:pt x="292174" y="205259"/>
                  </a:lnTo>
                  <a:lnTo>
                    <a:pt x="292174" y="224706"/>
                  </a:lnTo>
                  <a:cubicBezTo>
                    <a:pt x="292174" y="232382"/>
                    <a:pt x="298464" y="238663"/>
                    <a:pt x="306151" y="238663"/>
                  </a:cubicBezTo>
                  <a:cubicBezTo>
                    <a:pt x="313886" y="238663"/>
                    <a:pt x="320129" y="232382"/>
                    <a:pt x="320129" y="224706"/>
                  </a:cubicBezTo>
                  <a:lnTo>
                    <a:pt x="320129" y="205259"/>
                  </a:lnTo>
                  <a:lnTo>
                    <a:pt x="344171" y="205259"/>
                  </a:lnTo>
                  <a:cubicBezTo>
                    <a:pt x="351905" y="205259"/>
                    <a:pt x="358149" y="199025"/>
                    <a:pt x="358149" y="191302"/>
                  </a:cubicBezTo>
                  <a:cubicBezTo>
                    <a:pt x="358149" y="183626"/>
                    <a:pt x="351905" y="177346"/>
                    <a:pt x="344171" y="177346"/>
                  </a:cubicBezTo>
                  <a:lnTo>
                    <a:pt x="320129" y="177346"/>
                  </a:lnTo>
                  <a:lnTo>
                    <a:pt x="320129" y="167576"/>
                  </a:lnTo>
                  <a:lnTo>
                    <a:pt x="344264" y="167576"/>
                  </a:lnTo>
                  <a:cubicBezTo>
                    <a:pt x="351952" y="167576"/>
                    <a:pt x="358242" y="161295"/>
                    <a:pt x="358242" y="153619"/>
                  </a:cubicBezTo>
                  <a:cubicBezTo>
                    <a:pt x="358242" y="145896"/>
                    <a:pt x="351952" y="139662"/>
                    <a:pt x="344264" y="139662"/>
                  </a:cubicBezTo>
                  <a:lnTo>
                    <a:pt x="330286" y="139662"/>
                  </a:lnTo>
                  <a:lnTo>
                    <a:pt x="371893" y="74437"/>
                  </a:lnTo>
                  <a:cubicBezTo>
                    <a:pt x="376040" y="67923"/>
                    <a:pt x="374130" y="59317"/>
                    <a:pt x="367793" y="55176"/>
                  </a:cubicBezTo>
                  <a:cubicBezTo>
                    <a:pt x="361270" y="50989"/>
                    <a:pt x="352651" y="52943"/>
                    <a:pt x="348457" y="59456"/>
                  </a:cubicBezTo>
                  <a:lnTo>
                    <a:pt x="306291" y="125426"/>
                  </a:lnTo>
                  <a:lnTo>
                    <a:pt x="264125" y="59456"/>
                  </a:lnTo>
                  <a:cubicBezTo>
                    <a:pt x="262029" y="56200"/>
                    <a:pt x="258825" y="54083"/>
                    <a:pt x="255331" y="53303"/>
                  </a:cubicBezTo>
                  <a:close/>
                  <a:moveTo>
                    <a:pt x="304940" y="0"/>
                  </a:moveTo>
                  <a:cubicBezTo>
                    <a:pt x="383402" y="0"/>
                    <a:pt x="447000" y="63550"/>
                    <a:pt x="447000" y="141895"/>
                  </a:cubicBezTo>
                  <a:cubicBezTo>
                    <a:pt x="447000" y="220240"/>
                    <a:pt x="383402" y="283744"/>
                    <a:pt x="304940" y="283744"/>
                  </a:cubicBezTo>
                  <a:cubicBezTo>
                    <a:pt x="226478" y="283744"/>
                    <a:pt x="162833" y="220240"/>
                    <a:pt x="162833" y="141895"/>
                  </a:cubicBezTo>
                  <a:cubicBezTo>
                    <a:pt x="162833" y="63550"/>
                    <a:pt x="226478" y="0"/>
                    <a:pt x="30494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7" name="í$ḷíḋè">
              <a:extLst>
                <a:ext uri="{FF2B5EF4-FFF2-40B4-BE49-F238E27FC236}">
                  <a16:creationId xmlns:a16="http://schemas.microsoft.com/office/drawing/2014/main" id="{AE450A2C-FB2E-4744-8850-3B69025CCD89}"/>
                </a:ext>
              </a:extLst>
            </p:cNvPr>
            <p:cNvGrpSpPr/>
            <p:nvPr/>
          </p:nvGrpSpPr>
          <p:grpSpPr>
            <a:xfrm>
              <a:off x="3396458" y="2803114"/>
              <a:ext cx="3138697" cy="1727879"/>
              <a:chOff x="392064" y="4209759"/>
              <a:chExt cx="3410005" cy="1832986"/>
            </a:xfrm>
          </p:grpSpPr>
          <p:sp>
            <p:nvSpPr>
              <p:cNvPr id="28" name="îŝľiḋe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1407723" y="5587564"/>
                <a:ext cx="2394346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/>
                <a:r>
                  <a:rPr lang="zh-CN" altLang="en-US" b="1" dirty="0"/>
                  <a:t>管理员</a:t>
                </a:r>
                <a:endParaRPr lang="zh-CN" altLang="zh-CN" b="1" dirty="0"/>
              </a:p>
            </p:txBody>
          </p:sp>
          <p:sp>
            <p:nvSpPr>
              <p:cNvPr id="29" name="îśľíḍè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392064" y="4209759"/>
                <a:ext cx="2635340" cy="148741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用户名，管理员的唯一编号，</a:t>
                </a:r>
                <a:r>
                  <a:rPr lang="en-US" altLang="zh-CN" dirty="0"/>
                  <a:t>char(30)}</a:t>
                </a:r>
                <a:endParaRPr lang="zh-CN" altLang="zh-CN" sz="14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管理员姓名，</a:t>
                </a:r>
                <a:r>
                  <a:rPr lang="en-US" altLang="zh-CN" dirty="0"/>
                  <a:t>varchar(10)}</a:t>
                </a:r>
                <a:endParaRPr lang="zh-CN" altLang="zh-CN" sz="14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登陆密码，</a:t>
                </a:r>
                <a:r>
                  <a:rPr lang="en-US" altLang="zh-CN" dirty="0"/>
                  <a:t>char(128)}</a:t>
                </a:r>
                <a:endParaRPr lang="zh-CN" altLang="zh-CN" sz="1400" dirty="0"/>
              </a:p>
              <a:p>
                <a:pPr marL="171450" indent="-171450" algn="ct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100" dirty="0"/>
              </a:p>
            </p:txBody>
          </p:sp>
        </p:grpSp>
        <p:sp>
          <p:nvSpPr>
            <p:cNvPr id="8" name="ïṣḷiḍe">
              <a:extLst>
                <a:ext uri="{FF2B5EF4-FFF2-40B4-BE49-F238E27FC236}">
                  <a16:creationId xmlns:a16="http://schemas.microsoft.com/office/drawing/2014/main" id="{490AFCD5-9CF9-478D-B619-714B3BD11B60}"/>
                </a:ext>
              </a:extLst>
            </p:cNvPr>
            <p:cNvSpPr/>
            <p:nvPr/>
          </p:nvSpPr>
          <p:spPr bwMode="auto">
            <a:xfrm>
              <a:off x="7120507" y="2237719"/>
              <a:ext cx="499807" cy="437504"/>
            </a:xfrm>
            <a:custGeom>
              <a:avLst/>
              <a:gdLst>
                <a:gd name="T0" fmla="*/ 215 w 406"/>
                <a:gd name="T1" fmla="*/ 162 h 356"/>
                <a:gd name="T2" fmla="*/ 157 w 406"/>
                <a:gd name="T3" fmla="*/ 102 h 356"/>
                <a:gd name="T4" fmla="*/ 19 w 406"/>
                <a:gd name="T5" fmla="*/ 242 h 356"/>
                <a:gd name="T6" fmla="*/ 0 w 406"/>
                <a:gd name="T7" fmla="*/ 224 h 356"/>
                <a:gd name="T8" fmla="*/ 157 w 406"/>
                <a:gd name="T9" fmla="*/ 64 h 356"/>
                <a:gd name="T10" fmla="*/ 216 w 406"/>
                <a:gd name="T11" fmla="*/ 124 h 356"/>
                <a:gd name="T12" fmla="*/ 315 w 406"/>
                <a:gd name="T13" fmla="*/ 28 h 356"/>
                <a:gd name="T14" fmla="*/ 287 w 406"/>
                <a:gd name="T15" fmla="*/ 0 h 356"/>
                <a:gd name="T16" fmla="*/ 362 w 406"/>
                <a:gd name="T17" fmla="*/ 0 h 356"/>
                <a:gd name="T18" fmla="*/ 362 w 406"/>
                <a:gd name="T19" fmla="*/ 74 h 356"/>
                <a:gd name="T20" fmla="*/ 334 w 406"/>
                <a:gd name="T21" fmla="*/ 47 h 356"/>
                <a:gd name="T22" fmla="*/ 215 w 406"/>
                <a:gd name="T23" fmla="*/ 162 h 356"/>
                <a:gd name="T24" fmla="*/ 66 w 406"/>
                <a:gd name="T25" fmla="*/ 356 h 356"/>
                <a:gd name="T26" fmla="*/ 156 w 406"/>
                <a:gd name="T27" fmla="*/ 356 h 356"/>
                <a:gd name="T28" fmla="*/ 156 w 406"/>
                <a:gd name="T29" fmla="*/ 230 h 356"/>
                <a:gd name="T30" fmla="*/ 66 w 406"/>
                <a:gd name="T31" fmla="*/ 230 h 356"/>
                <a:gd name="T32" fmla="*/ 66 w 406"/>
                <a:gd name="T33" fmla="*/ 356 h 356"/>
                <a:gd name="T34" fmla="*/ 191 w 406"/>
                <a:gd name="T35" fmla="*/ 356 h 356"/>
                <a:gd name="T36" fmla="*/ 281 w 406"/>
                <a:gd name="T37" fmla="*/ 356 h 356"/>
                <a:gd name="T38" fmla="*/ 281 w 406"/>
                <a:gd name="T39" fmla="*/ 190 h 356"/>
                <a:gd name="T40" fmla="*/ 191 w 406"/>
                <a:gd name="T41" fmla="*/ 190 h 356"/>
                <a:gd name="T42" fmla="*/ 191 w 406"/>
                <a:gd name="T43" fmla="*/ 356 h 356"/>
                <a:gd name="T44" fmla="*/ 316 w 406"/>
                <a:gd name="T45" fmla="*/ 106 h 356"/>
                <a:gd name="T46" fmla="*/ 316 w 406"/>
                <a:gd name="T47" fmla="*/ 356 h 356"/>
                <a:gd name="T48" fmla="*/ 406 w 406"/>
                <a:gd name="T49" fmla="*/ 356 h 356"/>
                <a:gd name="T50" fmla="*/ 406 w 406"/>
                <a:gd name="T51" fmla="*/ 106 h 356"/>
                <a:gd name="T52" fmla="*/ 316 w 406"/>
                <a:gd name="T53" fmla="*/ 10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6" h="356">
                  <a:moveTo>
                    <a:pt x="215" y="162"/>
                  </a:moveTo>
                  <a:lnTo>
                    <a:pt x="157" y="102"/>
                  </a:lnTo>
                  <a:lnTo>
                    <a:pt x="19" y="242"/>
                  </a:lnTo>
                  <a:lnTo>
                    <a:pt x="0" y="224"/>
                  </a:lnTo>
                  <a:lnTo>
                    <a:pt x="157" y="64"/>
                  </a:lnTo>
                  <a:lnTo>
                    <a:pt x="216" y="124"/>
                  </a:lnTo>
                  <a:lnTo>
                    <a:pt x="315" y="28"/>
                  </a:lnTo>
                  <a:lnTo>
                    <a:pt x="287" y="0"/>
                  </a:lnTo>
                  <a:lnTo>
                    <a:pt x="362" y="0"/>
                  </a:lnTo>
                  <a:lnTo>
                    <a:pt x="362" y="74"/>
                  </a:lnTo>
                  <a:lnTo>
                    <a:pt x="334" y="47"/>
                  </a:lnTo>
                  <a:lnTo>
                    <a:pt x="215" y="162"/>
                  </a:lnTo>
                  <a:close/>
                  <a:moveTo>
                    <a:pt x="66" y="356"/>
                  </a:moveTo>
                  <a:lnTo>
                    <a:pt x="156" y="356"/>
                  </a:lnTo>
                  <a:lnTo>
                    <a:pt x="156" y="230"/>
                  </a:lnTo>
                  <a:lnTo>
                    <a:pt x="66" y="230"/>
                  </a:lnTo>
                  <a:lnTo>
                    <a:pt x="66" y="356"/>
                  </a:lnTo>
                  <a:close/>
                  <a:moveTo>
                    <a:pt x="191" y="356"/>
                  </a:moveTo>
                  <a:lnTo>
                    <a:pt x="281" y="356"/>
                  </a:lnTo>
                  <a:lnTo>
                    <a:pt x="281" y="190"/>
                  </a:lnTo>
                  <a:lnTo>
                    <a:pt x="191" y="190"/>
                  </a:lnTo>
                  <a:lnTo>
                    <a:pt x="191" y="356"/>
                  </a:lnTo>
                  <a:close/>
                  <a:moveTo>
                    <a:pt x="316" y="106"/>
                  </a:moveTo>
                  <a:lnTo>
                    <a:pt x="316" y="356"/>
                  </a:lnTo>
                  <a:lnTo>
                    <a:pt x="406" y="356"/>
                  </a:lnTo>
                  <a:lnTo>
                    <a:pt x="406" y="106"/>
                  </a:lnTo>
                  <a:lnTo>
                    <a:pt x="316" y="10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9" name="íṩļïḋè">
              <a:extLst>
                <a:ext uri="{FF2B5EF4-FFF2-40B4-BE49-F238E27FC236}">
                  <a16:creationId xmlns:a16="http://schemas.microsoft.com/office/drawing/2014/main" id="{EE6545FB-5A37-4390-8373-158CFAC7A148}"/>
                </a:ext>
              </a:extLst>
            </p:cNvPr>
            <p:cNvGrpSpPr/>
            <p:nvPr/>
          </p:nvGrpSpPr>
          <p:grpSpPr>
            <a:xfrm>
              <a:off x="5726097" y="2750264"/>
              <a:ext cx="3069447" cy="3348696"/>
              <a:chOff x="12927" y="4153696"/>
              <a:chExt cx="3334770" cy="3552399"/>
            </a:xfrm>
          </p:grpSpPr>
          <p:sp>
            <p:nvSpPr>
              <p:cNvPr id="26" name="îsľîḋe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88165" y="4153696"/>
                <a:ext cx="2394346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zh-CN" altLang="en-US" sz="2000" b="1" dirty="0"/>
                  <a:t>订单信息</a:t>
                </a:r>
                <a:endParaRPr lang="en-US" altLang="zh-CN" sz="2000" b="1" dirty="0"/>
              </a:p>
            </p:txBody>
          </p:sp>
          <p:sp>
            <p:nvSpPr>
              <p:cNvPr id="27" name="iṧḻïḍê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12927" y="4674046"/>
                <a:ext cx="3334770" cy="3032049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订单号，唯一确定订单的编号，</a:t>
                </a:r>
                <a:r>
                  <a:rPr lang="en-US" altLang="zh-CN" dirty="0"/>
                  <a:t>char(10)}</a:t>
                </a:r>
                <a:endParaRPr lang="zh-CN" altLang="zh-CN" sz="14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订单日期，</a:t>
                </a:r>
                <a:r>
                  <a:rPr lang="en-US" altLang="zh-CN" dirty="0"/>
                  <a:t>DATETIME}</a:t>
                </a:r>
                <a:endParaRPr lang="zh-CN" altLang="zh-CN" sz="14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收货人姓名，</a:t>
                </a:r>
                <a:r>
                  <a:rPr lang="en-US" altLang="zh-CN" dirty="0"/>
                  <a:t>varchar(10)}</a:t>
                </a:r>
                <a:endParaRPr lang="zh-CN" altLang="zh-CN" sz="14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收货人手机，</a:t>
                </a:r>
                <a:r>
                  <a:rPr lang="en-US" altLang="zh-CN" dirty="0"/>
                  <a:t>varchar(20)}</a:t>
                </a:r>
                <a:endParaRPr lang="zh-CN" altLang="zh-CN" sz="14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收货人地址，</a:t>
                </a:r>
                <a:r>
                  <a:rPr lang="en-US" altLang="zh-CN" dirty="0"/>
                  <a:t>varchar(50)}</a:t>
                </a:r>
                <a:endParaRPr lang="zh-CN" altLang="zh-CN" sz="14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发货状态，</a:t>
                </a:r>
                <a:r>
                  <a:rPr lang="en-US" altLang="zh-CN" dirty="0"/>
                  <a:t>ENUM(“</a:t>
                </a:r>
                <a:r>
                  <a:rPr lang="zh-CN" altLang="zh-CN" dirty="0"/>
                  <a:t>未发货</a:t>
                </a:r>
                <a:r>
                  <a:rPr lang="en-US" altLang="zh-CN" dirty="0"/>
                  <a:t>”, ”</a:t>
                </a:r>
                <a:r>
                  <a:rPr lang="zh-CN" altLang="zh-CN" dirty="0"/>
                  <a:t>已发货</a:t>
                </a:r>
                <a:r>
                  <a:rPr lang="en-US" altLang="zh-CN" dirty="0"/>
                  <a:t>”)}</a:t>
                </a:r>
                <a:endParaRPr lang="zh-CN" altLang="zh-CN" sz="14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图书编号，</a:t>
                </a:r>
                <a:r>
                  <a:rPr lang="en-US" altLang="zh-CN" dirty="0"/>
                  <a:t>char(20)}</a:t>
                </a:r>
                <a:endParaRPr lang="zh-CN" altLang="zh-CN" sz="14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订购数量，</a:t>
                </a:r>
                <a:r>
                  <a:rPr lang="en-US" altLang="zh-CN" dirty="0"/>
                  <a:t>int(4)}</a:t>
                </a:r>
                <a:endParaRPr lang="zh-CN" altLang="zh-CN" sz="14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单价，</a:t>
                </a:r>
                <a:r>
                  <a:rPr lang="en-US" altLang="zh-CN" dirty="0"/>
                  <a:t>decimal}</a:t>
                </a:r>
                <a:endParaRPr lang="zh-CN" altLang="zh-CN" sz="1400" dirty="0"/>
              </a:p>
            </p:txBody>
          </p:sp>
        </p:grpSp>
        <p:sp>
          <p:nvSpPr>
            <p:cNvPr id="10" name="ïṣ1íḓé">
              <a:extLst>
                <a:ext uri="{FF2B5EF4-FFF2-40B4-BE49-F238E27FC236}">
                  <a16:creationId xmlns:a16="http://schemas.microsoft.com/office/drawing/2014/main" id="{94B63994-6C40-488D-A3E6-5E583CD03D93}"/>
                </a:ext>
              </a:extLst>
            </p:cNvPr>
            <p:cNvSpPr/>
            <p:nvPr/>
          </p:nvSpPr>
          <p:spPr bwMode="auto">
            <a:xfrm>
              <a:off x="9833764" y="4629198"/>
              <a:ext cx="587730" cy="434806"/>
            </a:xfrm>
            <a:custGeom>
              <a:avLst/>
              <a:gdLst>
                <a:gd name="T0" fmla="*/ 278945 h 440259"/>
                <a:gd name="T1" fmla="*/ 278945 h 440259"/>
                <a:gd name="T2" fmla="*/ 278945 h 440259"/>
                <a:gd name="T3" fmla="*/ 278945 h 440259"/>
                <a:gd name="T4" fmla="*/ 278945 h 440259"/>
                <a:gd name="T5" fmla="*/ 278945 h 440259"/>
                <a:gd name="T6" fmla="*/ 278945 h 440259"/>
                <a:gd name="T7" fmla="*/ 278945 h 440259"/>
                <a:gd name="T8" fmla="*/ 278945 h 440259"/>
                <a:gd name="T9" fmla="*/ 278945 h 440259"/>
                <a:gd name="T10" fmla="*/ 278945 h 440259"/>
                <a:gd name="T11" fmla="*/ 278945 h 440259"/>
                <a:gd name="T12" fmla="*/ 278945 h 440259"/>
                <a:gd name="T13" fmla="*/ 278945 h 440259"/>
                <a:gd name="T14" fmla="*/ 278945 h 440259"/>
                <a:gd name="T15" fmla="*/ 278945 h 440259"/>
                <a:gd name="T16" fmla="*/ 278945 h 440259"/>
                <a:gd name="T17" fmla="*/ 278945 h 440259"/>
                <a:gd name="T18" fmla="*/ 278945 h 440259"/>
                <a:gd name="T19" fmla="*/ 278945 h 440259"/>
                <a:gd name="T20" fmla="*/ 278945 h 440259"/>
                <a:gd name="T21" fmla="*/ 278945 h 440259"/>
                <a:gd name="T22" fmla="*/ 278945 h 440259"/>
                <a:gd name="T23" fmla="*/ 278945 h 440259"/>
                <a:gd name="T24" fmla="*/ 278945 h 440259"/>
                <a:gd name="T25" fmla="*/ 278945 h 440259"/>
                <a:gd name="T26" fmla="*/ 278945 h 440259"/>
                <a:gd name="T27" fmla="*/ 278945 h 440259"/>
                <a:gd name="T28" fmla="*/ 278945 h 440259"/>
                <a:gd name="T29" fmla="*/ 278945 h 440259"/>
                <a:gd name="T30" fmla="*/ 88862 h 440259"/>
                <a:gd name="T31" fmla="*/ 88862 h 440259"/>
                <a:gd name="T32" fmla="*/ 278945 h 440259"/>
                <a:gd name="T33" fmla="*/ 278945 h 440259"/>
                <a:gd name="T34" fmla="*/ 278945 h 440259"/>
                <a:gd name="T35" fmla="*/ 278945 h 440259"/>
                <a:gd name="T36" fmla="*/ 278945 h 440259"/>
                <a:gd name="T37" fmla="*/ 278945 h 440259"/>
                <a:gd name="T38" fmla="*/ 278945 h 440259"/>
                <a:gd name="T39" fmla="*/ 278945 h 440259"/>
                <a:gd name="T40" fmla="*/ 278945 h 440259"/>
                <a:gd name="T41" fmla="*/ 278945 h 440259"/>
                <a:gd name="T42" fmla="*/ 278945 h 440259"/>
                <a:gd name="T43" fmla="*/ 278945 h 440259"/>
                <a:gd name="T44" fmla="*/ 278945 h 440259"/>
                <a:gd name="T45" fmla="*/ 278945 h 440259"/>
                <a:gd name="T46" fmla="*/ 278945 h 440259"/>
                <a:gd name="T47" fmla="*/ 278945 h 440259"/>
                <a:gd name="T48" fmla="*/ 278945 h 440259"/>
                <a:gd name="T49" fmla="*/ 278945 h 440259"/>
                <a:gd name="T50" fmla="*/ 278945 h 440259"/>
                <a:gd name="T51" fmla="*/ 278945 h 440259"/>
                <a:gd name="T52" fmla="*/ 278945 h 440259"/>
                <a:gd name="T53" fmla="*/ 278945 h 440259"/>
                <a:gd name="T54" fmla="*/ 278945 h 440259"/>
                <a:gd name="T55" fmla="*/ 278945 h 440259"/>
                <a:gd name="T56" fmla="*/ 278945 h 440259"/>
                <a:gd name="T57" fmla="*/ 278945 h 440259"/>
                <a:gd name="T58" fmla="*/ 278945 h 440259"/>
                <a:gd name="T59" fmla="*/ 278945 h 440259"/>
                <a:gd name="T60" fmla="*/ 278945 h 440259"/>
                <a:gd name="T61" fmla="*/ 278945 h 440259"/>
                <a:gd name="T62" fmla="*/ 278945 h 440259"/>
                <a:gd name="T63" fmla="*/ 278945 h 440259"/>
                <a:gd name="T64" fmla="*/ 278945 h 440259"/>
                <a:gd name="T65" fmla="*/ 278945 h 440259"/>
                <a:gd name="T66" fmla="*/ 278945 h 440259"/>
                <a:gd name="T67" fmla="*/ 278945 h 440259"/>
                <a:gd name="T68" fmla="*/ 278945 h 440259"/>
                <a:gd name="T69" fmla="*/ 278945 h 440259"/>
                <a:gd name="T70" fmla="*/ 278945 h 440259"/>
                <a:gd name="T71" fmla="*/ 278945 h 440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608" h="4896">
                  <a:moveTo>
                    <a:pt x="6608" y="638"/>
                  </a:moveTo>
                  <a:lnTo>
                    <a:pt x="6608" y="2638"/>
                  </a:lnTo>
                  <a:cubicBezTo>
                    <a:pt x="6608" y="2638"/>
                    <a:pt x="6180" y="2723"/>
                    <a:pt x="6092" y="2734"/>
                  </a:cubicBezTo>
                  <a:cubicBezTo>
                    <a:pt x="6004" y="2745"/>
                    <a:pt x="5728" y="2834"/>
                    <a:pt x="5528" y="2642"/>
                  </a:cubicBezTo>
                  <a:cubicBezTo>
                    <a:pt x="5219" y="2346"/>
                    <a:pt x="4122" y="1254"/>
                    <a:pt x="4122" y="1254"/>
                  </a:cubicBezTo>
                  <a:cubicBezTo>
                    <a:pt x="4122" y="1254"/>
                    <a:pt x="3932" y="1069"/>
                    <a:pt x="3629" y="1229"/>
                  </a:cubicBezTo>
                  <a:cubicBezTo>
                    <a:pt x="3350" y="1376"/>
                    <a:pt x="2936" y="1592"/>
                    <a:pt x="2764" y="1675"/>
                  </a:cubicBezTo>
                  <a:cubicBezTo>
                    <a:pt x="2437" y="1849"/>
                    <a:pt x="2167" y="1574"/>
                    <a:pt x="2167" y="1364"/>
                  </a:cubicBezTo>
                  <a:cubicBezTo>
                    <a:pt x="2167" y="1201"/>
                    <a:pt x="2269" y="1090"/>
                    <a:pt x="2414" y="1009"/>
                  </a:cubicBezTo>
                  <a:cubicBezTo>
                    <a:pt x="2808" y="770"/>
                    <a:pt x="3637" y="305"/>
                    <a:pt x="3983" y="121"/>
                  </a:cubicBezTo>
                  <a:cubicBezTo>
                    <a:pt x="4193" y="9"/>
                    <a:pt x="4344" y="0"/>
                    <a:pt x="4633" y="243"/>
                  </a:cubicBezTo>
                  <a:cubicBezTo>
                    <a:pt x="4988" y="541"/>
                    <a:pt x="5304" y="814"/>
                    <a:pt x="5304" y="814"/>
                  </a:cubicBezTo>
                  <a:cubicBezTo>
                    <a:pt x="5304" y="814"/>
                    <a:pt x="5407" y="900"/>
                    <a:pt x="5571" y="865"/>
                  </a:cubicBezTo>
                  <a:cubicBezTo>
                    <a:pt x="5975" y="780"/>
                    <a:pt x="6608" y="638"/>
                    <a:pt x="6608" y="638"/>
                  </a:cubicBezTo>
                  <a:close/>
                  <a:moveTo>
                    <a:pt x="2241" y="4027"/>
                  </a:moveTo>
                  <a:cubicBezTo>
                    <a:pt x="2294" y="3891"/>
                    <a:pt x="2277" y="3738"/>
                    <a:pt x="2175" y="3633"/>
                  </a:cubicBezTo>
                  <a:cubicBezTo>
                    <a:pt x="2083" y="3540"/>
                    <a:pt x="1950" y="3515"/>
                    <a:pt x="1822" y="3544"/>
                  </a:cubicBezTo>
                  <a:cubicBezTo>
                    <a:pt x="1858" y="3418"/>
                    <a:pt x="1838" y="3283"/>
                    <a:pt x="1746" y="3188"/>
                  </a:cubicBezTo>
                  <a:cubicBezTo>
                    <a:pt x="1654" y="3095"/>
                    <a:pt x="1521" y="3070"/>
                    <a:pt x="1394" y="3099"/>
                  </a:cubicBezTo>
                  <a:cubicBezTo>
                    <a:pt x="1429" y="2973"/>
                    <a:pt x="1409" y="2838"/>
                    <a:pt x="1317" y="2744"/>
                  </a:cubicBezTo>
                  <a:cubicBezTo>
                    <a:pt x="1173" y="2596"/>
                    <a:pt x="924" y="2602"/>
                    <a:pt x="760" y="2758"/>
                  </a:cubicBezTo>
                  <a:cubicBezTo>
                    <a:pt x="597" y="2915"/>
                    <a:pt x="492" y="3198"/>
                    <a:pt x="638" y="3365"/>
                  </a:cubicBezTo>
                  <a:cubicBezTo>
                    <a:pt x="783" y="3531"/>
                    <a:pt x="950" y="3430"/>
                    <a:pt x="1077" y="3401"/>
                  </a:cubicBezTo>
                  <a:cubicBezTo>
                    <a:pt x="1042" y="3527"/>
                    <a:pt x="936" y="3645"/>
                    <a:pt x="1066" y="3810"/>
                  </a:cubicBezTo>
                  <a:cubicBezTo>
                    <a:pt x="1197" y="3975"/>
                    <a:pt x="1378" y="3875"/>
                    <a:pt x="1506" y="3846"/>
                  </a:cubicBezTo>
                  <a:cubicBezTo>
                    <a:pt x="1470" y="3972"/>
                    <a:pt x="1369" y="4101"/>
                    <a:pt x="1494" y="4254"/>
                  </a:cubicBezTo>
                  <a:cubicBezTo>
                    <a:pt x="1621" y="4408"/>
                    <a:pt x="1829" y="4326"/>
                    <a:pt x="1966" y="4283"/>
                  </a:cubicBezTo>
                  <a:cubicBezTo>
                    <a:pt x="1913" y="4419"/>
                    <a:pt x="1799" y="4566"/>
                    <a:pt x="1945" y="4730"/>
                  </a:cubicBezTo>
                  <a:cubicBezTo>
                    <a:pt x="2090" y="4896"/>
                    <a:pt x="2426" y="4819"/>
                    <a:pt x="2590" y="4663"/>
                  </a:cubicBezTo>
                  <a:cubicBezTo>
                    <a:pt x="2753" y="4506"/>
                    <a:pt x="2769" y="4258"/>
                    <a:pt x="2625" y="4110"/>
                  </a:cubicBezTo>
                  <a:cubicBezTo>
                    <a:pt x="2526" y="4008"/>
                    <a:pt x="2378" y="3985"/>
                    <a:pt x="2241" y="4027"/>
                  </a:cubicBezTo>
                  <a:close/>
                  <a:moveTo>
                    <a:pt x="5233" y="2987"/>
                  </a:moveTo>
                  <a:cubicBezTo>
                    <a:pt x="4047" y="1802"/>
                    <a:pt x="4605" y="2359"/>
                    <a:pt x="3967" y="1720"/>
                  </a:cubicBezTo>
                  <a:cubicBezTo>
                    <a:pt x="3967" y="1720"/>
                    <a:pt x="3775" y="1529"/>
                    <a:pt x="3523" y="1640"/>
                  </a:cubicBezTo>
                  <a:cubicBezTo>
                    <a:pt x="3346" y="1718"/>
                    <a:pt x="3117" y="1824"/>
                    <a:pt x="2945" y="1905"/>
                  </a:cubicBezTo>
                  <a:cubicBezTo>
                    <a:pt x="2757" y="2004"/>
                    <a:pt x="2621" y="2034"/>
                    <a:pt x="2557" y="2034"/>
                  </a:cubicBezTo>
                  <a:cubicBezTo>
                    <a:pt x="2192" y="2031"/>
                    <a:pt x="1896" y="1738"/>
                    <a:pt x="1896" y="1373"/>
                  </a:cubicBezTo>
                  <a:cubicBezTo>
                    <a:pt x="1896" y="1137"/>
                    <a:pt x="2022" y="931"/>
                    <a:pt x="2209" y="814"/>
                  </a:cubicBezTo>
                  <a:cubicBezTo>
                    <a:pt x="2472" y="632"/>
                    <a:pt x="3078" y="310"/>
                    <a:pt x="3078" y="310"/>
                  </a:cubicBezTo>
                  <a:cubicBezTo>
                    <a:pt x="3078" y="310"/>
                    <a:pt x="2894" y="76"/>
                    <a:pt x="2489" y="76"/>
                  </a:cubicBezTo>
                  <a:cubicBezTo>
                    <a:pt x="2085" y="76"/>
                    <a:pt x="1240" y="629"/>
                    <a:pt x="1240" y="629"/>
                  </a:cubicBezTo>
                  <a:cubicBezTo>
                    <a:pt x="1240" y="629"/>
                    <a:pt x="1000" y="783"/>
                    <a:pt x="659" y="644"/>
                  </a:cubicBezTo>
                  <a:lnTo>
                    <a:pt x="0" y="415"/>
                  </a:lnTo>
                  <a:lnTo>
                    <a:pt x="0" y="2704"/>
                  </a:lnTo>
                  <a:cubicBezTo>
                    <a:pt x="0" y="2704"/>
                    <a:pt x="188" y="2758"/>
                    <a:pt x="357" y="2827"/>
                  </a:cubicBezTo>
                  <a:cubicBezTo>
                    <a:pt x="395" y="2719"/>
                    <a:pt x="457" y="2618"/>
                    <a:pt x="542" y="2535"/>
                  </a:cubicBezTo>
                  <a:cubicBezTo>
                    <a:pt x="822" y="2268"/>
                    <a:pt x="1287" y="2265"/>
                    <a:pt x="1542" y="2528"/>
                  </a:cubicBezTo>
                  <a:cubicBezTo>
                    <a:pt x="1619" y="2608"/>
                    <a:pt x="1673" y="2703"/>
                    <a:pt x="1700" y="2808"/>
                  </a:cubicBezTo>
                  <a:cubicBezTo>
                    <a:pt x="1803" y="2840"/>
                    <a:pt x="1896" y="2896"/>
                    <a:pt x="1971" y="2973"/>
                  </a:cubicBezTo>
                  <a:cubicBezTo>
                    <a:pt x="2048" y="3053"/>
                    <a:pt x="2101" y="3148"/>
                    <a:pt x="2129" y="3253"/>
                  </a:cubicBezTo>
                  <a:cubicBezTo>
                    <a:pt x="2231" y="3285"/>
                    <a:pt x="2324" y="3341"/>
                    <a:pt x="2399" y="3418"/>
                  </a:cubicBezTo>
                  <a:cubicBezTo>
                    <a:pt x="2484" y="3505"/>
                    <a:pt x="2540" y="3611"/>
                    <a:pt x="2566" y="3725"/>
                  </a:cubicBezTo>
                  <a:cubicBezTo>
                    <a:pt x="2674" y="3756"/>
                    <a:pt x="2771" y="3814"/>
                    <a:pt x="2849" y="3894"/>
                  </a:cubicBezTo>
                  <a:cubicBezTo>
                    <a:pt x="3002" y="4051"/>
                    <a:pt x="3056" y="4265"/>
                    <a:pt x="3023" y="4471"/>
                  </a:cubicBezTo>
                  <a:cubicBezTo>
                    <a:pt x="3024" y="4471"/>
                    <a:pt x="3024" y="4471"/>
                    <a:pt x="3024" y="4472"/>
                  </a:cubicBezTo>
                  <a:cubicBezTo>
                    <a:pt x="3027" y="4475"/>
                    <a:pt x="3119" y="4578"/>
                    <a:pt x="3177" y="4636"/>
                  </a:cubicBezTo>
                  <a:cubicBezTo>
                    <a:pt x="3290" y="4749"/>
                    <a:pt x="3475" y="4749"/>
                    <a:pt x="3588" y="4636"/>
                  </a:cubicBezTo>
                  <a:cubicBezTo>
                    <a:pt x="3700" y="4523"/>
                    <a:pt x="3701" y="4339"/>
                    <a:pt x="3588" y="4225"/>
                  </a:cubicBezTo>
                  <a:cubicBezTo>
                    <a:pt x="3584" y="4221"/>
                    <a:pt x="3180" y="3799"/>
                    <a:pt x="3213" y="3766"/>
                  </a:cubicBezTo>
                  <a:cubicBezTo>
                    <a:pt x="3245" y="3734"/>
                    <a:pt x="3759" y="4269"/>
                    <a:pt x="3769" y="4279"/>
                  </a:cubicBezTo>
                  <a:cubicBezTo>
                    <a:pt x="3882" y="4391"/>
                    <a:pt x="4066" y="4391"/>
                    <a:pt x="4179" y="4279"/>
                  </a:cubicBezTo>
                  <a:cubicBezTo>
                    <a:pt x="4292" y="4166"/>
                    <a:pt x="4292" y="3981"/>
                    <a:pt x="4179" y="3868"/>
                  </a:cubicBezTo>
                  <a:cubicBezTo>
                    <a:pt x="4174" y="3863"/>
                    <a:pt x="4151" y="3841"/>
                    <a:pt x="4142" y="3832"/>
                  </a:cubicBezTo>
                  <a:cubicBezTo>
                    <a:pt x="4142" y="3832"/>
                    <a:pt x="3632" y="3378"/>
                    <a:pt x="3671" y="3339"/>
                  </a:cubicBezTo>
                  <a:cubicBezTo>
                    <a:pt x="3710" y="3300"/>
                    <a:pt x="4343" y="3891"/>
                    <a:pt x="4345" y="3891"/>
                  </a:cubicBezTo>
                  <a:cubicBezTo>
                    <a:pt x="4458" y="3993"/>
                    <a:pt x="4634" y="3992"/>
                    <a:pt x="4743" y="3883"/>
                  </a:cubicBezTo>
                  <a:cubicBezTo>
                    <a:pt x="4850" y="3776"/>
                    <a:pt x="4852" y="3608"/>
                    <a:pt x="4758" y="3494"/>
                  </a:cubicBezTo>
                  <a:cubicBezTo>
                    <a:pt x="4756" y="3488"/>
                    <a:pt x="4275" y="2986"/>
                    <a:pt x="4312" y="2948"/>
                  </a:cubicBezTo>
                  <a:cubicBezTo>
                    <a:pt x="4351" y="2910"/>
                    <a:pt x="4826" y="3400"/>
                    <a:pt x="4827" y="3401"/>
                  </a:cubicBezTo>
                  <a:cubicBezTo>
                    <a:pt x="4940" y="3513"/>
                    <a:pt x="5124" y="3513"/>
                    <a:pt x="5238" y="3401"/>
                  </a:cubicBezTo>
                  <a:cubicBezTo>
                    <a:pt x="5350" y="3288"/>
                    <a:pt x="5350" y="3103"/>
                    <a:pt x="5238" y="2990"/>
                  </a:cubicBezTo>
                  <a:cubicBezTo>
                    <a:pt x="5236" y="2989"/>
                    <a:pt x="5234" y="2988"/>
                    <a:pt x="5233" y="298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11" name="iśḷïḑè">
              <a:extLst>
                <a:ext uri="{FF2B5EF4-FFF2-40B4-BE49-F238E27FC236}">
                  <a16:creationId xmlns:a16="http://schemas.microsoft.com/office/drawing/2014/main" id="{1E15E93D-B98F-4EFE-9713-8AD8D0A5E138}"/>
                </a:ext>
              </a:extLst>
            </p:cNvPr>
            <p:cNvGrpSpPr/>
            <p:nvPr/>
          </p:nvGrpSpPr>
          <p:grpSpPr>
            <a:xfrm>
              <a:off x="8486299" y="3248309"/>
              <a:ext cx="2973415" cy="1302121"/>
              <a:chOff x="101570" y="4682037"/>
              <a:chExt cx="3230439" cy="1381329"/>
            </a:xfrm>
          </p:grpSpPr>
          <p:sp>
            <p:nvSpPr>
              <p:cNvPr id="24" name="îs1iḑè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77994" y="5608185"/>
                <a:ext cx="2394346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zh-CN" altLang="en-US" sz="2000" b="1" dirty="0"/>
                  <a:t>购物车</a:t>
                </a:r>
                <a:endParaRPr lang="en-US" altLang="zh-CN" sz="2000" b="1" dirty="0"/>
              </a:p>
            </p:txBody>
          </p:sp>
          <p:sp>
            <p:nvSpPr>
              <p:cNvPr id="25" name="íṡ1iḓê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101570" y="4682037"/>
                <a:ext cx="3230439" cy="100705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购物车编号，唯一标识购物车的编号，</a:t>
                </a:r>
                <a:r>
                  <a:rPr lang="en-US" altLang="zh-CN" dirty="0"/>
                  <a:t>int(4)</a:t>
                </a:r>
                <a:r>
                  <a:rPr lang="zh-CN" altLang="zh-CN" dirty="0"/>
                  <a:t>，</a:t>
                </a:r>
                <a:r>
                  <a:rPr lang="en-US" altLang="zh-CN" dirty="0"/>
                  <a:t>AUTO_INCREMENT}</a:t>
                </a:r>
                <a:endParaRPr lang="zh-CN" altLang="zh-CN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图书编号，</a:t>
                </a:r>
                <a:r>
                  <a:rPr lang="en-US" altLang="zh-CN" dirty="0"/>
                  <a:t>char(20)}</a:t>
                </a:r>
                <a:endParaRPr lang="zh-CN" altLang="zh-CN" dirty="0"/>
              </a:p>
              <a:p>
                <a:pPr marL="171450" indent="-171450" algn="ct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100" dirty="0"/>
              </a:p>
            </p:txBody>
          </p:sp>
        </p:grpSp>
        <p:sp>
          <p:nvSpPr>
            <p:cNvPr id="12" name="îşļíde">
              <a:extLst>
                <a:ext uri="{FF2B5EF4-FFF2-40B4-BE49-F238E27FC236}">
                  <a16:creationId xmlns:a16="http://schemas.microsoft.com/office/drawing/2014/main" id="{E3F20857-1777-444C-9D35-385662A77B8B}"/>
                </a:ext>
              </a:extLst>
            </p:cNvPr>
            <p:cNvSpPr/>
            <p:nvPr/>
          </p:nvSpPr>
          <p:spPr bwMode="auto">
            <a:xfrm>
              <a:off x="1796573" y="2291471"/>
              <a:ext cx="553278" cy="411820"/>
            </a:xfrm>
            <a:custGeom>
              <a:avLst/>
              <a:gdLst>
                <a:gd name="connsiteX0" fmla="*/ 36795 w 606651"/>
                <a:gd name="connsiteY0" fmla="*/ 106977 h 451548"/>
                <a:gd name="connsiteX1" fmla="*/ 91546 w 606651"/>
                <a:gd name="connsiteY1" fmla="*/ 106977 h 451548"/>
                <a:gd name="connsiteX2" fmla="*/ 212272 w 606651"/>
                <a:gd name="connsiteY2" fmla="*/ 106977 h 451548"/>
                <a:gd name="connsiteX3" fmla="*/ 240008 w 606651"/>
                <a:gd name="connsiteY3" fmla="*/ 118743 h 451548"/>
                <a:gd name="connsiteX4" fmla="*/ 266302 w 606651"/>
                <a:gd name="connsiteY4" fmla="*/ 145876 h 451548"/>
                <a:gd name="connsiteX5" fmla="*/ 294038 w 606651"/>
                <a:gd name="connsiteY5" fmla="*/ 157642 h 451548"/>
                <a:gd name="connsiteX6" fmla="*/ 498775 w 606651"/>
                <a:gd name="connsiteY6" fmla="*/ 157642 h 451548"/>
                <a:gd name="connsiteX7" fmla="*/ 515128 w 606651"/>
                <a:gd name="connsiteY7" fmla="*/ 173890 h 451548"/>
                <a:gd name="connsiteX8" fmla="*/ 515128 w 606651"/>
                <a:gd name="connsiteY8" fmla="*/ 344535 h 451548"/>
                <a:gd name="connsiteX9" fmla="*/ 515128 w 606651"/>
                <a:gd name="connsiteY9" fmla="*/ 414810 h 451548"/>
                <a:gd name="connsiteX10" fmla="*/ 478333 w 606651"/>
                <a:gd name="connsiteY10" fmla="*/ 451548 h 451548"/>
                <a:gd name="connsiteX11" fmla="*/ 36795 w 606651"/>
                <a:gd name="connsiteY11" fmla="*/ 451548 h 451548"/>
                <a:gd name="connsiteX12" fmla="*/ 0 w 606651"/>
                <a:gd name="connsiteY12" fmla="*/ 414810 h 451548"/>
                <a:gd name="connsiteX13" fmla="*/ 0 w 606651"/>
                <a:gd name="connsiteY13" fmla="*/ 143715 h 451548"/>
                <a:gd name="connsiteX14" fmla="*/ 36795 w 606651"/>
                <a:gd name="connsiteY14" fmla="*/ 106977 h 451548"/>
                <a:gd name="connsiteX15" fmla="*/ 128318 w 606651"/>
                <a:gd name="connsiteY15" fmla="*/ 0 h 451548"/>
                <a:gd name="connsiteX16" fmla="*/ 303795 w 606651"/>
                <a:gd name="connsiteY16" fmla="*/ 0 h 451548"/>
                <a:gd name="connsiteX17" fmla="*/ 331531 w 606651"/>
                <a:gd name="connsiteY17" fmla="*/ 11686 h 451548"/>
                <a:gd name="connsiteX18" fmla="*/ 357825 w 606651"/>
                <a:gd name="connsiteY18" fmla="*/ 38900 h 451548"/>
                <a:gd name="connsiteX19" fmla="*/ 385561 w 606651"/>
                <a:gd name="connsiteY19" fmla="*/ 50586 h 451548"/>
                <a:gd name="connsiteX20" fmla="*/ 590298 w 606651"/>
                <a:gd name="connsiteY20" fmla="*/ 50586 h 451548"/>
                <a:gd name="connsiteX21" fmla="*/ 606651 w 606651"/>
                <a:gd name="connsiteY21" fmla="*/ 66915 h 451548"/>
                <a:gd name="connsiteX22" fmla="*/ 606651 w 606651"/>
                <a:gd name="connsiteY22" fmla="*/ 307761 h 451548"/>
                <a:gd name="connsiteX23" fmla="*/ 569856 w 606651"/>
                <a:gd name="connsiteY23" fmla="*/ 344500 h 451548"/>
                <a:gd name="connsiteX24" fmla="*/ 531458 w 606651"/>
                <a:gd name="connsiteY24" fmla="*/ 344500 h 451548"/>
                <a:gd name="connsiteX25" fmla="*/ 531458 w 606651"/>
                <a:gd name="connsiteY25" fmla="*/ 173851 h 451548"/>
                <a:gd name="connsiteX26" fmla="*/ 498751 w 606651"/>
                <a:gd name="connsiteY26" fmla="*/ 141194 h 451548"/>
                <a:gd name="connsiteX27" fmla="*/ 294015 w 606651"/>
                <a:gd name="connsiteY27" fmla="*/ 141194 h 451548"/>
                <a:gd name="connsiteX28" fmla="*/ 278062 w 606651"/>
                <a:gd name="connsiteY28" fmla="*/ 134470 h 451548"/>
                <a:gd name="connsiteX29" fmla="*/ 251689 w 606651"/>
                <a:gd name="connsiteY29" fmla="*/ 107336 h 451548"/>
                <a:gd name="connsiteX30" fmla="*/ 212249 w 606651"/>
                <a:gd name="connsiteY30" fmla="*/ 90607 h 451548"/>
                <a:gd name="connsiteX31" fmla="*/ 91523 w 606651"/>
                <a:gd name="connsiteY31" fmla="*/ 90607 h 451548"/>
                <a:gd name="connsiteX32" fmla="*/ 91523 w 606651"/>
                <a:gd name="connsiteY32" fmla="*/ 36739 h 451548"/>
                <a:gd name="connsiteX33" fmla="*/ 128318 w 606651"/>
                <a:gd name="connsiteY33" fmla="*/ 0 h 45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6651" h="451548">
                  <a:moveTo>
                    <a:pt x="36795" y="106977"/>
                  </a:moveTo>
                  <a:lnTo>
                    <a:pt x="91546" y="106977"/>
                  </a:lnTo>
                  <a:lnTo>
                    <a:pt x="212272" y="106977"/>
                  </a:lnTo>
                  <a:cubicBezTo>
                    <a:pt x="221330" y="106977"/>
                    <a:pt x="233675" y="112260"/>
                    <a:pt x="240008" y="118743"/>
                  </a:cubicBezTo>
                  <a:lnTo>
                    <a:pt x="266302" y="145876"/>
                  </a:lnTo>
                  <a:cubicBezTo>
                    <a:pt x="272554" y="152360"/>
                    <a:pt x="284980" y="157642"/>
                    <a:pt x="294038" y="157642"/>
                  </a:cubicBezTo>
                  <a:lnTo>
                    <a:pt x="498775" y="157642"/>
                  </a:lnTo>
                  <a:cubicBezTo>
                    <a:pt x="507833" y="157642"/>
                    <a:pt x="515128" y="164926"/>
                    <a:pt x="515128" y="173890"/>
                  </a:cubicBezTo>
                  <a:lnTo>
                    <a:pt x="515128" y="344535"/>
                  </a:lnTo>
                  <a:lnTo>
                    <a:pt x="515128" y="414810"/>
                  </a:lnTo>
                  <a:cubicBezTo>
                    <a:pt x="515128" y="435060"/>
                    <a:pt x="498695" y="451548"/>
                    <a:pt x="478333" y="451548"/>
                  </a:cubicBezTo>
                  <a:lnTo>
                    <a:pt x="36795" y="451548"/>
                  </a:lnTo>
                  <a:cubicBezTo>
                    <a:pt x="16433" y="451548"/>
                    <a:pt x="0" y="435060"/>
                    <a:pt x="0" y="414810"/>
                  </a:cubicBezTo>
                  <a:lnTo>
                    <a:pt x="0" y="143715"/>
                  </a:lnTo>
                  <a:cubicBezTo>
                    <a:pt x="0" y="123385"/>
                    <a:pt x="16433" y="106977"/>
                    <a:pt x="36795" y="106977"/>
                  </a:cubicBezTo>
                  <a:close/>
                  <a:moveTo>
                    <a:pt x="128318" y="0"/>
                  </a:moveTo>
                  <a:lnTo>
                    <a:pt x="303795" y="0"/>
                  </a:lnTo>
                  <a:cubicBezTo>
                    <a:pt x="312853" y="0"/>
                    <a:pt x="325279" y="5283"/>
                    <a:pt x="331531" y="11686"/>
                  </a:cubicBezTo>
                  <a:lnTo>
                    <a:pt x="357825" y="38900"/>
                  </a:lnTo>
                  <a:cubicBezTo>
                    <a:pt x="364158" y="45384"/>
                    <a:pt x="376583" y="50586"/>
                    <a:pt x="385561" y="50586"/>
                  </a:cubicBezTo>
                  <a:lnTo>
                    <a:pt x="590298" y="50586"/>
                  </a:lnTo>
                  <a:cubicBezTo>
                    <a:pt x="599356" y="50586"/>
                    <a:pt x="606651" y="57950"/>
                    <a:pt x="606651" y="66915"/>
                  </a:cubicBezTo>
                  <a:lnTo>
                    <a:pt x="606651" y="307761"/>
                  </a:lnTo>
                  <a:cubicBezTo>
                    <a:pt x="606651" y="328091"/>
                    <a:pt x="590218" y="344500"/>
                    <a:pt x="569856" y="344500"/>
                  </a:cubicBezTo>
                  <a:lnTo>
                    <a:pt x="531458" y="344500"/>
                  </a:lnTo>
                  <a:lnTo>
                    <a:pt x="531458" y="173851"/>
                  </a:lnTo>
                  <a:cubicBezTo>
                    <a:pt x="531458" y="155921"/>
                    <a:pt x="516788" y="141194"/>
                    <a:pt x="498751" y="141194"/>
                  </a:cubicBezTo>
                  <a:lnTo>
                    <a:pt x="294015" y="141194"/>
                  </a:lnTo>
                  <a:cubicBezTo>
                    <a:pt x="289446" y="141194"/>
                    <a:pt x="281189" y="137752"/>
                    <a:pt x="278062" y="134470"/>
                  </a:cubicBezTo>
                  <a:lnTo>
                    <a:pt x="251689" y="107336"/>
                  </a:lnTo>
                  <a:cubicBezTo>
                    <a:pt x="242310" y="97651"/>
                    <a:pt x="225716" y="90607"/>
                    <a:pt x="212249" y="90607"/>
                  </a:cubicBezTo>
                  <a:lnTo>
                    <a:pt x="91523" y="90607"/>
                  </a:lnTo>
                  <a:lnTo>
                    <a:pt x="91523" y="36739"/>
                  </a:lnTo>
                  <a:cubicBezTo>
                    <a:pt x="91523" y="16409"/>
                    <a:pt x="108037" y="0"/>
                    <a:pt x="1283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13" name="iṧ1îďê">
              <a:extLst>
                <a:ext uri="{FF2B5EF4-FFF2-40B4-BE49-F238E27FC236}">
                  <a16:creationId xmlns:a16="http://schemas.microsoft.com/office/drawing/2014/main" id="{9AFA178C-F900-4F49-BF4B-77BC27D43FE0}"/>
                </a:ext>
              </a:extLst>
            </p:cNvPr>
            <p:cNvGrpSpPr/>
            <p:nvPr/>
          </p:nvGrpSpPr>
          <p:grpSpPr>
            <a:xfrm>
              <a:off x="462988" y="2745405"/>
              <a:ext cx="2933470" cy="3353555"/>
              <a:chOff x="115172" y="4148538"/>
              <a:chExt cx="3187041" cy="3557552"/>
            </a:xfrm>
          </p:grpSpPr>
          <p:sp>
            <p:nvSpPr>
              <p:cNvPr id="22" name="îṧļíďè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67412" y="4148538"/>
                <a:ext cx="2394345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zh-CN" altLang="en-US" sz="2000" b="1" dirty="0"/>
                  <a:t>会员</a:t>
                </a:r>
                <a:endParaRPr lang="en-US" altLang="zh-CN" sz="2000" b="1" dirty="0"/>
              </a:p>
            </p:txBody>
          </p:sp>
          <p:sp>
            <p:nvSpPr>
              <p:cNvPr id="23" name="išḷîḑê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115172" y="4636232"/>
                <a:ext cx="3187041" cy="30698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用户名，用户的唯一编号，</a:t>
                </a:r>
                <a:r>
                  <a:rPr lang="en-US" altLang="zh-CN" sz="1400" dirty="0"/>
                  <a:t>char(30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会员姓名，</a:t>
                </a:r>
                <a:r>
                  <a:rPr lang="en-US" altLang="zh-CN" sz="1400" dirty="0"/>
                  <a:t>varchar(10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性别，</a:t>
                </a:r>
                <a:r>
                  <a:rPr lang="en-US" altLang="zh-CN" sz="1400" dirty="0"/>
                  <a:t>ENUM(“</a:t>
                </a:r>
                <a:r>
                  <a:rPr lang="zh-CN" altLang="zh-CN" sz="1400" dirty="0"/>
                  <a:t>男</a:t>
                </a:r>
                <a:r>
                  <a:rPr lang="en-US" altLang="zh-CN" sz="1400" dirty="0"/>
                  <a:t>”, ”</a:t>
                </a:r>
                <a:r>
                  <a:rPr lang="zh-CN" altLang="zh-CN" sz="1400" dirty="0"/>
                  <a:t>女</a:t>
                </a:r>
                <a:r>
                  <a:rPr lang="en-US" altLang="zh-CN" sz="1400" dirty="0"/>
                  <a:t>”, ”</a:t>
                </a:r>
                <a:r>
                  <a:rPr lang="zh-CN" altLang="zh-CN" sz="1400" dirty="0"/>
                  <a:t>保密</a:t>
                </a:r>
                <a:r>
                  <a:rPr lang="en-US" altLang="zh-CN" sz="1400" dirty="0"/>
                  <a:t>”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手机号码，</a:t>
                </a:r>
                <a:r>
                  <a:rPr lang="en-US" altLang="zh-CN" sz="1400" dirty="0"/>
                  <a:t>varchar(20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email</a:t>
                </a:r>
                <a:r>
                  <a:rPr lang="zh-CN" altLang="zh-CN" sz="1400" dirty="0"/>
                  <a:t>，</a:t>
                </a:r>
                <a:r>
                  <a:rPr lang="en-US" altLang="zh-CN" sz="1400" dirty="0"/>
                  <a:t>varchar(30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地址编号，</a:t>
                </a:r>
                <a:r>
                  <a:rPr lang="en-US" altLang="zh-CN" sz="1400" dirty="0"/>
                  <a:t>int(4)</a:t>
                </a:r>
                <a:r>
                  <a:rPr lang="zh-CN" altLang="zh-CN" sz="1400" dirty="0"/>
                  <a:t>，</a:t>
                </a:r>
                <a:r>
                  <a:rPr lang="en-US" altLang="zh-CN" sz="1400" dirty="0"/>
                  <a:t>AUTO_INCREMENT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地址，</a:t>
                </a:r>
                <a:r>
                  <a:rPr lang="en-US" altLang="zh-CN" sz="1400" dirty="0"/>
                  <a:t>varchar(50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登陆密码，</a:t>
                </a:r>
                <a:r>
                  <a:rPr lang="en-US" altLang="zh-CN" sz="1400" dirty="0"/>
                  <a:t>char(128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会员，</a:t>
                </a:r>
                <a:r>
                  <a:rPr lang="en-US" altLang="zh-CN" sz="1400" dirty="0"/>
                  <a:t>ENUM(“</a:t>
                </a:r>
                <a:r>
                  <a:rPr lang="zh-CN" altLang="zh-CN" sz="1400" dirty="0"/>
                  <a:t>是</a:t>
                </a:r>
                <a:r>
                  <a:rPr lang="en-US" altLang="zh-CN" sz="1400" dirty="0"/>
                  <a:t>”, ”</a:t>
                </a:r>
                <a:r>
                  <a:rPr lang="zh-CN" altLang="zh-CN" sz="1400" dirty="0"/>
                  <a:t>否</a:t>
                </a:r>
                <a:r>
                  <a:rPr lang="en-US" altLang="zh-CN" sz="1400" dirty="0"/>
                  <a:t>”)}</a:t>
                </a:r>
                <a:endParaRPr lang="zh-CN" altLang="zh-CN" sz="1100" dirty="0"/>
              </a:p>
            </p:txBody>
          </p:sp>
        </p:grpSp>
        <p:sp>
          <p:nvSpPr>
            <p:cNvPr id="14" name="íṩḻiḑè">
              <a:extLst>
                <a:ext uri="{FF2B5EF4-FFF2-40B4-BE49-F238E27FC236}">
                  <a16:creationId xmlns:a16="http://schemas.microsoft.com/office/drawing/2014/main" id="{22AA42C0-7927-4B68-9006-3F4514C9471F}"/>
                </a:ext>
              </a:extLst>
            </p:cNvPr>
            <p:cNvSpPr/>
            <p:nvPr/>
          </p:nvSpPr>
          <p:spPr bwMode="auto">
            <a:xfrm rot="10800000">
              <a:off x="732284" y="1910026"/>
              <a:ext cx="2681858" cy="1735652"/>
            </a:xfrm>
            <a:custGeom>
              <a:avLst/>
              <a:gdLst>
                <a:gd name="T0" fmla="*/ 3787 w 3787"/>
                <a:gd name="T1" fmla="*/ 0 h 1893"/>
                <a:gd name="T2" fmla="*/ 3787 w 3787"/>
                <a:gd name="T3" fmla="*/ 1893 h 1893"/>
                <a:gd name="T4" fmla="*/ 0 w 3787"/>
                <a:gd name="T5" fmla="*/ 1893 h 1893"/>
                <a:gd name="T6" fmla="*/ 0 w 3787"/>
                <a:gd name="T7" fmla="*/ 0 h 1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7" h="1893">
                  <a:moveTo>
                    <a:pt x="3787" y="0"/>
                  </a:moveTo>
                  <a:lnTo>
                    <a:pt x="3787" y="1893"/>
                  </a:lnTo>
                  <a:lnTo>
                    <a:pt x="0" y="1893"/>
                  </a:lnTo>
                  <a:lnTo>
                    <a:pt x="0" y="0"/>
                  </a:lnTo>
                </a:path>
              </a:pathLst>
            </a:custGeom>
            <a:noFill/>
            <a:ln w="180975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5" name="iṣļiḋê">
              <a:extLst>
                <a:ext uri="{FF2B5EF4-FFF2-40B4-BE49-F238E27FC236}">
                  <a16:creationId xmlns:a16="http://schemas.microsoft.com/office/drawing/2014/main" id="{5C4285ED-50E6-40D4-97B0-55225676FC7A}"/>
                </a:ext>
              </a:extLst>
            </p:cNvPr>
            <p:cNvSpPr/>
            <p:nvPr/>
          </p:nvSpPr>
          <p:spPr bwMode="auto">
            <a:xfrm>
              <a:off x="3414143" y="3645678"/>
              <a:ext cx="2681858" cy="1735652"/>
            </a:xfrm>
            <a:custGeom>
              <a:avLst/>
              <a:gdLst>
                <a:gd name="T0" fmla="*/ 3787 w 3787"/>
                <a:gd name="T1" fmla="*/ 0 h 1893"/>
                <a:gd name="T2" fmla="*/ 3787 w 3787"/>
                <a:gd name="T3" fmla="*/ 1893 h 1893"/>
                <a:gd name="T4" fmla="*/ 0 w 3787"/>
                <a:gd name="T5" fmla="*/ 1893 h 1893"/>
                <a:gd name="T6" fmla="*/ 0 w 3787"/>
                <a:gd name="T7" fmla="*/ 0 h 1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7" h="1893">
                  <a:moveTo>
                    <a:pt x="3787" y="0"/>
                  </a:moveTo>
                  <a:lnTo>
                    <a:pt x="3787" y="1893"/>
                  </a:lnTo>
                  <a:lnTo>
                    <a:pt x="0" y="1893"/>
                  </a:lnTo>
                  <a:lnTo>
                    <a:pt x="0" y="0"/>
                  </a:lnTo>
                </a:path>
              </a:pathLst>
            </a:custGeom>
            <a:noFill/>
            <a:ln w="180975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6" name="iş1iḋè">
              <a:extLst>
                <a:ext uri="{FF2B5EF4-FFF2-40B4-BE49-F238E27FC236}">
                  <a16:creationId xmlns:a16="http://schemas.microsoft.com/office/drawing/2014/main" id="{66812FAE-71B3-483C-9466-B12F21F67163}"/>
                </a:ext>
              </a:extLst>
            </p:cNvPr>
            <p:cNvSpPr/>
            <p:nvPr/>
          </p:nvSpPr>
          <p:spPr bwMode="auto">
            <a:xfrm rot="10800000">
              <a:off x="6096000" y="1910026"/>
              <a:ext cx="2681858" cy="1735652"/>
            </a:xfrm>
            <a:custGeom>
              <a:avLst/>
              <a:gdLst>
                <a:gd name="T0" fmla="*/ 3787 w 3787"/>
                <a:gd name="T1" fmla="*/ 0 h 1893"/>
                <a:gd name="T2" fmla="*/ 3787 w 3787"/>
                <a:gd name="T3" fmla="*/ 1893 h 1893"/>
                <a:gd name="T4" fmla="*/ 0 w 3787"/>
                <a:gd name="T5" fmla="*/ 1893 h 1893"/>
                <a:gd name="T6" fmla="*/ 0 w 3787"/>
                <a:gd name="T7" fmla="*/ 0 h 1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7" h="1893">
                  <a:moveTo>
                    <a:pt x="3787" y="0"/>
                  </a:moveTo>
                  <a:lnTo>
                    <a:pt x="3787" y="1893"/>
                  </a:lnTo>
                  <a:lnTo>
                    <a:pt x="0" y="1893"/>
                  </a:lnTo>
                  <a:lnTo>
                    <a:pt x="0" y="0"/>
                  </a:lnTo>
                </a:path>
              </a:pathLst>
            </a:custGeom>
            <a:noFill/>
            <a:ln w="180975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7" name="iśļïḓê">
              <a:extLst>
                <a:ext uri="{FF2B5EF4-FFF2-40B4-BE49-F238E27FC236}">
                  <a16:creationId xmlns:a16="http://schemas.microsoft.com/office/drawing/2014/main" id="{C8BAA6D5-3D89-4D2B-A10B-BA37D4A40968}"/>
                </a:ext>
              </a:extLst>
            </p:cNvPr>
            <p:cNvSpPr/>
            <p:nvPr/>
          </p:nvSpPr>
          <p:spPr bwMode="auto">
            <a:xfrm>
              <a:off x="8777857" y="3645678"/>
              <a:ext cx="2681858" cy="1735652"/>
            </a:xfrm>
            <a:custGeom>
              <a:avLst/>
              <a:gdLst>
                <a:gd name="T0" fmla="*/ 3787 w 3787"/>
                <a:gd name="T1" fmla="*/ 0 h 1893"/>
                <a:gd name="T2" fmla="*/ 3787 w 3787"/>
                <a:gd name="T3" fmla="*/ 1893 h 1893"/>
                <a:gd name="T4" fmla="*/ 0 w 3787"/>
                <a:gd name="T5" fmla="*/ 1893 h 1893"/>
                <a:gd name="T6" fmla="*/ 0 w 3787"/>
                <a:gd name="T7" fmla="*/ 0 h 1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7" h="1893">
                  <a:moveTo>
                    <a:pt x="3787" y="0"/>
                  </a:moveTo>
                  <a:lnTo>
                    <a:pt x="3787" y="1893"/>
                  </a:lnTo>
                  <a:lnTo>
                    <a:pt x="0" y="1893"/>
                  </a:lnTo>
                  <a:lnTo>
                    <a:pt x="0" y="0"/>
                  </a:lnTo>
                </a:path>
              </a:pathLst>
            </a:custGeom>
            <a:noFill/>
            <a:ln w="180975" cap="rnd">
              <a:solidFill>
                <a:schemeClr val="bg1">
                  <a:lumMod val="95000"/>
                </a:schemeClr>
              </a:solidFill>
              <a:prstDash val="solid"/>
              <a:round/>
              <a:headEnd type="arrow"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8" name="ïslîďé">
              <a:extLst>
                <a:ext uri="{FF2B5EF4-FFF2-40B4-BE49-F238E27FC236}">
                  <a16:creationId xmlns:a16="http://schemas.microsoft.com/office/drawing/2014/main" id="{44B2EB0C-BA8A-4133-9C06-2038EBC279E4}"/>
                </a:ext>
              </a:extLst>
            </p:cNvPr>
            <p:cNvSpPr/>
            <p:nvPr/>
          </p:nvSpPr>
          <p:spPr>
            <a:xfrm>
              <a:off x="1756792" y="1580254"/>
              <a:ext cx="632842" cy="63284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chemeClr val="tx1"/>
                  </a:solidFill>
                </a:rPr>
                <a:t>01</a:t>
              </a:r>
            </a:p>
          </p:txBody>
        </p:sp>
        <p:sp>
          <p:nvSpPr>
            <p:cNvPr id="19" name="îšḷiďè">
              <a:extLst>
                <a:ext uri="{FF2B5EF4-FFF2-40B4-BE49-F238E27FC236}">
                  <a16:creationId xmlns:a16="http://schemas.microsoft.com/office/drawing/2014/main" id="{C5358AC7-181B-4AED-B724-17DBC91860A0}"/>
                </a:ext>
              </a:extLst>
            </p:cNvPr>
            <p:cNvSpPr/>
            <p:nvPr/>
          </p:nvSpPr>
          <p:spPr>
            <a:xfrm>
              <a:off x="4438650" y="5064004"/>
              <a:ext cx="632842" cy="63284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chemeClr val="tx1"/>
                  </a:solidFill>
                </a:rPr>
                <a:t>02</a:t>
              </a:r>
            </a:p>
          </p:txBody>
        </p:sp>
        <p:sp>
          <p:nvSpPr>
            <p:cNvPr id="20" name="iṡlíḍé">
              <a:extLst>
                <a:ext uri="{FF2B5EF4-FFF2-40B4-BE49-F238E27FC236}">
                  <a16:creationId xmlns:a16="http://schemas.microsoft.com/office/drawing/2014/main" id="{D8EEF868-18A9-4B42-B3A5-ACF841AD8B85}"/>
                </a:ext>
              </a:extLst>
            </p:cNvPr>
            <p:cNvSpPr/>
            <p:nvPr/>
          </p:nvSpPr>
          <p:spPr>
            <a:xfrm>
              <a:off x="9802364" y="5064004"/>
              <a:ext cx="632842" cy="63284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chemeClr val="tx1"/>
                  </a:solidFill>
                </a:rPr>
                <a:t>04</a:t>
              </a:r>
            </a:p>
          </p:txBody>
        </p:sp>
        <p:sp>
          <p:nvSpPr>
            <p:cNvPr id="21" name="îṩľîḍê">
              <a:extLst>
                <a:ext uri="{FF2B5EF4-FFF2-40B4-BE49-F238E27FC236}">
                  <a16:creationId xmlns:a16="http://schemas.microsoft.com/office/drawing/2014/main" id="{C011342C-DFE4-42C2-8915-1BD4DD527F21}"/>
                </a:ext>
              </a:extLst>
            </p:cNvPr>
            <p:cNvSpPr/>
            <p:nvPr/>
          </p:nvSpPr>
          <p:spPr>
            <a:xfrm>
              <a:off x="7120507" y="1580254"/>
              <a:ext cx="632842" cy="63284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chemeClr val="tx1"/>
                  </a:solidFill>
                </a:rPr>
                <a:t>03</a:t>
              </a:r>
            </a:p>
          </p:txBody>
        </p:sp>
      </p:grpSp>
      <p:pic>
        <p:nvPicPr>
          <p:cNvPr id="32" name="音频 31">
            <a:hlinkClick r:id="" action="ppaction://media"/>
            <a:extLst>
              <a:ext uri="{FF2B5EF4-FFF2-40B4-BE49-F238E27FC236}">
                <a16:creationId xmlns:a16="http://schemas.microsoft.com/office/drawing/2014/main" id="{AD9B78E6-CA13-42D9-8D13-85769876191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44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013"/>
    </mc:Choice>
    <mc:Fallback xmlns="">
      <p:transition spd="slow" advTm="901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2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C395F2B-64BC-4622-A97C-A7957E987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字典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B6AB6B5-912F-4F1C-A3AF-38E4B94C86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A652C74-6472-49E8-B3DD-18CC86685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5" name="22204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C3FBF86-5247-4338-83A8-F531466011F6}"/>
              </a:ext>
            </a:extLst>
          </p:cNvPr>
          <p:cNvGrpSpPr>
            <a:grpSpLocks noChangeAspect="1"/>
          </p:cNvGrpSpPr>
          <p:nvPr/>
        </p:nvGrpSpPr>
        <p:grpSpPr>
          <a:xfrm>
            <a:off x="339701" y="1580254"/>
            <a:ext cx="11334434" cy="4475459"/>
            <a:chOff x="339701" y="1580254"/>
            <a:chExt cx="11334434" cy="4475459"/>
          </a:xfrm>
        </p:grpSpPr>
        <p:sp>
          <p:nvSpPr>
            <p:cNvPr id="6" name="iSļïḍe">
              <a:extLst>
                <a:ext uri="{FF2B5EF4-FFF2-40B4-BE49-F238E27FC236}">
                  <a16:creationId xmlns:a16="http://schemas.microsoft.com/office/drawing/2014/main" id="{DF813954-941F-4D5C-843A-E29C89090CD6}"/>
                </a:ext>
              </a:extLst>
            </p:cNvPr>
            <p:cNvSpPr/>
            <p:nvPr/>
          </p:nvSpPr>
          <p:spPr bwMode="auto">
            <a:xfrm>
              <a:off x="4488690" y="4540515"/>
              <a:ext cx="532762" cy="494587"/>
            </a:xfrm>
            <a:custGeom>
              <a:avLst/>
              <a:gdLst>
                <a:gd name="connsiteX0" fmla="*/ 331621 w 608704"/>
                <a:gd name="connsiteY0" fmla="*/ 496781 h 565088"/>
                <a:gd name="connsiteX1" fmla="*/ 441006 w 608704"/>
                <a:gd name="connsiteY1" fmla="*/ 496781 h 565088"/>
                <a:gd name="connsiteX2" fmla="*/ 446506 w 608704"/>
                <a:gd name="connsiteY2" fmla="*/ 497758 h 565088"/>
                <a:gd name="connsiteX3" fmla="*/ 454289 w 608704"/>
                <a:gd name="connsiteY3" fmla="*/ 504273 h 565088"/>
                <a:gd name="connsiteX4" fmla="*/ 456526 w 608704"/>
                <a:gd name="connsiteY4" fmla="*/ 512276 h 565088"/>
                <a:gd name="connsiteX5" fmla="*/ 456526 w 608704"/>
                <a:gd name="connsiteY5" fmla="*/ 517999 h 565088"/>
                <a:gd name="connsiteX6" fmla="*/ 456526 w 608704"/>
                <a:gd name="connsiteY6" fmla="*/ 549547 h 565088"/>
                <a:gd name="connsiteX7" fmla="*/ 441006 w 608704"/>
                <a:gd name="connsiteY7" fmla="*/ 565088 h 565088"/>
                <a:gd name="connsiteX8" fmla="*/ 331621 w 608704"/>
                <a:gd name="connsiteY8" fmla="*/ 565088 h 565088"/>
                <a:gd name="connsiteX9" fmla="*/ 316101 w 608704"/>
                <a:gd name="connsiteY9" fmla="*/ 549547 h 565088"/>
                <a:gd name="connsiteX10" fmla="*/ 316101 w 608704"/>
                <a:gd name="connsiteY10" fmla="*/ 517627 h 565088"/>
                <a:gd name="connsiteX11" fmla="*/ 316101 w 608704"/>
                <a:gd name="connsiteY11" fmla="*/ 512276 h 565088"/>
                <a:gd name="connsiteX12" fmla="*/ 318525 w 608704"/>
                <a:gd name="connsiteY12" fmla="*/ 503947 h 565088"/>
                <a:gd name="connsiteX13" fmla="*/ 326401 w 608704"/>
                <a:gd name="connsiteY13" fmla="*/ 497712 h 565088"/>
                <a:gd name="connsiteX14" fmla="*/ 331621 w 608704"/>
                <a:gd name="connsiteY14" fmla="*/ 496781 h 565088"/>
                <a:gd name="connsiteX15" fmla="*/ 166349 w 608704"/>
                <a:gd name="connsiteY15" fmla="*/ 496640 h 565088"/>
                <a:gd name="connsiteX16" fmla="*/ 275680 w 608704"/>
                <a:gd name="connsiteY16" fmla="*/ 496640 h 565088"/>
                <a:gd name="connsiteX17" fmla="*/ 282109 w 608704"/>
                <a:gd name="connsiteY17" fmla="*/ 498083 h 565088"/>
                <a:gd name="connsiteX18" fmla="*/ 289515 w 608704"/>
                <a:gd name="connsiteY18" fmla="*/ 505202 h 565088"/>
                <a:gd name="connsiteX19" fmla="*/ 291192 w 608704"/>
                <a:gd name="connsiteY19" fmla="*/ 512181 h 565088"/>
                <a:gd name="connsiteX20" fmla="*/ 291192 w 608704"/>
                <a:gd name="connsiteY20" fmla="*/ 518928 h 565088"/>
                <a:gd name="connsiteX21" fmla="*/ 291192 w 608704"/>
                <a:gd name="connsiteY21" fmla="*/ 549453 h 565088"/>
                <a:gd name="connsiteX22" fmla="*/ 275680 w 608704"/>
                <a:gd name="connsiteY22" fmla="*/ 564947 h 565088"/>
                <a:gd name="connsiteX23" fmla="*/ 166349 w 608704"/>
                <a:gd name="connsiteY23" fmla="*/ 564947 h 565088"/>
                <a:gd name="connsiteX24" fmla="*/ 150884 w 608704"/>
                <a:gd name="connsiteY24" fmla="*/ 549406 h 565088"/>
                <a:gd name="connsiteX25" fmla="*/ 150884 w 608704"/>
                <a:gd name="connsiteY25" fmla="*/ 516276 h 565088"/>
                <a:gd name="connsiteX26" fmla="*/ 150884 w 608704"/>
                <a:gd name="connsiteY26" fmla="*/ 512181 h 565088"/>
                <a:gd name="connsiteX27" fmla="*/ 153912 w 608704"/>
                <a:gd name="connsiteY27" fmla="*/ 502922 h 565088"/>
                <a:gd name="connsiteX28" fmla="*/ 162064 w 608704"/>
                <a:gd name="connsiteY28" fmla="*/ 497292 h 565088"/>
                <a:gd name="connsiteX29" fmla="*/ 166349 w 608704"/>
                <a:gd name="connsiteY29" fmla="*/ 496640 h 565088"/>
                <a:gd name="connsiteX30" fmla="*/ 560321 w 608704"/>
                <a:gd name="connsiteY30" fmla="*/ 169851 h 565088"/>
                <a:gd name="connsiteX31" fmla="*/ 572108 w 608704"/>
                <a:gd name="connsiteY31" fmla="*/ 175247 h 565088"/>
                <a:gd name="connsiteX32" fmla="*/ 577884 w 608704"/>
                <a:gd name="connsiteY32" fmla="*/ 346298 h 565088"/>
                <a:gd name="connsiteX33" fmla="*/ 535489 w 608704"/>
                <a:gd name="connsiteY33" fmla="*/ 388677 h 565088"/>
                <a:gd name="connsiteX34" fmla="*/ 492862 w 608704"/>
                <a:gd name="connsiteY34" fmla="*/ 424822 h 565088"/>
                <a:gd name="connsiteX35" fmla="*/ 455964 w 608704"/>
                <a:gd name="connsiteY35" fmla="*/ 451292 h 565088"/>
                <a:gd name="connsiteX36" fmla="*/ 446972 w 608704"/>
                <a:gd name="connsiteY36" fmla="*/ 468876 h 565088"/>
                <a:gd name="connsiteX37" fmla="*/ 446879 w 608704"/>
                <a:gd name="connsiteY37" fmla="*/ 478645 h 565088"/>
                <a:gd name="connsiteX38" fmla="*/ 441056 w 608704"/>
                <a:gd name="connsiteY38" fmla="*/ 478180 h 565088"/>
                <a:gd name="connsiteX39" fmla="*/ 331714 w 608704"/>
                <a:gd name="connsiteY39" fmla="*/ 478180 h 565088"/>
                <a:gd name="connsiteX40" fmla="*/ 326263 w 608704"/>
                <a:gd name="connsiteY40" fmla="*/ 478598 h 565088"/>
                <a:gd name="connsiteX41" fmla="*/ 326263 w 608704"/>
                <a:gd name="connsiteY41" fmla="*/ 409517 h 565088"/>
                <a:gd name="connsiteX42" fmla="*/ 327148 w 608704"/>
                <a:gd name="connsiteY42" fmla="*/ 404307 h 565088"/>
                <a:gd name="connsiteX43" fmla="*/ 434301 w 608704"/>
                <a:gd name="connsiteY43" fmla="*/ 313130 h 565088"/>
                <a:gd name="connsiteX44" fmla="*/ 441568 w 608704"/>
                <a:gd name="connsiteY44" fmla="*/ 309036 h 565088"/>
                <a:gd name="connsiteX45" fmla="*/ 476136 w 608704"/>
                <a:gd name="connsiteY45" fmla="*/ 274472 h 565088"/>
                <a:gd name="connsiteX46" fmla="*/ 487131 w 608704"/>
                <a:gd name="connsiteY46" fmla="*/ 269960 h 565088"/>
                <a:gd name="connsiteX47" fmla="*/ 498126 w 608704"/>
                <a:gd name="connsiteY47" fmla="*/ 274472 h 565088"/>
                <a:gd name="connsiteX48" fmla="*/ 510612 w 608704"/>
                <a:gd name="connsiteY48" fmla="*/ 286986 h 565088"/>
                <a:gd name="connsiteX49" fmla="*/ 513873 w 608704"/>
                <a:gd name="connsiteY49" fmla="*/ 290242 h 565088"/>
                <a:gd name="connsiteX50" fmla="*/ 513873 w 608704"/>
                <a:gd name="connsiteY50" fmla="*/ 312199 h 565088"/>
                <a:gd name="connsiteX51" fmla="*/ 445948 w 608704"/>
                <a:gd name="connsiteY51" fmla="*/ 379978 h 565088"/>
                <a:gd name="connsiteX52" fmla="*/ 445948 w 608704"/>
                <a:gd name="connsiteY52" fmla="*/ 388723 h 565088"/>
                <a:gd name="connsiteX53" fmla="*/ 447159 w 608704"/>
                <a:gd name="connsiteY53" fmla="*/ 389886 h 565088"/>
                <a:gd name="connsiteX54" fmla="*/ 451538 w 608704"/>
                <a:gd name="connsiteY54" fmla="*/ 391700 h 565088"/>
                <a:gd name="connsiteX55" fmla="*/ 455964 w 608704"/>
                <a:gd name="connsiteY55" fmla="*/ 389886 h 565088"/>
                <a:gd name="connsiteX56" fmla="*/ 533626 w 608704"/>
                <a:gd name="connsiteY56" fmla="*/ 312292 h 565088"/>
                <a:gd name="connsiteX57" fmla="*/ 533999 w 608704"/>
                <a:gd name="connsiteY57" fmla="*/ 209345 h 565088"/>
                <a:gd name="connsiteX58" fmla="*/ 535024 w 608704"/>
                <a:gd name="connsiteY58" fmla="*/ 188644 h 565088"/>
                <a:gd name="connsiteX59" fmla="*/ 535909 w 608704"/>
                <a:gd name="connsiteY59" fmla="*/ 187761 h 565088"/>
                <a:gd name="connsiteX60" fmla="*/ 549326 w 608704"/>
                <a:gd name="connsiteY60" fmla="*/ 174363 h 565088"/>
                <a:gd name="connsiteX61" fmla="*/ 560321 w 608704"/>
                <a:gd name="connsiteY61" fmla="*/ 169851 h 565088"/>
                <a:gd name="connsiteX62" fmla="*/ 48337 w 608704"/>
                <a:gd name="connsiteY62" fmla="*/ 169851 h 565088"/>
                <a:gd name="connsiteX63" fmla="*/ 59331 w 608704"/>
                <a:gd name="connsiteY63" fmla="*/ 174364 h 565088"/>
                <a:gd name="connsiteX64" fmla="*/ 72749 w 608704"/>
                <a:gd name="connsiteY64" fmla="*/ 187763 h 565088"/>
                <a:gd name="connsiteX65" fmla="*/ 73587 w 608704"/>
                <a:gd name="connsiteY65" fmla="*/ 188647 h 565088"/>
                <a:gd name="connsiteX66" fmla="*/ 74659 w 608704"/>
                <a:gd name="connsiteY66" fmla="*/ 209352 h 565088"/>
                <a:gd name="connsiteX67" fmla="*/ 75031 w 608704"/>
                <a:gd name="connsiteY67" fmla="*/ 312361 h 565088"/>
                <a:gd name="connsiteX68" fmla="*/ 152601 w 608704"/>
                <a:gd name="connsiteY68" fmla="*/ 389874 h 565088"/>
                <a:gd name="connsiteX69" fmla="*/ 157027 w 608704"/>
                <a:gd name="connsiteY69" fmla="*/ 391688 h 565088"/>
                <a:gd name="connsiteX70" fmla="*/ 161452 w 608704"/>
                <a:gd name="connsiteY70" fmla="*/ 389874 h 565088"/>
                <a:gd name="connsiteX71" fmla="*/ 162617 w 608704"/>
                <a:gd name="connsiteY71" fmla="*/ 388711 h 565088"/>
                <a:gd name="connsiteX72" fmla="*/ 162617 w 608704"/>
                <a:gd name="connsiteY72" fmla="*/ 379964 h 565088"/>
                <a:gd name="connsiteX73" fmla="*/ 94738 w 608704"/>
                <a:gd name="connsiteY73" fmla="*/ 312175 h 565088"/>
                <a:gd name="connsiteX74" fmla="*/ 94738 w 608704"/>
                <a:gd name="connsiteY74" fmla="*/ 290214 h 565088"/>
                <a:gd name="connsiteX75" fmla="*/ 97953 w 608704"/>
                <a:gd name="connsiteY75" fmla="*/ 286958 h 565088"/>
                <a:gd name="connsiteX76" fmla="*/ 110485 w 608704"/>
                <a:gd name="connsiteY76" fmla="*/ 274442 h 565088"/>
                <a:gd name="connsiteX77" fmla="*/ 121480 w 608704"/>
                <a:gd name="connsiteY77" fmla="*/ 269929 h 565088"/>
                <a:gd name="connsiteX78" fmla="*/ 132474 w 608704"/>
                <a:gd name="connsiteY78" fmla="*/ 274442 h 565088"/>
                <a:gd name="connsiteX79" fmla="*/ 167136 w 608704"/>
                <a:gd name="connsiteY79" fmla="*/ 309011 h 565088"/>
                <a:gd name="connsiteX80" fmla="*/ 174404 w 608704"/>
                <a:gd name="connsiteY80" fmla="*/ 313105 h 565088"/>
                <a:gd name="connsiteX81" fmla="*/ 281556 w 608704"/>
                <a:gd name="connsiteY81" fmla="*/ 404297 h 565088"/>
                <a:gd name="connsiteX82" fmla="*/ 282441 w 608704"/>
                <a:gd name="connsiteY82" fmla="*/ 409508 h 565088"/>
                <a:gd name="connsiteX83" fmla="*/ 282441 w 608704"/>
                <a:gd name="connsiteY83" fmla="*/ 478786 h 565088"/>
                <a:gd name="connsiteX84" fmla="*/ 275686 w 608704"/>
                <a:gd name="connsiteY84" fmla="*/ 478088 h 565088"/>
                <a:gd name="connsiteX85" fmla="*/ 166344 w 608704"/>
                <a:gd name="connsiteY85" fmla="*/ 478088 h 565088"/>
                <a:gd name="connsiteX86" fmla="*/ 161825 w 608704"/>
                <a:gd name="connsiteY86" fmla="*/ 478414 h 565088"/>
                <a:gd name="connsiteX87" fmla="*/ 161732 w 608704"/>
                <a:gd name="connsiteY87" fmla="*/ 468783 h 565088"/>
                <a:gd name="connsiteX88" fmla="*/ 152741 w 608704"/>
                <a:gd name="connsiteY88" fmla="*/ 451242 h 565088"/>
                <a:gd name="connsiteX89" fmla="*/ 115842 w 608704"/>
                <a:gd name="connsiteY89" fmla="*/ 424769 h 565088"/>
                <a:gd name="connsiteX90" fmla="*/ 73215 w 608704"/>
                <a:gd name="connsiteY90" fmla="*/ 388711 h 565088"/>
                <a:gd name="connsiteX91" fmla="*/ 30820 w 608704"/>
                <a:gd name="connsiteY91" fmla="*/ 346325 h 565088"/>
                <a:gd name="connsiteX92" fmla="*/ 36596 w 608704"/>
                <a:gd name="connsiteY92" fmla="*/ 175248 h 565088"/>
                <a:gd name="connsiteX93" fmla="*/ 48337 w 608704"/>
                <a:gd name="connsiteY93" fmla="*/ 169851 h 565088"/>
                <a:gd name="connsiteX94" fmla="*/ 101464 w 608704"/>
                <a:gd name="connsiteY94" fmla="*/ 164593 h 565088"/>
                <a:gd name="connsiteX95" fmla="*/ 112641 w 608704"/>
                <a:gd name="connsiteY95" fmla="*/ 169193 h 565088"/>
                <a:gd name="connsiteX96" fmla="*/ 131324 w 608704"/>
                <a:gd name="connsiteY96" fmla="*/ 188128 h 565088"/>
                <a:gd name="connsiteX97" fmla="*/ 131557 w 608704"/>
                <a:gd name="connsiteY97" fmla="*/ 209667 h 565088"/>
                <a:gd name="connsiteX98" fmla="*/ 117486 w 608704"/>
                <a:gd name="connsiteY98" fmla="*/ 224601 h 565088"/>
                <a:gd name="connsiteX99" fmla="*/ 94656 w 608704"/>
                <a:gd name="connsiteY99" fmla="*/ 264005 h 565088"/>
                <a:gd name="connsiteX100" fmla="*/ 81564 w 608704"/>
                <a:gd name="connsiteY100" fmla="*/ 277078 h 565088"/>
                <a:gd name="connsiteX101" fmla="*/ 77091 w 608704"/>
                <a:gd name="connsiteY101" fmla="*/ 282614 h 565088"/>
                <a:gd name="connsiteX102" fmla="*/ 74435 w 608704"/>
                <a:gd name="connsiteY102" fmla="*/ 275542 h 565088"/>
                <a:gd name="connsiteX103" fmla="*/ 73224 w 608704"/>
                <a:gd name="connsiteY103" fmla="*/ 252188 h 565088"/>
                <a:gd name="connsiteX104" fmla="*/ 89158 w 608704"/>
                <a:gd name="connsiteY104" fmla="*/ 221205 h 565088"/>
                <a:gd name="connsiteX105" fmla="*/ 96799 w 608704"/>
                <a:gd name="connsiteY105" fmla="*/ 197851 h 565088"/>
                <a:gd name="connsiteX106" fmla="*/ 86782 w 608704"/>
                <a:gd name="connsiteY106" fmla="*/ 175520 h 565088"/>
                <a:gd name="connsiteX107" fmla="*/ 85617 w 608704"/>
                <a:gd name="connsiteY107" fmla="*/ 174357 h 565088"/>
                <a:gd name="connsiteX108" fmla="*/ 90323 w 608704"/>
                <a:gd name="connsiteY108" fmla="*/ 169379 h 565088"/>
                <a:gd name="connsiteX109" fmla="*/ 101464 w 608704"/>
                <a:gd name="connsiteY109" fmla="*/ 164593 h 565088"/>
                <a:gd name="connsiteX110" fmla="*/ 507200 w 608704"/>
                <a:gd name="connsiteY110" fmla="*/ 164524 h 565088"/>
                <a:gd name="connsiteX111" fmla="*/ 518327 w 608704"/>
                <a:gd name="connsiteY111" fmla="*/ 169311 h 565088"/>
                <a:gd name="connsiteX112" fmla="*/ 523035 w 608704"/>
                <a:gd name="connsiteY112" fmla="*/ 174289 h 565088"/>
                <a:gd name="connsiteX113" fmla="*/ 521870 w 608704"/>
                <a:gd name="connsiteY113" fmla="*/ 175453 h 565088"/>
                <a:gd name="connsiteX114" fmla="*/ 511895 w 608704"/>
                <a:gd name="connsiteY114" fmla="*/ 197788 h 565088"/>
                <a:gd name="connsiteX115" fmla="*/ 519539 w 608704"/>
                <a:gd name="connsiteY115" fmla="*/ 221100 h 565088"/>
                <a:gd name="connsiteX116" fmla="*/ 535387 w 608704"/>
                <a:gd name="connsiteY116" fmla="*/ 252183 h 565088"/>
                <a:gd name="connsiteX117" fmla="*/ 534221 w 608704"/>
                <a:gd name="connsiteY117" fmla="*/ 275542 h 565088"/>
                <a:gd name="connsiteX118" fmla="*/ 531565 w 608704"/>
                <a:gd name="connsiteY118" fmla="*/ 282615 h 565088"/>
                <a:gd name="connsiteX119" fmla="*/ 527090 w 608704"/>
                <a:gd name="connsiteY119" fmla="*/ 277078 h 565088"/>
                <a:gd name="connsiteX120" fmla="*/ 513946 w 608704"/>
                <a:gd name="connsiteY120" fmla="*/ 264002 h 565088"/>
                <a:gd name="connsiteX121" fmla="*/ 491154 w 608704"/>
                <a:gd name="connsiteY121" fmla="*/ 224590 h 565088"/>
                <a:gd name="connsiteX122" fmla="*/ 477032 w 608704"/>
                <a:gd name="connsiteY122" fmla="*/ 209653 h 565088"/>
                <a:gd name="connsiteX123" fmla="*/ 477311 w 608704"/>
                <a:gd name="connsiteY123" fmla="*/ 188109 h 565088"/>
                <a:gd name="connsiteX124" fmla="*/ 496002 w 608704"/>
                <a:gd name="connsiteY124" fmla="*/ 169124 h 565088"/>
                <a:gd name="connsiteX125" fmla="*/ 507200 w 608704"/>
                <a:gd name="connsiteY125" fmla="*/ 164524 h 565088"/>
                <a:gd name="connsiteX126" fmla="*/ 255331 w 608704"/>
                <a:gd name="connsiteY126" fmla="*/ 53303 h 565088"/>
                <a:gd name="connsiteX127" fmla="*/ 244789 w 608704"/>
                <a:gd name="connsiteY127" fmla="*/ 55176 h 565088"/>
                <a:gd name="connsiteX128" fmla="*/ 240503 w 608704"/>
                <a:gd name="connsiteY128" fmla="*/ 74437 h 565088"/>
                <a:gd name="connsiteX129" fmla="*/ 282110 w 608704"/>
                <a:gd name="connsiteY129" fmla="*/ 139662 h 565088"/>
                <a:gd name="connsiteX130" fmla="*/ 268132 w 608704"/>
                <a:gd name="connsiteY130" fmla="*/ 139662 h 565088"/>
                <a:gd name="connsiteX131" fmla="*/ 254154 w 608704"/>
                <a:gd name="connsiteY131" fmla="*/ 153619 h 565088"/>
                <a:gd name="connsiteX132" fmla="*/ 268132 w 608704"/>
                <a:gd name="connsiteY132" fmla="*/ 167576 h 565088"/>
                <a:gd name="connsiteX133" fmla="*/ 292174 w 608704"/>
                <a:gd name="connsiteY133" fmla="*/ 167576 h 565088"/>
                <a:gd name="connsiteX134" fmla="*/ 292174 w 608704"/>
                <a:gd name="connsiteY134" fmla="*/ 177346 h 565088"/>
                <a:gd name="connsiteX135" fmla="*/ 268132 w 608704"/>
                <a:gd name="connsiteY135" fmla="*/ 177346 h 565088"/>
                <a:gd name="connsiteX136" fmla="*/ 254154 w 608704"/>
                <a:gd name="connsiteY136" fmla="*/ 191302 h 565088"/>
                <a:gd name="connsiteX137" fmla="*/ 268132 w 608704"/>
                <a:gd name="connsiteY137" fmla="*/ 205259 h 565088"/>
                <a:gd name="connsiteX138" fmla="*/ 292174 w 608704"/>
                <a:gd name="connsiteY138" fmla="*/ 205259 h 565088"/>
                <a:gd name="connsiteX139" fmla="*/ 292174 w 608704"/>
                <a:gd name="connsiteY139" fmla="*/ 224706 h 565088"/>
                <a:gd name="connsiteX140" fmla="*/ 306151 w 608704"/>
                <a:gd name="connsiteY140" fmla="*/ 238663 h 565088"/>
                <a:gd name="connsiteX141" fmla="*/ 320129 w 608704"/>
                <a:gd name="connsiteY141" fmla="*/ 224706 h 565088"/>
                <a:gd name="connsiteX142" fmla="*/ 320129 w 608704"/>
                <a:gd name="connsiteY142" fmla="*/ 205259 h 565088"/>
                <a:gd name="connsiteX143" fmla="*/ 344171 w 608704"/>
                <a:gd name="connsiteY143" fmla="*/ 205259 h 565088"/>
                <a:gd name="connsiteX144" fmla="*/ 358149 w 608704"/>
                <a:gd name="connsiteY144" fmla="*/ 191302 h 565088"/>
                <a:gd name="connsiteX145" fmla="*/ 344171 w 608704"/>
                <a:gd name="connsiteY145" fmla="*/ 177346 h 565088"/>
                <a:gd name="connsiteX146" fmla="*/ 320129 w 608704"/>
                <a:gd name="connsiteY146" fmla="*/ 177346 h 565088"/>
                <a:gd name="connsiteX147" fmla="*/ 320129 w 608704"/>
                <a:gd name="connsiteY147" fmla="*/ 167576 h 565088"/>
                <a:gd name="connsiteX148" fmla="*/ 344264 w 608704"/>
                <a:gd name="connsiteY148" fmla="*/ 167576 h 565088"/>
                <a:gd name="connsiteX149" fmla="*/ 358242 w 608704"/>
                <a:gd name="connsiteY149" fmla="*/ 153619 h 565088"/>
                <a:gd name="connsiteX150" fmla="*/ 344264 w 608704"/>
                <a:gd name="connsiteY150" fmla="*/ 139662 h 565088"/>
                <a:gd name="connsiteX151" fmla="*/ 330286 w 608704"/>
                <a:gd name="connsiteY151" fmla="*/ 139662 h 565088"/>
                <a:gd name="connsiteX152" fmla="*/ 371893 w 608704"/>
                <a:gd name="connsiteY152" fmla="*/ 74437 h 565088"/>
                <a:gd name="connsiteX153" fmla="*/ 367793 w 608704"/>
                <a:gd name="connsiteY153" fmla="*/ 55176 h 565088"/>
                <a:gd name="connsiteX154" fmla="*/ 348457 w 608704"/>
                <a:gd name="connsiteY154" fmla="*/ 59456 h 565088"/>
                <a:gd name="connsiteX155" fmla="*/ 306291 w 608704"/>
                <a:gd name="connsiteY155" fmla="*/ 125426 h 565088"/>
                <a:gd name="connsiteX156" fmla="*/ 264125 w 608704"/>
                <a:gd name="connsiteY156" fmla="*/ 59456 h 565088"/>
                <a:gd name="connsiteX157" fmla="*/ 255331 w 608704"/>
                <a:gd name="connsiteY157" fmla="*/ 53303 h 565088"/>
                <a:gd name="connsiteX158" fmla="*/ 304940 w 608704"/>
                <a:gd name="connsiteY158" fmla="*/ 0 h 565088"/>
                <a:gd name="connsiteX159" fmla="*/ 447000 w 608704"/>
                <a:gd name="connsiteY159" fmla="*/ 141895 h 565088"/>
                <a:gd name="connsiteX160" fmla="*/ 304940 w 608704"/>
                <a:gd name="connsiteY160" fmla="*/ 283744 h 565088"/>
                <a:gd name="connsiteX161" fmla="*/ 162833 w 608704"/>
                <a:gd name="connsiteY161" fmla="*/ 141895 h 565088"/>
                <a:gd name="connsiteX162" fmla="*/ 304940 w 608704"/>
                <a:gd name="connsiteY162" fmla="*/ 0 h 565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608704" h="565088">
                  <a:moveTo>
                    <a:pt x="331621" y="496781"/>
                  </a:moveTo>
                  <a:lnTo>
                    <a:pt x="441006" y="496781"/>
                  </a:lnTo>
                  <a:cubicBezTo>
                    <a:pt x="442917" y="496781"/>
                    <a:pt x="444781" y="497060"/>
                    <a:pt x="446506" y="497758"/>
                  </a:cubicBezTo>
                  <a:cubicBezTo>
                    <a:pt x="449815" y="499015"/>
                    <a:pt x="452565" y="501341"/>
                    <a:pt x="454289" y="504273"/>
                  </a:cubicBezTo>
                  <a:cubicBezTo>
                    <a:pt x="455734" y="506646"/>
                    <a:pt x="456526" y="509345"/>
                    <a:pt x="456526" y="512276"/>
                  </a:cubicBezTo>
                  <a:lnTo>
                    <a:pt x="456526" y="517999"/>
                  </a:lnTo>
                  <a:lnTo>
                    <a:pt x="456526" y="549547"/>
                  </a:lnTo>
                  <a:cubicBezTo>
                    <a:pt x="456526" y="558109"/>
                    <a:pt x="449582" y="565088"/>
                    <a:pt x="441006" y="565088"/>
                  </a:cubicBezTo>
                  <a:lnTo>
                    <a:pt x="331621" y="565088"/>
                  </a:lnTo>
                  <a:cubicBezTo>
                    <a:pt x="323046" y="565088"/>
                    <a:pt x="316101" y="558109"/>
                    <a:pt x="316101" y="549547"/>
                  </a:cubicBezTo>
                  <a:lnTo>
                    <a:pt x="316101" y="517627"/>
                  </a:lnTo>
                  <a:lnTo>
                    <a:pt x="316101" y="512276"/>
                  </a:lnTo>
                  <a:cubicBezTo>
                    <a:pt x="316101" y="509251"/>
                    <a:pt x="316940" y="506367"/>
                    <a:pt x="318525" y="503947"/>
                  </a:cubicBezTo>
                  <a:cubicBezTo>
                    <a:pt x="320389" y="501109"/>
                    <a:pt x="323092" y="498875"/>
                    <a:pt x="326401" y="497712"/>
                  </a:cubicBezTo>
                  <a:cubicBezTo>
                    <a:pt x="328032" y="497060"/>
                    <a:pt x="329757" y="496781"/>
                    <a:pt x="331621" y="496781"/>
                  </a:cubicBezTo>
                  <a:close/>
                  <a:moveTo>
                    <a:pt x="166349" y="496640"/>
                  </a:moveTo>
                  <a:lnTo>
                    <a:pt x="275680" y="496640"/>
                  </a:lnTo>
                  <a:cubicBezTo>
                    <a:pt x="277963" y="496640"/>
                    <a:pt x="280152" y="497152"/>
                    <a:pt x="282109" y="498083"/>
                  </a:cubicBezTo>
                  <a:cubicBezTo>
                    <a:pt x="285276" y="499572"/>
                    <a:pt x="287978" y="502038"/>
                    <a:pt x="289515" y="505202"/>
                  </a:cubicBezTo>
                  <a:cubicBezTo>
                    <a:pt x="290587" y="507249"/>
                    <a:pt x="291192" y="509669"/>
                    <a:pt x="291192" y="512181"/>
                  </a:cubicBezTo>
                  <a:lnTo>
                    <a:pt x="291192" y="518928"/>
                  </a:lnTo>
                  <a:lnTo>
                    <a:pt x="291192" y="549453"/>
                  </a:lnTo>
                  <a:cubicBezTo>
                    <a:pt x="291192" y="558014"/>
                    <a:pt x="284251" y="564947"/>
                    <a:pt x="275680" y="564947"/>
                  </a:cubicBezTo>
                  <a:lnTo>
                    <a:pt x="166349" y="564947"/>
                  </a:lnTo>
                  <a:cubicBezTo>
                    <a:pt x="157732" y="564947"/>
                    <a:pt x="150837" y="558014"/>
                    <a:pt x="150884" y="549406"/>
                  </a:cubicBezTo>
                  <a:lnTo>
                    <a:pt x="150884" y="516276"/>
                  </a:lnTo>
                  <a:lnTo>
                    <a:pt x="150884" y="512181"/>
                  </a:lnTo>
                  <a:cubicBezTo>
                    <a:pt x="150884" y="508692"/>
                    <a:pt x="152002" y="505528"/>
                    <a:pt x="153912" y="502922"/>
                  </a:cubicBezTo>
                  <a:cubicBezTo>
                    <a:pt x="155915" y="500270"/>
                    <a:pt x="158756" y="498222"/>
                    <a:pt x="162064" y="497292"/>
                  </a:cubicBezTo>
                  <a:cubicBezTo>
                    <a:pt x="163415" y="496826"/>
                    <a:pt x="164859" y="496640"/>
                    <a:pt x="166349" y="496640"/>
                  </a:cubicBezTo>
                  <a:close/>
                  <a:moveTo>
                    <a:pt x="560321" y="169851"/>
                  </a:moveTo>
                  <a:cubicBezTo>
                    <a:pt x="564653" y="169851"/>
                    <a:pt x="569033" y="171618"/>
                    <a:pt x="572108" y="175247"/>
                  </a:cubicBezTo>
                  <a:cubicBezTo>
                    <a:pt x="650934" y="266843"/>
                    <a:pt x="577884" y="346298"/>
                    <a:pt x="577884" y="346298"/>
                  </a:cubicBezTo>
                  <a:lnTo>
                    <a:pt x="535489" y="388677"/>
                  </a:lnTo>
                  <a:cubicBezTo>
                    <a:pt x="522258" y="401795"/>
                    <a:pt x="508003" y="413890"/>
                    <a:pt x="492862" y="424822"/>
                  </a:cubicBezTo>
                  <a:lnTo>
                    <a:pt x="455964" y="451292"/>
                  </a:lnTo>
                  <a:cubicBezTo>
                    <a:pt x="450373" y="455385"/>
                    <a:pt x="446972" y="461898"/>
                    <a:pt x="446972" y="468876"/>
                  </a:cubicBezTo>
                  <a:lnTo>
                    <a:pt x="446879" y="478645"/>
                  </a:lnTo>
                  <a:cubicBezTo>
                    <a:pt x="445016" y="478366"/>
                    <a:pt x="443059" y="478180"/>
                    <a:pt x="441056" y="478180"/>
                  </a:cubicBezTo>
                  <a:lnTo>
                    <a:pt x="331714" y="478180"/>
                  </a:lnTo>
                  <a:cubicBezTo>
                    <a:pt x="329851" y="478180"/>
                    <a:pt x="328080" y="478273"/>
                    <a:pt x="326263" y="478598"/>
                  </a:cubicBezTo>
                  <a:lnTo>
                    <a:pt x="326263" y="409517"/>
                  </a:lnTo>
                  <a:cubicBezTo>
                    <a:pt x="326263" y="407703"/>
                    <a:pt x="326589" y="405982"/>
                    <a:pt x="327148" y="404307"/>
                  </a:cubicBezTo>
                  <a:cubicBezTo>
                    <a:pt x="350489" y="337599"/>
                    <a:pt x="417063" y="317316"/>
                    <a:pt x="434301" y="313130"/>
                  </a:cubicBezTo>
                  <a:cubicBezTo>
                    <a:pt x="437003" y="312432"/>
                    <a:pt x="439565" y="310990"/>
                    <a:pt x="441568" y="309036"/>
                  </a:cubicBezTo>
                  <a:lnTo>
                    <a:pt x="476136" y="274472"/>
                  </a:lnTo>
                  <a:cubicBezTo>
                    <a:pt x="479211" y="271449"/>
                    <a:pt x="483171" y="269960"/>
                    <a:pt x="487131" y="269960"/>
                  </a:cubicBezTo>
                  <a:cubicBezTo>
                    <a:pt x="491138" y="269960"/>
                    <a:pt x="495098" y="271449"/>
                    <a:pt x="498126" y="274472"/>
                  </a:cubicBezTo>
                  <a:lnTo>
                    <a:pt x="510612" y="286986"/>
                  </a:lnTo>
                  <a:lnTo>
                    <a:pt x="513873" y="290242"/>
                  </a:lnTo>
                  <a:cubicBezTo>
                    <a:pt x="519929" y="296290"/>
                    <a:pt x="519929" y="306105"/>
                    <a:pt x="513873" y="312199"/>
                  </a:cubicBezTo>
                  <a:lnTo>
                    <a:pt x="445948" y="379978"/>
                  </a:lnTo>
                  <a:cubicBezTo>
                    <a:pt x="443525" y="382397"/>
                    <a:pt x="443525" y="386304"/>
                    <a:pt x="445948" y="388723"/>
                  </a:cubicBezTo>
                  <a:lnTo>
                    <a:pt x="447159" y="389886"/>
                  </a:lnTo>
                  <a:cubicBezTo>
                    <a:pt x="448370" y="391096"/>
                    <a:pt x="449954" y="391700"/>
                    <a:pt x="451538" y="391700"/>
                  </a:cubicBezTo>
                  <a:cubicBezTo>
                    <a:pt x="453169" y="391700"/>
                    <a:pt x="454706" y="391142"/>
                    <a:pt x="455964" y="389886"/>
                  </a:cubicBezTo>
                  <a:lnTo>
                    <a:pt x="533626" y="312292"/>
                  </a:lnTo>
                  <a:cubicBezTo>
                    <a:pt x="533626" y="312292"/>
                    <a:pt x="581379" y="266983"/>
                    <a:pt x="533999" y="209345"/>
                  </a:cubicBezTo>
                  <a:cubicBezTo>
                    <a:pt x="528874" y="203205"/>
                    <a:pt x="529386" y="194273"/>
                    <a:pt x="535024" y="188644"/>
                  </a:cubicBezTo>
                  <a:lnTo>
                    <a:pt x="535909" y="187761"/>
                  </a:lnTo>
                  <a:lnTo>
                    <a:pt x="549326" y="174363"/>
                  </a:lnTo>
                  <a:cubicBezTo>
                    <a:pt x="552354" y="171339"/>
                    <a:pt x="556361" y="169851"/>
                    <a:pt x="560321" y="169851"/>
                  </a:cubicBezTo>
                  <a:close/>
                  <a:moveTo>
                    <a:pt x="48337" y="169851"/>
                  </a:moveTo>
                  <a:cubicBezTo>
                    <a:pt x="52297" y="169851"/>
                    <a:pt x="56257" y="171340"/>
                    <a:pt x="59331" y="174364"/>
                  </a:cubicBezTo>
                  <a:lnTo>
                    <a:pt x="72749" y="187763"/>
                  </a:lnTo>
                  <a:lnTo>
                    <a:pt x="73587" y="188647"/>
                  </a:lnTo>
                  <a:cubicBezTo>
                    <a:pt x="79178" y="194231"/>
                    <a:pt x="79690" y="203210"/>
                    <a:pt x="74659" y="209352"/>
                  </a:cubicBezTo>
                  <a:cubicBezTo>
                    <a:pt x="27279" y="266998"/>
                    <a:pt x="75031" y="312361"/>
                    <a:pt x="75031" y="312361"/>
                  </a:cubicBezTo>
                  <a:lnTo>
                    <a:pt x="152601" y="389874"/>
                  </a:lnTo>
                  <a:cubicBezTo>
                    <a:pt x="153859" y="391084"/>
                    <a:pt x="155396" y="391688"/>
                    <a:pt x="157027" y="391688"/>
                  </a:cubicBezTo>
                  <a:cubicBezTo>
                    <a:pt x="158657" y="391688"/>
                    <a:pt x="160195" y="391130"/>
                    <a:pt x="161452" y="389874"/>
                  </a:cubicBezTo>
                  <a:lnTo>
                    <a:pt x="162617" y="388711"/>
                  </a:lnTo>
                  <a:cubicBezTo>
                    <a:pt x="165040" y="386291"/>
                    <a:pt x="165040" y="382383"/>
                    <a:pt x="162617" y="379964"/>
                  </a:cubicBezTo>
                  <a:lnTo>
                    <a:pt x="94738" y="312175"/>
                  </a:lnTo>
                  <a:cubicBezTo>
                    <a:pt x="88635" y="306080"/>
                    <a:pt x="88635" y="296263"/>
                    <a:pt x="94738" y="290214"/>
                  </a:cubicBezTo>
                  <a:lnTo>
                    <a:pt x="97953" y="286958"/>
                  </a:lnTo>
                  <a:lnTo>
                    <a:pt x="110485" y="274442"/>
                  </a:lnTo>
                  <a:cubicBezTo>
                    <a:pt x="113560" y="271418"/>
                    <a:pt x="117520" y="269929"/>
                    <a:pt x="121480" y="269929"/>
                  </a:cubicBezTo>
                  <a:cubicBezTo>
                    <a:pt x="125486" y="269929"/>
                    <a:pt x="129446" y="271418"/>
                    <a:pt x="132474" y="274442"/>
                  </a:cubicBezTo>
                  <a:lnTo>
                    <a:pt x="167136" y="309011"/>
                  </a:lnTo>
                  <a:cubicBezTo>
                    <a:pt x="169139" y="310965"/>
                    <a:pt x="171702" y="312408"/>
                    <a:pt x="174404" y="313105"/>
                  </a:cubicBezTo>
                  <a:cubicBezTo>
                    <a:pt x="191641" y="317293"/>
                    <a:pt x="258216" y="337578"/>
                    <a:pt x="281556" y="404297"/>
                  </a:cubicBezTo>
                  <a:cubicBezTo>
                    <a:pt x="282115" y="405972"/>
                    <a:pt x="282441" y="407740"/>
                    <a:pt x="282441" y="409508"/>
                  </a:cubicBezTo>
                  <a:lnTo>
                    <a:pt x="282441" y="478786"/>
                  </a:lnTo>
                  <a:cubicBezTo>
                    <a:pt x="280252" y="478367"/>
                    <a:pt x="277969" y="478088"/>
                    <a:pt x="275686" y="478088"/>
                  </a:cubicBezTo>
                  <a:lnTo>
                    <a:pt x="166344" y="478088"/>
                  </a:lnTo>
                  <a:cubicBezTo>
                    <a:pt x="164807" y="478088"/>
                    <a:pt x="163316" y="478227"/>
                    <a:pt x="161825" y="478414"/>
                  </a:cubicBezTo>
                  <a:lnTo>
                    <a:pt x="161732" y="468783"/>
                  </a:lnTo>
                  <a:cubicBezTo>
                    <a:pt x="161732" y="461850"/>
                    <a:pt x="158378" y="455290"/>
                    <a:pt x="152741" y="451242"/>
                  </a:cubicBezTo>
                  <a:lnTo>
                    <a:pt x="115842" y="424769"/>
                  </a:lnTo>
                  <a:cubicBezTo>
                    <a:pt x="100701" y="413881"/>
                    <a:pt x="86399" y="401785"/>
                    <a:pt x="73215" y="388711"/>
                  </a:cubicBezTo>
                  <a:lnTo>
                    <a:pt x="30820" y="346325"/>
                  </a:lnTo>
                  <a:cubicBezTo>
                    <a:pt x="30820" y="346325"/>
                    <a:pt x="-42230" y="266858"/>
                    <a:pt x="36596" y="175248"/>
                  </a:cubicBezTo>
                  <a:cubicBezTo>
                    <a:pt x="39625" y="171665"/>
                    <a:pt x="43957" y="169851"/>
                    <a:pt x="48337" y="169851"/>
                  </a:cubicBezTo>
                  <a:close/>
                  <a:moveTo>
                    <a:pt x="101464" y="164593"/>
                  </a:moveTo>
                  <a:cubicBezTo>
                    <a:pt x="105512" y="164564"/>
                    <a:pt x="109566" y="166100"/>
                    <a:pt x="112641" y="169193"/>
                  </a:cubicBezTo>
                  <a:lnTo>
                    <a:pt x="131324" y="188128"/>
                  </a:lnTo>
                  <a:cubicBezTo>
                    <a:pt x="137148" y="194082"/>
                    <a:pt x="137288" y="203573"/>
                    <a:pt x="131557" y="209667"/>
                  </a:cubicBezTo>
                  <a:lnTo>
                    <a:pt x="117486" y="224601"/>
                  </a:lnTo>
                  <a:cubicBezTo>
                    <a:pt x="102483" y="238790"/>
                    <a:pt x="96100" y="252142"/>
                    <a:pt x="94656" y="264005"/>
                  </a:cubicBezTo>
                  <a:lnTo>
                    <a:pt x="81564" y="277078"/>
                  </a:lnTo>
                  <a:cubicBezTo>
                    <a:pt x="79886" y="278799"/>
                    <a:pt x="78395" y="280613"/>
                    <a:pt x="77091" y="282614"/>
                  </a:cubicBezTo>
                  <a:cubicBezTo>
                    <a:pt x="76112" y="280427"/>
                    <a:pt x="75181" y="278055"/>
                    <a:pt x="74435" y="275542"/>
                  </a:cubicBezTo>
                  <a:cubicBezTo>
                    <a:pt x="72105" y="267820"/>
                    <a:pt x="71733" y="259958"/>
                    <a:pt x="73224" y="252188"/>
                  </a:cubicBezTo>
                  <a:cubicBezTo>
                    <a:pt x="75227" y="242047"/>
                    <a:pt x="80492" y="231533"/>
                    <a:pt x="89158" y="221205"/>
                  </a:cubicBezTo>
                  <a:cubicBezTo>
                    <a:pt x="94470" y="214692"/>
                    <a:pt x="97219" y="206364"/>
                    <a:pt x="96799" y="197851"/>
                  </a:cubicBezTo>
                  <a:cubicBezTo>
                    <a:pt x="96287" y="189430"/>
                    <a:pt x="92746" y="181475"/>
                    <a:pt x="86782" y="175520"/>
                  </a:cubicBezTo>
                  <a:lnTo>
                    <a:pt x="85617" y="174357"/>
                  </a:lnTo>
                  <a:lnTo>
                    <a:pt x="90323" y="169379"/>
                  </a:lnTo>
                  <a:cubicBezTo>
                    <a:pt x="93375" y="166216"/>
                    <a:pt x="97417" y="164622"/>
                    <a:pt x="101464" y="164593"/>
                  </a:cubicBezTo>
                  <a:close/>
                  <a:moveTo>
                    <a:pt x="507200" y="164524"/>
                  </a:moveTo>
                  <a:cubicBezTo>
                    <a:pt x="511255" y="164553"/>
                    <a:pt x="515298" y="166147"/>
                    <a:pt x="518327" y="169311"/>
                  </a:cubicBezTo>
                  <a:lnTo>
                    <a:pt x="523035" y="174289"/>
                  </a:lnTo>
                  <a:lnTo>
                    <a:pt x="521870" y="175453"/>
                  </a:lnTo>
                  <a:cubicBezTo>
                    <a:pt x="515904" y="181409"/>
                    <a:pt x="512361" y="189366"/>
                    <a:pt x="511895" y="197788"/>
                  </a:cubicBezTo>
                  <a:cubicBezTo>
                    <a:pt x="511429" y="206210"/>
                    <a:pt x="514133" y="214539"/>
                    <a:pt x="519539" y="221100"/>
                  </a:cubicBezTo>
                  <a:cubicBezTo>
                    <a:pt x="528069" y="231523"/>
                    <a:pt x="533429" y="241946"/>
                    <a:pt x="535387" y="252183"/>
                  </a:cubicBezTo>
                  <a:cubicBezTo>
                    <a:pt x="536971" y="259954"/>
                    <a:pt x="536505" y="267818"/>
                    <a:pt x="534221" y="275542"/>
                  </a:cubicBezTo>
                  <a:cubicBezTo>
                    <a:pt x="533476" y="278055"/>
                    <a:pt x="532543" y="280428"/>
                    <a:pt x="531565" y="282615"/>
                  </a:cubicBezTo>
                  <a:cubicBezTo>
                    <a:pt x="530306" y="280614"/>
                    <a:pt x="528815" y="278799"/>
                    <a:pt x="527090" y="277078"/>
                  </a:cubicBezTo>
                  <a:lnTo>
                    <a:pt x="513946" y="264002"/>
                  </a:lnTo>
                  <a:cubicBezTo>
                    <a:pt x="512548" y="252137"/>
                    <a:pt x="506069" y="238782"/>
                    <a:pt x="491154" y="224590"/>
                  </a:cubicBezTo>
                  <a:lnTo>
                    <a:pt x="477032" y="209653"/>
                  </a:lnTo>
                  <a:cubicBezTo>
                    <a:pt x="471345" y="203558"/>
                    <a:pt x="471438" y="194065"/>
                    <a:pt x="477311" y="188109"/>
                  </a:cubicBezTo>
                  <a:lnTo>
                    <a:pt x="496002" y="169124"/>
                  </a:lnTo>
                  <a:cubicBezTo>
                    <a:pt x="499078" y="166030"/>
                    <a:pt x="503145" y="164495"/>
                    <a:pt x="507200" y="164524"/>
                  </a:cubicBezTo>
                  <a:close/>
                  <a:moveTo>
                    <a:pt x="255331" y="53303"/>
                  </a:moveTo>
                  <a:cubicBezTo>
                    <a:pt x="251836" y="52524"/>
                    <a:pt x="248051" y="53083"/>
                    <a:pt x="244789" y="55176"/>
                  </a:cubicBezTo>
                  <a:cubicBezTo>
                    <a:pt x="238266" y="59317"/>
                    <a:pt x="236356" y="67923"/>
                    <a:pt x="240503" y="74437"/>
                  </a:cubicBezTo>
                  <a:lnTo>
                    <a:pt x="282110" y="139662"/>
                  </a:lnTo>
                  <a:lnTo>
                    <a:pt x="268132" y="139662"/>
                  </a:lnTo>
                  <a:cubicBezTo>
                    <a:pt x="260444" y="139662"/>
                    <a:pt x="254154" y="145896"/>
                    <a:pt x="254154" y="153619"/>
                  </a:cubicBezTo>
                  <a:cubicBezTo>
                    <a:pt x="254154" y="161295"/>
                    <a:pt x="260444" y="167576"/>
                    <a:pt x="268132" y="167576"/>
                  </a:cubicBezTo>
                  <a:lnTo>
                    <a:pt x="292174" y="167576"/>
                  </a:lnTo>
                  <a:lnTo>
                    <a:pt x="292174" y="177346"/>
                  </a:lnTo>
                  <a:lnTo>
                    <a:pt x="268132" y="177346"/>
                  </a:lnTo>
                  <a:cubicBezTo>
                    <a:pt x="260444" y="177346"/>
                    <a:pt x="254154" y="183626"/>
                    <a:pt x="254154" y="191302"/>
                  </a:cubicBezTo>
                  <a:cubicBezTo>
                    <a:pt x="254154" y="199025"/>
                    <a:pt x="260444" y="205259"/>
                    <a:pt x="268132" y="205259"/>
                  </a:cubicBezTo>
                  <a:lnTo>
                    <a:pt x="292174" y="205259"/>
                  </a:lnTo>
                  <a:lnTo>
                    <a:pt x="292174" y="224706"/>
                  </a:lnTo>
                  <a:cubicBezTo>
                    <a:pt x="292174" y="232382"/>
                    <a:pt x="298464" y="238663"/>
                    <a:pt x="306151" y="238663"/>
                  </a:cubicBezTo>
                  <a:cubicBezTo>
                    <a:pt x="313886" y="238663"/>
                    <a:pt x="320129" y="232382"/>
                    <a:pt x="320129" y="224706"/>
                  </a:cubicBezTo>
                  <a:lnTo>
                    <a:pt x="320129" y="205259"/>
                  </a:lnTo>
                  <a:lnTo>
                    <a:pt x="344171" y="205259"/>
                  </a:lnTo>
                  <a:cubicBezTo>
                    <a:pt x="351905" y="205259"/>
                    <a:pt x="358149" y="199025"/>
                    <a:pt x="358149" y="191302"/>
                  </a:cubicBezTo>
                  <a:cubicBezTo>
                    <a:pt x="358149" y="183626"/>
                    <a:pt x="351905" y="177346"/>
                    <a:pt x="344171" y="177346"/>
                  </a:cubicBezTo>
                  <a:lnTo>
                    <a:pt x="320129" y="177346"/>
                  </a:lnTo>
                  <a:lnTo>
                    <a:pt x="320129" y="167576"/>
                  </a:lnTo>
                  <a:lnTo>
                    <a:pt x="344264" y="167576"/>
                  </a:lnTo>
                  <a:cubicBezTo>
                    <a:pt x="351952" y="167576"/>
                    <a:pt x="358242" y="161295"/>
                    <a:pt x="358242" y="153619"/>
                  </a:cubicBezTo>
                  <a:cubicBezTo>
                    <a:pt x="358242" y="145896"/>
                    <a:pt x="351952" y="139662"/>
                    <a:pt x="344264" y="139662"/>
                  </a:cubicBezTo>
                  <a:lnTo>
                    <a:pt x="330286" y="139662"/>
                  </a:lnTo>
                  <a:lnTo>
                    <a:pt x="371893" y="74437"/>
                  </a:lnTo>
                  <a:cubicBezTo>
                    <a:pt x="376040" y="67923"/>
                    <a:pt x="374130" y="59317"/>
                    <a:pt x="367793" y="55176"/>
                  </a:cubicBezTo>
                  <a:cubicBezTo>
                    <a:pt x="361270" y="50989"/>
                    <a:pt x="352651" y="52943"/>
                    <a:pt x="348457" y="59456"/>
                  </a:cubicBezTo>
                  <a:lnTo>
                    <a:pt x="306291" y="125426"/>
                  </a:lnTo>
                  <a:lnTo>
                    <a:pt x="264125" y="59456"/>
                  </a:lnTo>
                  <a:cubicBezTo>
                    <a:pt x="262029" y="56200"/>
                    <a:pt x="258825" y="54083"/>
                    <a:pt x="255331" y="53303"/>
                  </a:cubicBezTo>
                  <a:close/>
                  <a:moveTo>
                    <a:pt x="304940" y="0"/>
                  </a:moveTo>
                  <a:cubicBezTo>
                    <a:pt x="383402" y="0"/>
                    <a:pt x="447000" y="63550"/>
                    <a:pt x="447000" y="141895"/>
                  </a:cubicBezTo>
                  <a:cubicBezTo>
                    <a:pt x="447000" y="220240"/>
                    <a:pt x="383402" y="283744"/>
                    <a:pt x="304940" y="283744"/>
                  </a:cubicBezTo>
                  <a:cubicBezTo>
                    <a:pt x="226478" y="283744"/>
                    <a:pt x="162833" y="220240"/>
                    <a:pt x="162833" y="141895"/>
                  </a:cubicBezTo>
                  <a:cubicBezTo>
                    <a:pt x="162833" y="63550"/>
                    <a:pt x="226478" y="0"/>
                    <a:pt x="30494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7" name="í$ḷíḋè">
              <a:extLst>
                <a:ext uri="{FF2B5EF4-FFF2-40B4-BE49-F238E27FC236}">
                  <a16:creationId xmlns:a16="http://schemas.microsoft.com/office/drawing/2014/main" id="{AE450A2C-FB2E-4744-8850-3B69025CCD89}"/>
                </a:ext>
              </a:extLst>
            </p:cNvPr>
            <p:cNvGrpSpPr/>
            <p:nvPr/>
          </p:nvGrpSpPr>
          <p:grpSpPr>
            <a:xfrm>
              <a:off x="3000775" y="2919365"/>
              <a:ext cx="3389599" cy="1609618"/>
              <a:chOff x="-37821" y="4333081"/>
              <a:chExt cx="3682594" cy="1707531"/>
            </a:xfrm>
          </p:grpSpPr>
          <p:sp>
            <p:nvSpPr>
              <p:cNvPr id="28" name="îŝľiḋe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1250427" y="5585431"/>
                <a:ext cx="2394346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/>
                <a:r>
                  <a:rPr lang="zh-CN" altLang="en-US" b="1" dirty="0"/>
                  <a:t>作者</a:t>
                </a:r>
                <a:r>
                  <a:rPr lang="en-US" altLang="zh-CN" b="1" dirty="0"/>
                  <a:t>/</a:t>
                </a:r>
                <a:r>
                  <a:rPr lang="zh-CN" altLang="en-US" b="1" dirty="0"/>
                  <a:t>译者</a:t>
                </a:r>
                <a:endParaRPr lang="zh-CN" altLang="zh-CN" b="1" dirty="0"/>
              </a:p>
            </p:txBody>
          </p:sp>
          <p:sp>
            <p:nvSpPr>
              <p:cNvPr id="29" name="îśľíḍè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-37821" y="4333081"/>
                <a:ext cx="3390164" cy="1593307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作者</a:t>
                </a:r>
                <a:r>
                  <a:rPr lang="en-US" altLang="zh-CN" dirty="0"/>
                  <a:t>/</a:t>
                </a:r>
                <a:r>
                  <a:rPr lang="zh-CN" altLang="zh-CN" dirty="0"/>
                  <a:t>译者编号，唯一标识作者</a:t>
                </a:r>
                <a:r>
                  <a:rPr lang="en-US" altLang="zh-CN" dirty="0"/>
                  <a:t>/</a:t>
                </a:r>
                <a:r>
                  <a:rPr lang="zh-CN" altLang="zh-CN" dirty="0"/>
                  <a:t>译者的编号，</a:t>
                </a:r>
                <a:r>
                  <a:rPr lang="en-US" altLang="zh-CN" dirty="0"/>
                  <a:t>int(4)</a:t>
                </a:r>
                <a:r>
                  <a:rPr lang="zh-CN" altLang="zh-CN" dirty="0"/>
                  <a:t>，</a:t>
                </a:r>
                <a:r>
                  <a:rPr lang="en-US" altLang="zh-CN" dirty="0"/>
                  <a:t>AUTO_INCREMENT}</a:t>
                </a:r>
                <a:endParaRPr lang="zh-CN" altLang="zh-CN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作者</a:t>
                </a:r>
                <a:r>
                  <a:rPr lang="en-US" altLang="zh-CN" dirty="0"/>
                  <a:t>/</a:t>
                </a:r>
                <a:r>
                  <a:rPr lang="zh-CN" altLang="zh-CN" dirty="0"/>
                  <a:t>译者名字，</a:t>
                </a:r>
                <a:r>
                  <a:rPr lang="en-US" altLang="zh-CN" dirty="0"/>
                  <a:t>varchar(30)}</a:t>
                </a:r>
                <a:endParaRPr lang="zh-CN" altLang="zh-CN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作者</a:t>
                </a:r>
                <a:r>
                  <a:rPr lang="en-US" altLang="zh-CN" dirty="0"/>
                  <a:t>/</a:t>
                </a:r>
                <a:r>
                  <a:rPr lang="zh-CN" altLang="zh-CN" dirty="0"/>
                  <a:t>译者，</a:t>
                </a:r>
                <a:r>
                  <a:rPr lang="en-US" altLang="zh-CN" dirty="0"/>
                  <a:t>SET(“</a:t>
                </a:r>
                <a:r>
                  <a:rPr lang="zh-CN" altLang="zh-CN" dirty="0"/>
                  <a:t>作者“，</a:t>
                </a:r>
                <a:r>
                  <a:rPr lang="en-US" altLang="zh-CN" dirty="0"/>
                  <a:t>”</a:t>
                </a:r>
                <a:r>
                  <a:rPr lang="zh-CN" altLang="zh-CN" dirty="0"/>
                  <a:t>译者</a:t>
                </a:r>
                <a:r>
                  <a:rPr lang="en-US" altLang="zh-CN" dirty="0"/>
                  <a:t>”)}</a:t>
                </a:r>
                <a:endParaRPr lang="zh-CN" altLang="zh-CN" dirty="0"/>
              </a:p>
              <a:p>
                <a:pPr marL="171450" indent="-171450" algn="ct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100" dirty="0"/>
              </a:p>
            </p:txBody>
          </p:sp>
        </p:grpSp>
        <p:sp>
          <p:nvSpPr>
            <p:cNvPr id="8" name="ïṣḷiḍe">
              <a:extLst>
                <a:ext uri="{FF2B5EF4-FFF2-40B4-BE49-F238E27FC236}">
                  <a16:creationId xmlns:a16="http://schemas.microsoft.com/office/drawing/2014/main" id="{490AFCD5-9CF9-478D-B619-714B3BD11B60}"/>
                </a:ext>
              </a:extLst>
            </p:cNvPr>
            <p:cNvSpPr/>
            <p:nvPr/>
          </p:nvSpPr>
          <p:spPr bwMode="auto">
            <a:xfrm>
              <a:off x="7120507" y="2237719"/>
              <a:ext cx="499807" cy="437504"/>
            </a:xfrm>
            <a:custGeom>
              <a:avLst/>
              <a:gdLst>
                <a:gd name="T0" fmla="*/ 215 w 406"/>
                <a:gd name="T1" fmla="*/ 162 h 356"/>
                <a:gd name="T2" fmla="*/ 157 w 406"/>
                <a:gd name="T3" fmla="*/ 102 h 356"/>
                <a:gd name="T4" fmla="*/ 19 w 406"/>
                <a:gd name="T5" fmla="*/ 242 h 356"/>
                <a:gd name="T6" fmla="*/ 0 w 406"/>
                <a:gd name="T7" fmla="*/ 224 h 356"/>
                <a:gd name="T8" fmla="*/ 157 w 406"/>
                <a:gd name="T9" fmla="*/ 64 h 356"/>
                <a:gd name="T10" fmla="*/ 216 w 406"/>
                <a:gd name="T11" fmla="*/ 124 h 356"/>
                <a:gd name="T12" fmla="*/ 315 w 406"/>
                <a:gd name="T13" fmla="*/ 28 h 356"/>
                <a:gd name="T14" fmla="*/ 287 w 406"/>
                <a:gd name="T15" fmla="*/ 0 h 356"/>
                <a:gd name="T16" fmla="*/ 362 w 406"/>
                <a:gd name="T17" fmla="*/ 0 h 356"/>
                <a:gd name="T18" fmla="*/ 362 w 406"/>
                <a:gd name="T19" fmla="*/ 74 h 356"/>
                <a:gd name="T20" fmla="*/ 334 w 406"/>
                <a:gd name="T21" fmla="*/ 47 h 356"/>
                <a:gd name="T22" fmla="*/ 215 w 406"/>
                <a:gd name="T23" fmla="*/ 162 h 356"/>
                <a:gd name="T24" fmla="*/ 66 w 406"/>
                <a:gd name="T25" fmla="*/ 356 h 356"/>
                <a:gd name="T26" fmla="*/ 156 w 406"/>
                <a:gd name="T27" fmla="*/ 356 h 356"/>
                <a:gd name="T28" fmla="*/ 156 w 406"/>
                <a:gd name="T29" fmla="*/ 230 h 356"/>
                <a:gd name="T30" fmla="*/ 66 w 406"/>
                <a:gd name="T31" fmla="*/ 230 h 356"/>
                <a:gd name="T32" fmla="*/ 66 w 406"/>
                <a:gd name="T33" fmla="*/ 356 h 356"/>
                <a:gd name="T34" fmla="*/ 191 w 406"/>
                <a:gd name="T35" fmla="*/ 356 h 356"/>
                <a:gd name="T36" fmla="*/ 281 w 406"/>
                <a:gd name="T37" fmla="*/ 356 h 356"/>
                <a:gd name="T38" fmla="*/ 281 w 406"/>
                <a:gd name="T39" fmla="*/ 190 h 356"/>
                <a:gd name="T40" fmla="*/ 191 w 406"/>
                <a:gd name="T41" fmla="*/ 190 h 356"/>
                <a:gd name="T42" fmla="*/ 191 w 406"/>
                <a:gd name="T43" fmla="*/ 356 h 356"/>
                <a:gd name="T44" fmla="*/ 316 w 406"/>
                <a:gd name="T45" fmla="*/ 106 h 356"/>
                <a:gd name="T46" fmla="*/ 316 w 406"/>
                <a:gd name="T47" fmla="*/ 356 h 356"/>
                <a:gd name="T48" fmla="*/ 406 w 406"/>
                <a:gd name="T49" fmla="*/ 356 h 356"/>
                <a:gd name="T50" fmla="*/ 406 w 406"/>
                <a:gd name="T51" fmla="*/ 106 h 356"/>
                <a:gd name="T52" fmla="*/ 316 w 406"/>
                <a:gd name="T53" fmla="*/ 10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6" h="356">
                  <a:moveTo>
                    <a:pt x="215" y="162"/>
                  </a:moveTo>
                  <a:lnTo>
                    <a:pt x="157" y="102"/>
                  </a:lnTo>
                  <a:lnTo>
                    <a:pt x="19" y="242"/>
                  </a:lnTo>
                  <a:lnTo>
                    <a:pt x="0" y="224"/>
                  </a:lnTo>
                  <a:lnTo>
                    <a:pt x="157" y="64"/>
                  </a:lnTo>
                  <a:lnTo>
                    <a:pt x="216" y="124"/>
                  </a:lnTo>
                  <a:lnTo>
                    <a:pt x="315" y="28"/>
                  </a:lnTo>
                  <a:lnTo>
                    <a:pt x="287" y="0"/>
                  </a:lnTo>
                  <a:lnTo>
                    <a:pt x="362" y="0"/>
                  </a:lnTo>
                  <a:lnTo>
                    <a:pt x="362" y="74"/>
                  </a:lnTo>
                  <a:lnTo>
                    <a:pt x="334" y="47"/>
                  </a:lnTo>
                  <a:lnTo>
                    <a:pt x="215" y="162"/>
                  </a:lnTo>
                  <a:close/>
                  <a:moveTo>
                    <a:pt x="66" y="356"/>
                  </a:moveTo>
                  <a:lnTo>
                    <a:pt x="156" y="356"/>
                  </a:lnTo>
                  <a:lnTo>
                    <a:pt x="156" y="230"/>
                  </a:lnTo>
                  <a:lnTo>
                    <a:pt x="66" y="230"/>
                  </a:lnTo>
                  <a:lnTo>
                    <a:pt x="66" y="356"/>
                  </a:lnTo>
                  <a:close/>
                  <a:moveTo>
                    <a:pt x="191" y="356"/>
                  </a:moveTo>
                  <a:lnTo>
                    <a:pt x="281" y="356"/>
                  </a:lnTo>
                  <a:lnTo>
                    <a:pt x="281" y="190"/>
                  </a:lnTo>
                  <a:lnTo>
                    <a:pt x="191" y="190"/>
                  </a:lnTo>
                  <a:lnTo>
                    <a:pt x="191" y="356"/>
                  </a:lnTo>
                  <a:close/>
                  <a:moveTo>
                    <a:pt x="316" y="106"/>
                  </a:moveTo>
                  <a:lnTo>
                    <a:pt x="316" y="356"/>
                  </a:lnTo>
                  <a:lnTo>
                    <a:pt x="406" y="356"/>
                  </a:lnTo>
                  <a:lnTo>
                    <a:pt x="406" y="106"/>
                  </a:lnTo>
                  <a:lnTo>
                    <a:pt x="316" y="10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9" name="íṩļïḋè">
              <a:extLst>
                <a:ext uri="{FF2B5EF4-FFF2-40B4-BE49-F238E27FC236}">
                  <a16:creationId xmlns:a16="http://schemas.microsoft.com/office/drawing/2014/main" id="{EE6545FB-5A37-4390-8373-158CFAC7A148}"/>
                </a:ext>
              </a:extLst>
            </p:cNvPr>
            <p:cNvGrpSpPr/>
            <p:nvPr/>
          </p:nvGrpSpPr>
          <p:grpSpPr>
            <a:xfrm>
              <a:off x="5699665" y="2750641"/>
              <a:ext cx="3245949" cy="2680007"/>
              <a:chOff x="-15790" y="4154096"/>
              <a:chExt cx="3526529" cy="2843033"/>
            </a:xfrm>
          </p:grpSpPr>
          <p:sp>
            <p:nvSpPr>
              <p:cNvPr id="26" name="îsľîḋe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1116393" y="4154096"/>
                <a:ext cx="2394346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/>
                <a:r>
                  <a:rPr lang="zh-CN" altLang="zh-CN" b="1" dirty="0"/>
                  <a:t>出版社信息</a:t>
                </a:r>
              </a:p>
            </p:txBody>
          </p:sp>
          <p:sp>
            <p:nvSpPr>
              <p:cNvPr id="27" name="iṧḻïḍê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-15790" y="4563741"/>
                <a:ext cx="3334770" cy="243338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出版社编号，唯一标识出版社的编号，</a:t>
                </a:r>
                <a:r>
                  <a:rPr lang="en-US" altLang="zh-CN" dirty="0"/>
                  <a:t>int(4)</a:t>
                </a:r>
                <a:r>
                  <a:rPr lang="zh-CN" altLang="zh-CN" dirty="0"/>
                  <a:t>，</a:t>
                </a:r>
                <a:r>
                  <a:rPr lang="en-US" altLang="zh-CN" dirty="0"/>
                  <a:t>AUTO_INCREMENT}</a:t>
                </a:r>
                <a:endParaRPr lang="zh-CN" altLang="zh-CN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出版社，</a:t>
                </a:r>
                <a:r>
                  <a:rPr lang="en-US" altLang="zh-CN" dirty="0"/>
                  <a:t>varchar(30)}</a:t>
                </a:r>
                <a:endParaRPr lang="zh-CN" altLang="zh-CN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出版社地址，</a:t>
                </a:r>
                <a:r>
                  <a:rPr lang="en-US" altLang="zh-CN" dirty="0"/>
                  <a:t>varchar(50)}</a:t>
                </a:r>
                <a:endParaRPr lang="zh-CN" altLang="zh-CN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出版社</a:t>
                </a:r>
                <a:r>
                  <a:rPr lang="en-US" altLang="zh-CN" dirty="0"/>
                  <a:t>email</a:t>
                </a:r>
                <a:r>
                  <a:rPr lang="zh-CN" altLang="zh-CN" dirty="0"/>
                  <a:t>，</a:t>
                </a:r>
                <a:r>
                  <a:rPr lang="en-US" altLang="zh-CN" dirty="0"/>
                  <a:t>char(30)}</a:t>
                </a:r>
                <a:endParaRPr lang="zh-CN" altLang="zh-CN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出版社联系方式，</a:t>
                </a:r>
                <a:r>
                  <a:rPr lang="en-US" altLang="zh-CN" dirty="0"/>
                  <a:t>varchar(20)}</a:t>
                </a:r>
                <a:endParaRPr lang="zh-CN" altLang="zh-CN" dirty="0"/>
              </a:p>
            </p:txBody>
          </p:sp>
        </p:grpSp>
        <p:sp>
          <p:nvSpPr>
            <p:cNvPr id="10" name="ïṣ1íḓé">
              <a:extLst>
                <a:ext uri="{FF2B5EF4-FFF2-40B4-BE49-F238E27FC236}">
                  <a16:creationId xmlns:a16="http://schemas.microsoft.com/office/drawing/2014/main" id="{94B63994-6C40-488D-A3E6-5E583CD03D93}"/>
                </a:ext>
              </a:extLst>
            </p:cNvPr>
            <p:cNvSpPr/>
            <p:nvPr/>
          </p:nvSpPr>
          <p:spPr bwMode="auto">
            <a:xfrm>
              <a:off x="9833764" y="4629198"/>
              <a:ext cx="587730" cy="434806"/>
            </a:xfrm>
            <a:custGeom>
              <a:avLst/>
              <a:gdLst>
                <a:gd name="T0" fmla="*/ 278945 h 440259"/>
                <a:gd name="T1" fmla="*/ 278945 h 440259"/>
                <a:gd name="T2" fmla="*/ 278945 h 440259"/>
                <a:gd name="T3" fmla="*/ 278945 h 440259"/>
                <a:gd name="T4" fmla="*/ 278945 h 440259"/>
                <a:gd name="T5" fmla="*/ 278945 h 440259"/>
                <a:gd name="T6" fmla="*/ 278945 h 440259"/>
                <a:gd name="T7" fmla="*/ 278945 h 440259"/>
                <a:gd name="T8" fmla="*/ 278945 h 440259"/>
                <a:gd name="T9" fmla="*/ 278945 h 440259"/>
                <a:gd name="T10" fmla="*/ 278945 h 440259"/>
                <a:gd name="T11" fmla="*/ 278945 h 440259"/>
                <a:gd name="T12" fmla="*/ 278945 h 440259"/>
                <a:gd name="T13" fmla="*/ 278945 h 440259"/>
                <a:gd name="T14" fmla="*/ 278945 h 440259"/>
                <a:gd name="T15" fmla="*/ 278945 h 440259"/>
                <a:gd name="T16" fmla="*/ 278945 h 440259"/>
                <a:gd name="T17" fmla="*/ 278945 h 440259"/>
                <a:gd name="T18" fmla="*/ 278945 h 440259"/>
                <a:gd name="T19" fmla="*/ 278945 h 440259"/>
                <a:gd name="T20" fmla="*/ 278945 h 440259"/>
                <a:gd name="T21" fmla="*/ 278945 h 440259"/>
                <a:gd name="T22" fmla="*/ 278945 h 440259"/>
                <a:gd name="T23" fmla="*/ 278945 h 440259"/>
                <a:gd name="T24" fmla="*/ 278945 h 440259"/>
                <a:gd name="T25" fmla="*/ 278945 h 440259"/>
                <a:gd name="T26" fmla="*/ 278945 h 440259"/>
                <a:gd name="T27" fmla="*/ 278945 h 440259"/>
                <a:gd name="T28" fmla="*/ 278945 h 440259"/>
                <a:gd name="T29" fmla="*/ 278945 h 440259"/>
                <a:gd name="T30" fmla="*/ 88862 h 440259"/>
                <a:gd name="T31" fmla="*/ 88862 h 440259"/>
                <a:gd name="T32" fmla="*/ 278945 h 440259"/>
                <a:gd name="T33" fmla="*/ 278945 h 440259"/>
                <a:gd name="T34" fmla="*/ 278945 h 440259"/>
                <a:gd name="T35" fmla="*/ 278945 h 440259"/>
                <a:gd name="T36" fmla="*/ 278945 h 440259"/>
                <a:gd name="T37" fmla="*/ 278945 h 440259"/>
                <a:gd name="T38" fmla="*/ 278945 h 440259"/>
                <a:gd name="T39" fmla="*/ 278945 h 440259"/>
                <a:gd name="T40" fmla="*/ 278945 h 440259"/>
                <a:gd name="T41" fmla="*/ 278945 h 440259"/>
                <a:gd name="T42" fmla="*/ 278945 h 440259"/>
                <a:gd name="T43" fmla="*/ 278945 h 440259"/>
                <a:gd name="T44" fmla="*/ 278945 h 440259"/>
                <a:gd name="T45" fmla="*/ 278945 h 440259"/>
                <a:gd name="T46" fmla="*/ 278945 h 440259"/>
                <a:gd name="T47" fmla="*/ 278945 h 440259"/>
                <a:gd name="T48" fmla="*/ 278945 h 440259"/>
                <a:gd name="T49" fmla="*/ 278945 h 440259"/>
                <a:gd name="T50" fmla="*/ 278945 h 440259"/>
                <a:gd name="T51" fmla="*/ 278945 h 440259"/>
                <a:gd name="T52" fmla="*/ 278945 h 440259"/>
                <a:gd name="T53" fmla="*/ 278945 h 440259"/>
                <a:gd name="T54" fmla="*/ 278945 h 440259"/>
                <a:gd name="T55" fmla="*/ 278945 h 440259"/>
                <a:gd name="T56" fmla="*/ 278945 h 440259"/>
                <a:gd name="T57" fmla="*/ 278945 h 440259"/>
                <a:gd name="T58" fmla="*/ 278945 h 440259"/>
                <a:gd name="T59" fmla="*/ 278945 h 440259"/>
                <a:gd name="T60" fmla="*/ 278945 h 440259"/>
                <a:gd name="T61" fmla="*/ 278945 h 440259"/>
                <a:gd name="T62" fmla="*/ 278945 h 440259"/>
                <a:gd name="T63" fmla="*/ 278945 h 440259"/>
                <a:gd name="T64" fmla="*/ 278945 h 440259"/>
                <a:gd name="T65" fmla="*/ 278945 h 440259"/>
                <a:gd name="T66" fmla="*/ 278945 h 440259"/>
                <a:gd name="T67" fmla="*/ 278945 h 440259"/>
                <a:gd name="T68" fmla="*/ 278945 h 440259"/>
                <a:gd name="T69" fmla="*/ 278945 h 440259"/>
                <a:gd name="T70" fmla="*/ 278945 h 440259"/>
                <a:gd name="T71" fmla="*/ 278945 h 440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608" h="4896">
                  <a:moveTo>
                    <a:pt x="6608" y="638"/>
                  </a:moveTo>
                  <a:lnTo>
                    <a:pt x="6608" y="2638"/>
                  </a:lnTo>
                  <a:cubicBezTo>
                    <a:pt x="6608" y="2638"/>
                    <a:pt x="6180" y="2723"/>
                    <a:pt x="6092" y="2734"/>
                  </a:cubicBezTo>
                  <a:cubicBezTo>
                    <a:pt x="6004" y="2745"/>
                    <a:pt x="5728" y="2834"/>
                    <a:pt x="5528" y="2642"/>
                  </a:cubicBezTo>
                  <a:cubicBezTo>
                    <a:pt x="5219" y="2346"/>
                    <a:pt x="4122" y="1254"/>
                    <a:pt x="4122" y="1254"/>
                  </a:cubicBezTo>
                  <a:cubicBezTo>
                    <a:pt x="4122" y="1254"/>
                    <a:pt x="3932" y="1069"/>
                    <a:pt x="3629" y="1229"/>
                  </a:cubicBezTo>
                  <a:cubicBezTo>
                    <a:pt x="3350" y="1376"/>
                    <a:pt x="2936" y="1592"/>
                    <a:pt x="2764" y="1675"/>
                  </a:cubicBezTo>
                  <a:cubicBezTo>
                    <a:pt x="2437" y="1849"/>
                    <a:pt x="2167" y="1574"/>
                    <a:pt x="2167" y="1364"/>
                  </a:cubicBezTo>
                  <a:cubicBezTo>
                    <a:pt x="2167" y="1201"/>
                    <a:pt x="2269" y="1090"/>
                    <a:pt x="2414" y="1009"/>
                  </a:cubicBezTo>
                  <a:cubicBezTo>
                    <a:pt x="2808" y="770"/>
                    <a:pt x="3637" y="305"/>
                    <a:pt x="3983" y="121"/>
                  </a:cubicBezTo>
                  <a:cubicBezTo>
                    <a:pt x="4193" y="9"/>
                    <a:pt x="4344" y="0"/>
                    <a:pt x="4633" y="243"/>
                  </a:cubicBezTo>
                  <a:cubicBezTo>
                    <a:pt x="4988" y="541"/>
                    <a:pt x="5304" y="814"/>
                    <a:pt x="5304" y="814"/>
                  </a:cubicBezTo>
                  <a:cubicBezTo>
                    <a:pt x="5304" y="814"/>
                    <a:pt x="5407" y="900"/>
                    <a:pt x="5571" y="865"/>
                  </a:cubicBezTo>
                  <a:cubicBezTo>
                    <a:pt x="5975" y="780"/>
                    <a:pt x="6608" y="638"/>
                    <a:pt x="6608" y="638"/>
                  </a:cubicBezTo>
                  <a:close/>
                  <a:moveTo>
                    <a:pt x="2241" y="4027"/>
                  </a:moveTo>
                  <a:cubicBezTo>
                    <a:pt x="2294" y="3891"/>
                    <a:pt x="2277" y="3738"/>
                    <a:pt x="2175" y="3633"/>
                  </a:cubicBezTo>
                  <a:cubicBezTo>
                    <a:pt x="2083" y="3540"/>
                    <a:pt x="1950" y="3515"/>
                    <a:pt x="1822" y="3544"/>
                  </a:cubicBezTo>
                  <a:cubicBezTo>
                    <a:pt x="1858" y="3418"/>
                    <a:pt x="1838" y="3283"/>
                    <a:pt x="1746" y="3188"/>
                  </a:cubicBezTo>
                  <a:cubicBezTo>
                    <a:pt x="1654" y="3095"/>
                    <a:pt x="1521" y="3070"/>
                    <a:pt x="1394" y="3099"/>
                  </a:cubicBezTo>
                  <a:cubicBezTo>
                    <a:pt x="1429" y="2973"/>
                    <a:pt x="1409" y="2838"/>
                    <a:pt x="1317" y="2744"/>
                  </a:cubicBezTo>
                  <a:cubicBezTo>
                    <a:pt x="1173" y="2596"/>
                    <a:pt x="924" y="2602"/>
                    <a:pt x="760" y="2758"/>
                  </a:cubicBezTo>
                  <a:cubicBezTo>
                    <a:pt x="597" y="2915"/>
                    <a:pt x="492" y="3198"/>
                    <a:pt x="638" y="3365"/>
                  </a:cubicBezTo>
                  <a:cubicBezTo>
                    <a:pt x="783" y="3531"/>
                    <a:pt x="950" y="3430"/>
                    <a:pt x="1077" y="3401"/>
                  </a:cubicBezTo>
                  <a:cubicBezTo>
                    <a:pt x="1042" y="3527"/>
                    <a:pt x="936" y="3645"/>
                    <a:pt x="1066" y="3810"/>
                  </a:cubicBezTo>
                  <a:cubicBezTo>
                    <a:pt x="1197" y="3975"/>
                    <a:pt x="1378" y="3875"/>
                    <a:pt x="1506" y="3846"/>
                  </a:cubicBezTo>
                  <a:cubicBezTo>
                    <a:pt x="1470" y="3972"/>
                    <a:pt x="1369" y="4101"/>
                    <a:pt x="1494" y="4254"/>
                  </a:cubicBezTo>
                  <a:cubicBezTo>
                    <a:pt x="1621" y="4408"/>
                    <a:pt x="1829" y="4326"/>
                    <a:pt x="1966" y="4283"/>
                  </a:cubicBezTo>
                  <a:cubicBezTo>
                    <a:pt x="1913" y="4419"/>
                    <a:pt x="1799" y="4566"/>
                    <a:pt x="1945" y="4730"/>
                  </a:cubicBezTo>
                  <a:cubicBezTo>
                    <a:pt x="2090" y="4896"/>
                    <a:pt x="2426" y="4819"/>
                    <a:pt x="2590" y="4663"/>
                  </a:cubicBezTo>
                  <a:cubicBezTo>
                    <a:pt x="2753" y="4506"/>
                    <a:pt x="2769" y="4258"/>
                    <a:pt x="2625" y="4110"/>
                  </a:cubicBezTo>
                  <a:cubicBezTo>
                    <a:pt x="2526" y="4008"/>
                    <a:pt x="2378" y="3985"/>
                    <a:pt x="2241" y="4027"/>
                  </a:cubicBezTo>
                  <a:close/>
                  <a:moveTo>
                    <a:pt x="5233" y="2987"/>
                  </a:moveTo>
                  <a:cubicBezTo>
                    <a:pt x="4047" y="1802"/>
                    <a:pt x="4605" y="2359"/>
                    <a:pt x="3967" y="1720"/>
                  </a:cubicBezTo>
                  <a:cubicBezTo>
                    <a:pt x="3967" y="1720"/>
                    <a:pt x="3775" y="1529"/>
                    <a:pt x="3523" y="1640"/>
                  </a:cubicBezTo>
                  <a:cubicBezTo>
                    <a:pt x="3346" y="1718"/>
                    <a:pt x="3117" y="1824"/>
                    <a:pt x="2945" y="1905"/>
                  </a:cubicBezTo>
                  <a:cubicBezTo>
                    <a:pt x="2757" y="2004"/>
                    <a:pt x="2621" y="2034"/>
                    <a:pt x="2557" y="2034"/>
                  </a:cubicBezTo>
                  <a:cubicBezTo>
                    <a:pt x="2192" y="2031"/>
                    <a:pt x="1896" y="1738"/>
                    <a:pt x="1896" y="1373"/>
                  </a:cubicBezTo>
                  <a:cubicBezTo>
                    <a:pt x="1896" y="1137"/>
                    <a:pt x="2022" y="931"/>
                    <a:pt x="2209" y="814"/>
                  </a:cubicBezTo>
                  <a:cubicBezTo>
                    <a:pt x="2472" y="632"/>
                    <a:pt x="3078" y="310"/>
                    <a:pt x="3078" y="310"/>
                  </a:cubicBezTo>
                  <a:cubicBezTo>
                    <a:pt x="3078" y="310"/>
                    <a:pt x="2894" y="76"/>
                    <a:pt x="2489" y="76"/>
                  </a:cubicBezTo>
                  <a:cubicBezTo>
                    <a:pt x="2085" y="76"/>
                    <a:pt x="1240" y="629"/>
                    <a:pt x="1240" y="629"/>
                  </a:cubicBezTo>
                  <a:cubicBezTo>
                    <a:pt x="1240" y="629"/>
                    <a:pt x="1000" y="783"/>
                    <a:pt x="659" y="644"/>
                  </a:cubicBezTo>
                  <a:lnTo>
                    <a:pt x="0" y="415"/>
                  </a:lnTo>
                  <a:lnTo>
                    <a:pt x="0" y="2704"/>
                  </a:lnTo>
                  <a:cubicBezTo>
                    <a:pt x="0" y="2704"/>
                    <a:pt x="188" y="2758"/>
                    <a:pt x="357" y="2827"/>
                  </a:cubicBezTo>
                  <a:cubicBezTo>
                    <a:pt x="395" y="2719"/>
                    <a:pt x="457" y="2618"/>
                    <a:pt x="542" y="2535"/>
                  </a:cubicBezTo>
                  <a:cubicBezTo>
                    <a:pt x="822" y="2268"/>
                    <a:pt x="1287" y="2265"/>
                    <a:pt x="1542" y="2528"/>
                  </a:cubicBezTo>
                  <a:cubicBezTo>
                    <a:pt x="1619" y="2608"/>
                    <a:pt x="1673" y="2703"/>
                    <a:pt x="1700" y="2808"/>
                  </a:cubicBezTo>
                  <a:cubicBezTo>
                    <a:pt x="1803" y="2840"/>
                    <a:pt x="1896" y="2896"/>
                    <a:pt x="1971" y="2973"/>
                  </a:cubicBezTo>
                  <a:cubicBezTo>
                    <a:pt x="2048" y="3053"/>
                    <a:pt x="2101" y="3148"/>
                    <a:pt x="2129" y="3253"/>
                  </a:cubicBezTo>
                  <a:cubicBezTo>
                    <a:pt x="2231" y="3285"/>
                    <a:pt x="2324" y="3341"/>
                    <a:pt x="2399" y="3418"/>
                  </a:cubicBezTo>
                  <a:cubicBezTo>
                    <a:pt x="2484" y="3505"/>
                    <a:pt x="2540" y="3611"/>
                    <a:pt x="2566" y="3725"/>
                  </a:cubicBezTo>
                  <a:cubicBezTo>
                    <a:pt x="2674" y="3756"/>
                    <a:pt x="2771" y="3814"/>
                    <a:pt x="2849" y="3894"/>
                  </a:cubicBezTo>
                  <a:cubicBezTo>
                    <a:pt x="3002" y="4051"/>
                    <a:pt x="3056" y="4265"/>
                    <a:pt x="3023" y="4471"/>
                  </a:cubicBezTo>
                  <a:cubicBezTo>
                    <a:pt x="3024" y="4471"/>
                    <a:pt x="3024" y="4471"/>
                    <a:pt x="3024" y="4472"/>
                  </a:cubicBezTo>
                  <a:cubicBezTo>
                    <a:pt x="3027" y="4475"/>
                    <a:pt x="3119" y="4578"/>
                    <a:pt x="3177" y="4636"/>
                  </a:cubicBezTo>
                  <a:cubicBezTo>
                    <a:pt x="3290" y="4749"/>
                    <a:pt x="3475" y="4749"/>
                    <a:pt x="3588" y="4636"/>
                  </a:cubicBezTo>
                  <a:cubicBezTo>
                    <a:pt x="3700" y="4523"/>
                    <a:pt x="3701" y="4339"/>
                    <a:pt x="3588" y="4225"/>
                  </a:cubicBezTo>
                  <a:cubicBezTo>
                    <a:pt x="3584" y="4221"/>
                    <a:pt x="3180" y="3799"/>
                    <a:pt x="3213" y="3766"/>
                  </a:cubicBezTo>
                  <a:cubicBezTo>
                    <a:pt x="3245" y="3734"/>
                    <a:pt x="3759" y="4269"/>
                    <a:pt x="3769" y="4279"/>
                  </a:cubicBezTo>
                  <a:cubicBezTo>
                    <a:pt x="3882" y="4391"/>
                    <a:pt x="4066" y="4391"/>
                    <a:pt x="4179" y="4279"/>
                  </a:cubicBezTo>
                  <a:cubicBezTo>
                    <a:pt x="4292" y="4166"/>
                    <a:pt x="4292" y="3981"/>
                    <a:pt x="4179" y="3868"/>
                  </a:cubicBezTo>
                  <a:cubicBezTo>
                    <a:pt x="4174" y="3863"/>
                    <a:pt x="4151" y="3841"/>
                    <a:pt x="4142" y="3832"/>
                  </a:cubicBezTo>
                  <a:cubicBezTo>
                    <a:pt x="4142" y="3832"/>
                    <a:pt x="3632" y="3378"/>
                    <a:pt x="3671" y="3339"/>
                  </a:cubicBezTo>
                  <a:cubicBezTo>
                    <a:pt x="3710" y="3300"/>
                    <a:pt x="4343" y="3891"/>
                    <a:pt x="4345" y="3891"/>
                  </a:cubicBezTo>
                  <a:cubicBezTo>
                    <a:pt x="4458" y="3993"/>
                    <a:pt x="4634" y="3992"/>
                    <a:pt x="4743" y="3883"/>
                  </a:cubicBezTo>
                  <a:cubicBezTo>
                    <a:pt x="4850" y="3776"/>
                    <a:pt x="4852" y="3608"/>
                    <a:pt x="4758" y="3494"/>
                  </a:cubicBezTo>
                  <a:cubicBezTo>
                    <a:pt x="4756" y="3488"/>
                    <a:pt x="4275" y="2986"/>
                    <a:pt x="4312" y="2948"/>
                  </a:cubicBezTo>
                  <a:cubicBezTo>
                    <a:pt x="4351" y="2910"/>
                    <a:pt x="4826" y="3400"/>
                    <a:pt x="4827" y="3401"/>
                  </a:cubicBezTo>
                  <a:cubicBezTo>
                    <a:pt x="4940" y="3513"/>
                    <a:pt x="5124" y="3513"/>
                    <a:pt x="5238" y="3401"/>
                  </a:cubicBezTo>
                  <a:cubicBezTo>
                    <a:pt x="5350" y="3288"/>
                    <a:pt x="5350" y="3103"/>
                    <a:pt x="5238" y="2990"/>
                  </a:cubicBezTo>
                  <a:cubicBezTo>
                    <a:pt x="5236" y="2989"/>
                    <a:pt x="5234" y="2988"/>
                    <a:pt x="5233" y="298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11" name="iśḷïḑè">
              <a:extLst>
                <a:ext uri="{FF2B5EF4-FFF2-40B4-BE49-F238E27FC236}">
                  <a16:creationId xmlns:a16="http://schemas.microsoft.com/office/drawing/2014/main" id="{1E15E93D-B98F-4EFE-9713-8AD8D0A5E138}"/>
                </a:ext>
              </a:extLst>
            </p:cNvPr>
            <p:cNvGrpSpPr/>
            <p:nvPr/>
          </p:nvGrpSpPr>
          <p:grpSpPr>
            <a:xfrm>
              <a:off x="8359016" y="2239229"/>
              <a:ext cx="3315119" cy="2311202"/>
              <a:chOff x="-36716" y="3611573"/>
              <a:chExt cx="3601681" cy="2451793"/>
            </a:xfrm>
          </p:grpSpPr>
          <p:sp>
            <p:nvSpPr>
              <p:cNvPr id="24" name="îs1iḑè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77994" y="5608185"/>
                <a:ext cx="2394346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zh-CN" altLang="en-US" sz="2000" b="1" dirty="0"/>
                  <a:t>分类信息</a:t>
                </a:r>
                <a:endParaRPr lang="en-US" altLang="zh-CN" sz="2000" b="1" dirty="0"/>
              </a:p>
            </p:txBody>
          </p:sp>
          <p:sp>
            <p:nvSpPr>
              <p:cNvPr id="25" name="íṡ1iḓê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-36716" y="3611573"/>
                <a:ext cx="3601681" cy="206869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图书类别编号，唯一标识分类的编号，</a:t>
                </a:r>
                <a:r>
                  <a:rPr lang="en-US" altLang="zh-CN" dirty="0"/>
                  <a:t>int(4)</a:t>
                </a:r>
                <a:r>
                  <a:rPr lang="zh-CN" altLang="zh-CN" dirty="0"/>
                  <a:t>，</a:t>
                </a:r>
                <a:r>
                  <a:rPr lang="en-US" altLang="zh-CN" dirty="0"/>
                  <a:t>AUTO_INCREMENT}</a:t>
                </a:r>
                <a:endParaRPr lang="zh-CN" altLang="zh-CN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类别，</a:t>
                </a:r>
                <a:r>
                  <a:rPr lang="en-US" altLang="zh-CN" dirty="0"/>
                  <a:t>varchar(10)}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endParaRPr lang="en-US" altLang="zh-CN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图书子类编号，唯一标识子类的编号，</a:t>
                </a:r>
                <a:r>
                  <a:rPr lang="en-US" altLang="zh-CN" dirty="0"/>
                  <a:t>int(4)</a:t>
                </a:r>
                <a:r>
                  <a:rPr lang="zh-CN" altLang="zh-CN" dirty="0"/>
                  <a:t>，</a:t>
                </a:r>
                <a:r>
                  <a:rPr lang="en-US" altLang="zh-CN" dirty="0"/>
                  <a:t>AUTO_INCREMENT}</a:t>
                </a:r>
                <a:endParaRPr lang="zh-CN" altLang="zh-CN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{</a:t>
                </a:r>
                <a:r>
                  <a:rPr lang="zh-CN" altLang="zh-CN" dirty="0"/>
                  <a:t>子类，</a:t>
                </a:r>
                <a:r>
                  <a:rPr lang="en-US" altLang="zh-CN" dirty="0"/>
                  <a:t>varchar(10)}</a:t>
                </a:r>
                <a:endParaRPr lang="zh-CN" altLang="zh-CN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endParaRPr lang="zh-CN" altLang="zh-CN" dirty="0"/>
              </a:p>
              <a:p>
                <a:pPr marL="171450" indent="-171450" algn="ct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100" dirty="0"/>
              </a:p>
            </p:txBody>
          </p:sp>
        </p:grpSp>
        <p:sp>
          <p:nvSpPr>
            <p:cNvPr id="12" name="îşļíde">
              <a:extLst>
                <a:ext uri="{FF2B5EF4-FFF2-40B4-BE49-F238E27FC236}">
                  <a16:creationId xmlns:a16="http://schemas.microsoft.com/office/drawing/2014/main" id="{E3F20857-1777-444C-9D35-385662A77B8B}"/>
                </a:ext>
              </a:extLst>
            </p:cNvPr>
            <p:cNvSpPr/>
            <p:nvPr/>
          </p:nvSpPr>
          <p:spPr bwMode="auto">
            <a:xfrm>
              <a:off x="1796573" y="2291471"/>
              <a:ext cx="553278" cy="411820"/>
            </a:xfrm>
            <a:custGeom>
              <a:avLst/>
              <a:gdLst>
                <a:gd name="connsiteX0" fmla="*/ 36795 w 606651"/>
                <a:gd name="connsiteY0" fmla="*/ 106977 h 451548"/>
                <a:gd name="connsiteX1" fmla="*/ 91546 w 606651"/>
                <a:gd name="connsiteY1" fmla="*/ 106977 h 451548"/>
                <a:gd name="connsiteX2" fmla="*/ 212272 w 606651"/>
                <a:gd name="connsiteY2" fmla="*/ 106977 h 451548"/>
                <a:gd name="connsiteX3" fmla="*/ 240008 w 606651"/>
                <a:gd name="connsiteY3" fmla="*/ 118743 h 451548"/>
                <a:gd name="connsiteX4" fmla="*/ 266302 w 606651"/>
                <a:gd name="connsiteY4" fmla="*/ 145876 h 451548"/>
                <a:gd name="connsiteX5" fmla="*/ 294038 w 606651"/>
                <a:gd name="connsiteY5" fmla="*/ 157642 h 451548"/>
                <a:gd name="connsiteX6" fmla="*/ 498775 w 606651"/>
                <a:gd name="connsiteY6" fmla="*/ 157642 h 451548"/>
                <a:gd name="connsiteX7" fmla="*/ 515128 w 606651"/>
                <a:gd name="connsiteY7" fmla="*/ 173890 h 451548"/>
                <a:gd name="connsiteX8" fmla="*/ 515128 w 606651"/>
                <a:gd name="connsiteY8" fmla="*/ 344535 h 451548"/>
                <a:gd name="connsiteX9" fmla="*/ 515128 w 606651"/>
                <a:gd name="connsiteY9" fmla="*/ 414810 h 451548"/>
                <a:gd name="connsiteX10" fmla="*/ 478333 w 606651"/>
                <a:gd name="connsiteY10" fmla="*/ 451548 h 451548"/>
                <a:gd name="connsiteX11" fmla="*/ 36795 w 606651"/>
                <a:gd name="connsiteY11" fmla="*/ 451548 h 451548"/>
                <a:gd name="connsiteX12" fmla="*/ 0 w 606651"/>
                <a:gd name="connsiteY12" fmla="*/ 414810 h 451548"/>
                <a:gd name="connsiteX13" fmla="*/ 0 w 606651"/>
                <a:gd name="connsiteY13" fmla="*/ 143715 h 451548"/>
                <a:gd name="connsiteX14" fmla="*/ 36795 w 606651"/>
                <a:gd name="connsiteY14" fmla="*/ 106977 h 451548"/>
                <a:gd name="connsiteX15" fmla="*/ 128318 w 606651"/>
                <a:gd name="connsiteY15" fmla="*/ 0 h 451548"/>
                <a:gd name="connsiteX16" fmla="*/ 303795 w 606651"/>
                <a:gd name="connsiteY16" fmla="*/ 0 h 451548"/>
                <a:gd name="connsiteX17" fmla="*/ 331531 w 606651"/>
                <a:gd name="connsiteY17" fmla="*/ 11686 h 451548"/>
                <a:gd name="connsiteX18" fmla="*/ 357825 w 606651"/>
                <a:gd name="connsiteY18" fmla="*/ 38900 h 451548"/>
                <a:gd name="connsiteX19" fmla="*/ 385561 w 606651"/>
                <a:gd name="connsiteY19" fmla="*/ 50586 h 451548"/>
                <a:gd name="connsiteX20" fmla="*/ 590298 w 606651"/>
                <a:gd name="connsiteY20" fmla="*/ 50586 h 451548"/>
                <a:gd name="connsiteX21" fmla="*/ 606651 w 606651"/>
                <a:gd name="connsiteY21" fmla="*/ 66915 h 451548"/>
                <a:gd name="connsiteX22" fmla="*/ 606651 w 606651"/>
                <a:gd name="connsiteY22" fmla="*/ 307761 h 451548"/>
                <a:gd name="connsiteX23" fmla="*/ 569856 w 606651"/>
                <a:gd name="connsiteY23" fmla="*/ 344500 h 451548"/>
                <a:gd name="connsiteX24" fmla="*/ 531458 w 606651"/>
                <a:gd name="connsiteY24" fmla="*/ 344500 h 451548"/>
                <a:gd name="connsiteX25" fmla="*/ 531458 w 606651"/>
                <a:gd name="connsiteY25" fmla="*/ 173851 h 451548"/>
                <a:gd name="connsiteX26" fmla="*/ 498751 w 606651"/>
                <a:gd name="connsiteY26" fmla="*/ 141194 h 451548"/>
                <a:gd name="connsiteX27" fmla="*/ 294015 w 606651"/>
                <a:gd name="connsiteY27" fmla="*/ 141194 h 451548"/>
                <a:gd name="connsiteX28" fmla="*/ 278062 w 606651"/>
                <a:gd name="connsiteY28" fmla="*/ 134470 h 451548"/>
                <a:gd name="connsiteX29" fmla="*/ 251689 w 606651"/>
                <a:gd name="connsiteY29" fmla="*/ 107336 h 451548"/>
                <a:gd name="connsiteX30" fmla="*/ 212249 w 606651"/>
                <a:gd name="connsiteY30" fmla="*/ 90607 h 451548"/>
                <a:gd name="connsiteX31" fmla="*/ 91523 w 606651"/>
                <a:gd name="connsiteY31" fmla="*/ 90607 h 451548"/>
                <a:gd name="connsiteX32" fmla="*/ 91523 w 606651"/>
                <a:gd name="connsiteY32" fmla="*/ 36739 h 451548"/>
                <a:gd name="connsiteX33" fmla="*/ 128318 w 606651"/>
                <a:gd name="connsiteY33" fmla="*/ 0 h 45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6651" h="451548">
                  <a:moveTo>
                    <a:pt x="36795" y="106977"/>
                  </a:moveTo>
                  <a:lnTo>
                    <a:pt x="91546" y="106977"/>
                  </a:lnTo>
                  <a:lnTo>
                    <a:pt x="212272" y="106977"/>
                  </a:lnTo>
                  <a:cubicBezTo>
                    <a:pt x="221330" y="106977"/>
                    <a:pt x="233675" y="112260"/>
                    <a:pt x="240008" y="118743"/>
                  </a:cubicBezTo>
                  <a:lnTo>
                    <a:pt x="266302" y="145876"/>
                  </a:lnTo>
                  <a:cubicBezTo>
                    <a:pt x="272554" y="152360"/>
                    <a:pt x="284980" y="157642"/>
                    <a:pt x="294038" y="157642"/>
                  </a:cubicBezTo>
                  <a:lnTo>
                    <a:pt x="498775" y="157642"/>
                  </a:lnTo>
                  <a:cubicBezTo>
                    <a:pt x="507833" y="157642"/>
                    <a:pt x="515128" y="164926"/>
                    <a:pt x="515128" y="173890"/>
                  </a:cubicBezTo>
                  <a:lnTo>
                    <a:pt x="515128" y="344535"/>
                  </a:lnTo>
                  <a:lnTo>
                    <a:pt x="515128" y="414810"/>
                  </a:lnTo>
                  <a:cubicBezTo>
                    <a:pt x="515128" y="435060"/>
                    <a:pt x="498695" y="451548"/>
                    <a:pt x="478333" y="451548"/>
                  </a:cubicBezTo>
                  <a:lnTo>
                    <a:pt x="36795" y="451548"/>
                  </a:lnTo>
                  <a:cubicBezTo>
                    <a:pt x="16433" y="451548"/>
                    <a:pt x="0" y="435060"/>
                    <a:pt x="0" y="414810"/>
                  </a:cubicBezTo>
                  <a:lnTo>
                    <a:pt x="0" y="143715"/>
                  </a:lnTo>
                  <a:cubicBezTo>
                    <a:pt x="0" y="123385"/>
                    <a:pt x="16433" y="106977"/>
                    <a:pt x="36795" y="106977"/>
                  </a:cubicBezTo>
                  <a:close/>
                  <a:moveTo>
                    <a:pt x="128318" y="0"/>
                  </a:moveTo>
                  <a:lnTo>
                    <a:pt x="303795" y="0"/>
                  </a:lnTo>
                  <a:cubicBezTo>
                    <a:pt x="312853" y="0"/>
                    <a:pt x="325279" y="5283"/>
                    <a:pt x="331531" y="11686"/>
                  </a:cubicBezTo>
                  <a:lnTo>
                    <a:pt x="357825" y="38900"/>
                  </a:lnTo>
                  <a:cubicBezTo>
                    <a:pt x="364158" y="45384"/>
                    <a:pt x="376583" y="50586"/>
                    <a:pt x="385561" y="50586"/>
                  </a:cubicBezTo>
                  <a:lnTo>
                    <a:pt x="590298" y="50586"/>
                  </a:lnTo>
                  <a:cubicBezTo>
                    <a:pt x="599356" y="50586"/>
                    <a:pt x="606651" y="57950"/>
                    <a:pt x="606651" y="66915"/>
                  </a:cubicBezTo>
                  <a:lnTo>
                    <a:pt x="606651" y="307761"/>
                  </a:lnTo>
                  <a:cubicBezTo>
                    <a:pt x="606651" y="328091"/>
                    <a:pt x="590218" y="344500"/>
                    <a:pt x="569856" y="344500"/>
                  </a:cubicBezTo>
                  <a:lnTo>
                    <a:pt x="531458" y="344500"/>
                  </a:lnTo>
                  <a:lnTo>
                    <a:pt x="531458" y="173851"/>
                  </a:lnTo>
                  <a:cubicBezTo>
                    <a:pt x="531458" y="155921"/>
                    <a:pt x="516788" y="141194"/>
                    <a:pt x="498751" y="141194"/>
                  </a:cubicBezTo>
                  <a:lnTo>
                    <a:pt x="294015" y="141194"/>
                  </a:lnTo>
                  <a:cubicBezTo>
                    <a:pt x="289446" y="141194"/>
                    <a:pt x="281189" y="137752"/>
                    <a:pt x="278062" y="134470"/>
                  </a:cubicBezTo>
                  <a:lnTo>
                    <a:pt x="251689" y="107336"/>
                  </a:lnTo>
                  <a:cubicBezTo>
                    <a:pt x="242310" y="97651"/>
                    <a:pt x="225716" y="90607"/>
                    <a:pt x="212249" y="90607"/>
                  </a:cubicBezTo>
                  <a:lnTo>
                    <a:pt x="91523" y="90607"/>
                  </a:lnTo>
                  <a:lnTo>
                    <a:pt x="91523" y="36739"/>
                  </a:lnTo>
                  <a:cubicBezTo>
                    <a:pt x="91523" y="16409"/>
                    <a:pt x="108037" y="0"/>
                    <a:pt x="1283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13" name="iṧ1îďê">
              <a:extLst>
                <a:ext uri="{FF2B5EF4-FFF2-40B4-BE49-F238E27FC236}">
                  <a16:creationId xmlns:a16="http://schemas.microsoft.com/office/drawing/2014/main" id="{9AFA178C-F900-4F49-BF4B-77BC27D43FE0}"/>
                </a:ext>
              </a:extLst>
            </p:cNvPr>
            <p:cNvGrpSpPr/>
            <p:nvPr/>
          </p:nvGrpSpPr>
          <p:grpSpPr>
            <a:xfrm>
              <a:off x="339701" y="2745405"/>
              <a:ext cx="3108490" cy="3310308"/>
              <a:chOff x="-18772" y="4148538"/>
              <a:chExt cx="3377190" cy="3511675"/>
            </a:xfrm>
          </p:grpSpPr>
          <p:sp>
            <p:nvSpPr>
              <p:cNvPr id="22" name="îṧļíďè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67412" y="4148538"/>
                <a:ext cx="2394345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zh-CN" altLang="en-US" sz="2000" b="1" dirty="0"/>
                  <a:t>图书信息</a:t>
                </a:r>
                <a:endParaRPr lang="en-US" altLang="zh-CN" sz="2000" b="1" dirty="0"/>
              </a:p>
            </p:txBody>
          </p:sp>
          <p:sp>
            <p:nvSpPr>
              <p:cNvPr id="23" name="išḷîḑê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-18772" y="4590355"/>
                <a:ext cx="3377190" cy="30698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图书编号，唯一标识图书的编号，</a:t>
                </a:r>
                <a:r>
                  <a:rPr lang="en-US" altLang="zh-CN" sz="1400" dirty="0"/>
                  <a:t>char(20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图书名，</a:t>
                </a:r>
                <a:r>
                  <a:rPr lang="en-US" altLang="zh-CN" sz="1400" dirty="0"/>
                  <a:t>varchar(30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图书图片，</a:t>
                </a:r>
                <a:r>
                  <a:rPr lang="en-US" altLang="zh-CN" sz="1400" dirty="0" err="1"/>
                  <a:t>longblob</a:t>
                </a:r>
                <a:r>
                  <a:rPr lang="en-US" altLang="zh-CN" sz="1400" dirty="0"/>
                  <a:t>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图书简介，</a:t>
                </a:r>
                <a:r>
                  <a:rPr lang="en-US" altLang="zh-CN" sz="1400" dirty="0"/>
                  <a:t>TEXT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出版时间，</a:t>
                </a:r>
                <a:r>
                  <a:rPr lang="en-US" altLang="zh-CN" sz="1400" dirty="0"/>
                  <a:t>DATETIME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版本号，</a:t>
                </a:r>
                <a:r>
                  <a:rPr lang="en-US" altLang="zh-CN" sz="1400" dirty="0"/>
                  <a:t>char(30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出版社编号，</a:t>
                </a:r>
                <a:r>
                  <a:rPr lang="en-US" altLang="zh-CN" sz="1400" dirty="0"/>
                  <a:t>int(4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作者</a:t>
                </a:r>
                <a:r>
                  <a:rPr lang="en-US" altLang="zh-CN" sz="1400" dirty="0"/>
                  <a:t>/</a:t>
                </a:r>
                <a:r>
                  <a:rPr lang="zh-CN" altLang="zh-CN" sz="1400" dirty="0"/>
                  <a:t>译者编号，</a:t>
                </a:r>
                <a:r>
                  <a:rPr lang="en-US" altLang="zh-CN" sz="1400" dirty="0"/>
                  <a:t>int(4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图书类别编号，</a:t>
                </a:r>
                <a:r>
                  <a:rPr lang="en-US" altLang="zh-CN" sz="1400" dirty="0"/>
                  <a:t>int(4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图书子类编号，</a:t>
                </a:r>
                <a:r>
                  <a:rPr lang="en-US" altLang="zh-CN" sz="1400" dirty="0"/>
                  <a:t>int(4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销售量，</a:t>
                </a:r>
                <a:r>
                  <a:rPr lang="en-US" altLang="zh-CN" sz="1400" dirty="0"/>
                  <a:t>int(4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库存量，</a:t>
                </a:r>
                <a:r>
                  <a:rPr lang="en-US" altLang="zh-CN" sz="1400" dirty="0"/>
                  <a:t>int(4)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单价，</a:t>
                </a:r>
                <a:r>
                  <a:rPr lang="en-US" altLang="zh-CN" sz="1400" dirty="0"/>
                  <a:t>decimal}</a:t>
                </a:r>
                <a:endParaRPr lang="zh-CN" altLang="zh-CN" sz="11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{</a:t>
                </a:r>
                <a:r>
                  <a:rPr lang="zh-CN" altLang="zh-CN" sz="1400" dirty="0"/>
                  <a:t>会员单价，</a:t>
                </a:r>
                <a:r>
                  <a:rPr lang="en-US" altLang="zh-CN" sz="1400" dirty="0"/>
                  <a:t>decimal}</a:t>
                </a:r>
                <a:endParaRPr lang="zh-CN" altLang="zh-CN" sz="1100" dirty="0"/>
              </a:p>
            </p:txBody>
          </p:sp>
        </p:grpSp>
        <p:sp>
          <p:nvSpPr>
            <p:cNvPr id="14" name="íṩḻiḑè">
              <a:extLst>
                <a:ext uri="{FF2B5EF4-FFF2-40B4-BE49-F238E27FC236}">
                  <a16:creationId xmlns:a16="http://schemas.microsoft.com/office/drawing/2014/main" id="{22AA42C0-7927-4B68-9006-3F4514C9471F}"/>
                </a:ext>
              </a:extLst>
            </p:cNvPr>
            <p:cNvSpPr/>
            <p:nvPr/>
          </p:nvSpPr>
          <p:spPr bwMode="auto">
            <a:xfrm rot="10800000">
              <a:off x="732284" y="1910026"/>
              <a:ext cx="2681858" cy="1735652"/>
            </a:xfrm>
            <a:custGeom>
              <a:avLst/>
              <a:gdLst>
                <a:gd name="T0" fmla="*/ 3787 w 3787"/>
                <a:gd name="T1" fmla="*/ 0 h 1893"/>
                <a:gd name="T2" fmla="*/ 3787 w 3787"/>
                <a:gd name="T3" fmla="*/ 1893 h 1893"/>
                <a:gd name="T4" fmla="*/ 0 w 3787"/>
                <a:gd name="T5" fmla="*/ 1893 h 1893"/>
                <a:gd name="T6" fmla="*/ 0 w 3787"/>
                <a:gd name="T7" fmla="*/ 0 h 1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7" h="1893">
                  <a:moveTo>
                    <a:pt x="3787" y="0"/>
                  </a:moveTo>
                  <a:lnTo>
                    <a:pt x="3787" y="1893"/>
                  </a:lnTo>
                  <a:lnTo>
                    <a:pt x="0" y="1893"/>
                  </a:lnTo>
                  <a:lnTo>
                    <a:pt x="0" y="0"/>
                  </a:lnTo>
                </a:path>
              </a:pathLst>
            </a:custGeom>
            <a:noFill/>
            <a:ln w="180975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5" name="iṣļiḋê">
              <a:extLst>
                <a:ext uri="{FF2B5EF4-FFF2-40B4-BE49-F238E27FC236}">
                  <a16:creationId xmlns:a16="http://schemas.microsoft.com/office/drawing/2014/main" id="{5C4285ED-50E6-40D4-97B0-55225676FC7A}"/>
                </a:ext>
              </a:extLst>
            </p:cNvPr>
            <p:cNvSpPr/>
            <p:nvPr/>
          </p:nvSpPr>
          <p:spPr bwMode="auto">
            <a:xfrm>
              <a:off x="3414143" y="3645678"/>
              <a:ext cx="2681858" cy="1735652"/>
            </a:xfrm>
            <a:custGeom>
              <a:avLst/>
              <a:gdLst>
                <a:gd name="T0" fmla="*/ 3787 w 3787"/>
                <a:gd name="T1" fmla="*/ 0 h 1893"/>
                <a:gd name="T2" fmla="*/ 3787 w 3787"/>
                <a:gd name="T3" fmla="*/ 1893 h 1893"/>
                <a:gd name="T4" fmla="*/ 0 w 3787"/>
                <a:gd name="T5" fmla="*/ 1893 h 1893"/>
                <a:gd name="T6" fmla="*/ 0 w 3787"/>
                <a:gd name="T7" fmla="*/ 0 h 1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7" h="1893">
                  <a:moveTo>
                    <a:pt x="3787" y="0"/>
                  </a:moveTo>
                  <a:lnTo>
                    <a:pt x="3787" y="1893"/>
                  </a:lnTo>
                  <a:lnTo>
                    <a:pt x="0" y="1893"/>
                  </a:lnTo>
                  <a:lnTo>
                    <a:pt x="0" y="0"/>
                  </a:lnTo>
                </a:path>
              </a:pathLst>
            </a:custGeom>
            <a:noFill/>
            <a:ln w="180975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6" name="iş1iḋè">
              <a:extLst>
                <a:ext uri="{FF2B5EF4-FFF2-40B4-BE49-F238E27FC236}">
                  <a16:creationId xmlns:a16="http://schemas.microsoft.com/office/drawing/2014/main" id="{66812FAE-71B3-483C-9466-B12F21F67163}"/>
                </a:ext>
              </a:extLst>
            </p:cNvPr>
            <p:cNvSpPr/>
            <p:nvPr/>
          </p:nvSpPr>
          <p:spPr bwMode="auto">
            <a:xfrm rot="10800000">
              <a:off x="6096000" y="1910026"/>
              <a:ext cx="2681858" cy="1735652"/>
            </a:xfrm>
            <a:custGeom>
              <a:avLst/>
              <a:gdLst>
                <a:gd name="T0" fmla="*/ 3787 w 3787"/>
                <a:gd name="T1" fmla="*/ 0 h 1893"/>
                <a:gd name="T2" fmla="*/ 3787 w 3787"/>
                <a:gd name="T3" fmla="*/ 1893 h 1893"/>
                <a:gd name="T4" fmla="*/ 0 w 3787"/>
                <a:gd name="T5" fmla="*/ 1893 h 1893"/>
                <a:gd name="T6" fmla="*/ 0 w 3787"/>
                <a:gd name="T7" fmla="*/ 0 h 1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7" h="1893">
                  <a:moveTo>
                    <a:pt x="3787" y="0"/>
                  </a:moveTo>
                  <a:lnTo>
                    <a:pt x="3787" y="1893"/>
                  </a:lnTo>
                  <a:lnTo>
                    <a:pt x="0" y="1893"/>
                  </a:lnTo>
                  <a:lnTo>
                    <a:pt x="0" y="0"/>
                  </a:lnTo>
                </a:path>
              </a:pathLst>
            </a:custGeom>
            <a:noFill/>
            <a:ln w="180975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7" name="iśļïḓê">
              <a:extLst>
                <a:ext uri="{FF2B5EF4-FFF2-40B4-BE49-F238E27FC236}">
                  <a16:creationId xmlns:a16="http://schemas.microsoft.com/office/drawing/2014/main" id="{C8BAA6D5-3D89-4D2B-A10B-BA37D4A40968}"/>
                </a:ext>
              </a:extLst>
            </p:cNvPr>
            <p:cNvSpPr/>
            <p:nvPr/>
          </p:nvSpPr>
          <p:spPr bwMode="auto">
            <a:xfrm>
              <a:off x="8777857" y="3645678"/>
              <a:ext cx="2681858" cy="1735652"/>
            </a:xfrm>
            <a:custGeom>
              <a:avLst/>
              <a:gdLst>
                <a:gd name="T0" fmla="*/ 3787 w 3787"/>
                <a:gd name="T1" fmla="*/ 0 h 1893"/>
                <a:gd name="T2" fmla="*/ 3787 w 3787"/>
                <a:gd name="T3" fmla="*/ 1893 h 1893"/>
                <a:gd name="T4" fmla="*/ 0 w 3787"/>
                <a:gd name="T5" fmla="*/ 1893 h 1893"/>
                <a:gd name="T6" fmla="*/ 0 w 3787"/>
                <a:gd name="T7" fmla="*/ 0 h 1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7" h="1893">
                  <a:moveTo>
                    <a:pt x="3787" y="0"/>
                  </a:moveTo>
                  <a:lnTo>
                    <a:pt x="3787" y="1893"/>
                  </a:lnTo>
                  <a:lnTo>
                    <a:pt x="0" y="1893"/>
                  </a:lnTo>
                  <a:lnTo>
                    <a:pt x="0" y="0"/>
                  </a:lnTo>
                </a:path>
              </a:pathLst>
            </a:custGeom>
            <a:noFill/>
            <a:ln w="180975" cap="rnd">
              <a:solidFill>
                <a:schemeClr val="bg1">
                  <a:lumMod val="95000"/>
                </a:schemeClr>
              </a:solidFill>
              <a:prstDash val="solid"/>
              <a:round/>
              <a:headEnd type="arrow"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8" name="ïslîďé">
              <a:extLst>
                <a:ext uri="{FF2B5EF4-FFF2-40B4-BE49-F238E27FC236}">
                  <a16:creationId xmlns:a16="http://schemas.microsoft.com/office/drawing/2014/main" id="{44B2EB0C-BA8A-4133-9C06-2038EBC279E4}"/>
                </a:ext>
              </a:extLst>
            </p:cNvPr>
            <p:cNvSpPr/>
            <p:nvPr/>
          </p:nvSpPr>
          <p:spPr>
            <a:xfrm>
              <a:off x="1756792" y="1580254"/>
              <a:ext cx="632842" cy="63284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chemeClr val="tx1"/>
                  </a:solidFill>
                </a:rPr>
                <a:t>05</a:t>
              </a:r>
            </a:p>
          </p:txBody>
        </p:sp>
        <p:sp>
          <p:nvSpPr>
            <p:cNvPr id="19" name="îšḷiďè">
              <a:extLst>
                <a:ext uri="{FF2B5EF4-FFF2-40B4-BE49-F238E27FC236}">
                  <a16:creationId xmlns:a16="http://schemas.microsoft.com/office/drawing/2014/main" id="{C5358AC7-181B-4AED-B724-17DBC91860A0}"/>
                </a:ext>
              </a:extLst>
            </p:cNvPr>
            <p:cNvSpPr/>
            <p:nvPr/>
          </p:nvSpPr>
          <p:spPr>
            <a:xfrm>
              <a:off x="4438650" y="5064004"/>
              <a:ext cx="632842" cy="63284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chemeClr val="tx1"/>
                  </a:solidFill>
                </a:rPr>
                <a:t>06</a:t>
              </a:r>
            </a:p>
          </p:txBody>
        </p:sp>
        <p:sp>
          <p:nvSpPr>
            <p:cNvPr id="20" name="iṡlíḍé">
              <a:extLst>
                <a:ext uri="{FF2B5EF4-FFF2-40B4-BE49-F238E27FC236}">
                  <a16:creationId xmlns:a16="http://schemas.microsoft.com/office/drawing/2014/main" id="{D8EEF868-18A9-4B42-B3A5-ACF841AD8B85}"/>
                </a:ext>
              </a:extLst>
            </p:cNvPr>
            <p:cNvSpPr/>
            <p:nvPr/>
          </p:nvSpPr>
          <p:spPr>
            <a:xfrm>
              <a:off x="9802364" y="5064004"/>
              <a:ext cx="632842" cy="63284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62500" lnSpcReduction="20000"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chemeClr val="tx1"/>
                  </a:solidFill>
                </a:rPr>
                <a:t>08&amp;09</a:t>
              </a:r>
            </a:p>
          </p:txBody>
        </p:sp>
        <p:sp>
          <p:nvSpPr>
            <p:cNvPr id="21" name="îṩľîḍê">
              <a:extLst>
                <a:ext uri="{FF2B5EF4-FFF2-40B4-BE49-F238E27FC236}">
                  <a16:creationId xmlns:a16="http://schemas.microsoft.com/office/drawing/2014/main" id="{C011342C-DFE4-42C2-8915-1BD4DD527F21}"/>
                </a:ext>
              </a:extLst>
            </p:cNvPr>
            <p:cNvSpPr/>
            <p:nvPr/>
          </p:nvSpPr>
          <p:spPr>
            <a:xfrm>
              <a:off x="7120507" y="1580254"/>
              <a:ext cx="632842" cy="63284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chemeClr val="tx1"/>
                  </a:solidFill>
                </a:rPr>
                <a:t>07</a:t>
              </a:r>
            </a:p>
          </p:txBody>
        </p:sp>
      </p:grpSp>
      <mc:AlternateContent xmlns:mc="http://schemas.openxmlformats.org/markup-compatibility/2006" xmlns:p14="http://schemas.microsoft.com/office/powerpoint/2010/main" xmlns:iact="http://schemas.microsoft.com/office/powerpoint/2014/inkAction">
        <mc:Choice Requires="p14 iact">
          <p:contentPart p14:bwMode="auto" r:id="rId4">
            <p14:nvContentPartPr>
              <p14:cNvPr id="33" name="墨迹 32">
                <a:extLst>
                  <a:ext uri="{FF2B5EF4-FFF2-40B4-BE49-F238E27FC236}">
                    <a16:creationId xmlns:a16="http://schemas.microsoft.com/office/drawing/2014/main" id="{3008F238-8277-47EE-9A37-37375D1A8A72}"/>
                  </a:ext>
                </a:extLst>
              </p14:cNvPr>
              <p14:cNvContentPartPr/>
              <p14:nvPr>
                <p:extLst>
                  <p:ext uri="{42D2F446-02D8-4167-A562-619A0277C38B}">
                    <p15:isNarration xmlns:p15="http://schemas.microsoft.com/office/powerpoint/2012/main" val="1"/>
                  </p:ext>
                </p:extLst>
              </p14:nvPr>
            </p14:nvContentPartPr>
            <p14:xfrm>
              <a:off x="1172520" y="3195360"/>
              <a:ext cx="2064960" cy="246600"/>
            </p14:xfrm>
          </p:contentPart>
        </mc:Choice>
        <mc:Fallback xmlns="">
          <p:pic>
            <p:nvPicPr>
              <p:cNvPr id="33" name="墨迹 32">
                <a:extLst>
                  <a:ext uri="{FF2B5EF4-FFF2-40B4-BE49-F238E27FC236}">
                    <a16:creationId xmlns:a16="http://schemas.microsoft.com/office/drawing/2014/main" id="{3008F238-8277-47EE-9A37-37375D1A8A7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56680" y="3132000"/>
                <a:ext cx="2096280" cy="373320"/>
              </a:xfrm>
              <a:prstGeom prst="rect">
                <a:avLst/>
              </a:prstGeom>
            </p:spPr>
          </p:pic>
        </mc:Fallback>
      </mc:AlternateContent>
      <p:pic>
        <p:nvPicPr>
          <p:cNvPr id="34" name="音频 33">
            <a:hlinkClick r:id="" action="ppaction://media"/>
            <a:extLst>
              <a:ext uri="{FF2B5EF4-FFF2-40B4-BE49-F238E27FC236}">
                <a16:creationId xmlns:a16="http://schemas.microsoft.com/office/drawing/2014/main" id="{1B6AE740-778C-4254-86AC-6DDCC418BC7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488738" y="61547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72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1821"/>
    </mc:Choice>
    <mc:Fallback xmlns="">
      <p:transition spd="slow" advTm="3182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5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cmd type="call" cmd="playFrom(0.0)">
                                      <p:cBhvr>
                                        <p:cTn id="9" dur="1" fill="hold"/>
                                        <p:tgtEl>
                                          <p:spTgt spid="3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4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d886616b-ca37-4f34-af2e-1a3db2ccfee4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E3569"/>
      </a:accent1>
      <a:accent2>
        <a:srgbClr val="F06966"/>
      </a:accent2>
      <a:accent3>
        <a:srgbClr val="FFBF00"/>
      </a:accent3>
      <a:accent4>
        <a:srgbClr val="7B7B7B"/>
      </a:accent4>
      <a:accent5>
        <a:srgbClr val="6C6C6C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886616b-ca37-4f34-af2e-1a3db2ccfee4.source.16x9.zh-Hans" id="{6D882441-D277-A145-B374-7712BCE250FB}" vid="{B69777AC-5DCD-7C4A-A122-91795C92A9CB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E3569"/>
    </a:accent1>
    <a:accent2>
      <a:srgbClr val="F06966"/>
    </a:accent2>
    <a:accent3>
      <a:srgbClr val="FFBF00"/>
    </a:accent3>
    <a:accent4>
      <a:srgbClr val="7B7B7B"/>
    </a:accent4>
    <a:accent5>
      <a:srgbClr val="6C6C6C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E3569"/>
    </a:accent1>
    <a:accent2>
      <a:srgbClr val="F06966"/>
    </a:accent2>
    <a:accent3>
      <a:srgbClr val="FFBF00"/>
    </a:accent3>
    <a:accent4>
      <a:srgbClr val="7B7B7B"/>
    </a:accent4>
    <a:accent5>
      <a:srgbClr val="6C6C6C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407</TotalTime>
  <Words>1281</Words>
  <Application>Microsoft Office PowerPoint</Application>
  <PresentationFormat>宽屏</PresentationFormat>
  <Paragraphs>202</Paragraphs>
  <Slides>19</Slides>
  <Notes>0</Notes>
  <HiddenSlides>0</HiddenSlides>
  <MMClips>19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4" baseType="lpstr">
      <vt:lpstr>Arial</vt:lpstr>
      <vt:lpstr>Calibri</vt:lpstr>
      <vt:lpstr>Impact</vt:lpstr>
      <vt:lpstr>主题5</vt:lpstr>
      <vt:lpstr>think-cell Slide</vt:lpstr>
      <vt:lpstr> 网上书店数据库</vt:lpstr>
      <vt:lpstr>PowerPoint 演示文稿</vt:lpstr>
      <vt:lpstr>需求分析</vt:lpstr>
      <vt:lpstr>需求分析</vt:lpstr>
      <vt:lpstr>需求分析</vt:lpstr>
      <vt:lpstr>模型图</vt:lpstr>
      <vt:lpstr>数据流图</vt:lpstr>
      <vt:lpstr>数据字典</vt:lpstr>
      <vt:lpstr>数据字典</vt:lpstr>
      <vt:lpstr>E-R图</vt:lpstr>
      <vt:lpstr>E-R图</vt:lpstr>
      <vt:lpstr>整体E-R图</vt:lpstr>
      <vt:lpstr>功能划分</vt:lpstr>
      <vt:lpstr>模块划分</vt:lpstr>
      <vt:lpstr>功能划分</vt:lpstr>
      <vt:lpstr>功能划分</vt:lpstr>
      <vt:lpstr>功能划分</vt:lpstr>
      <vt:lpstr>管理员后台操作</vt:lpstr>
      <vt:lpstr>Q&amp;A</vt:lpstr>
    </vt:vector>
  </TitlesOfParts>
  <Manager>iSlide</Manager>
  <Company/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ide® PowerPoint standard template</dc:title>
  <dc:creator>mz4347</dc:creator>
  <cp:lastModifiedBy>多事之 _</cp:lastModifiedBy>
  <cp:revision>22</cp:revision>
  <cp:lastPrinted>2019-12-18T16:00:00Z</cp:lastPrinted>
  <dcterms:created xsi:type="dcterms:W3CDTF">2021-04-21T03:03:46Z</dcterms:created>
  <dcterms:modified xsi:type="dcterms:W3CDTF">2021-05-20T16:50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